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0.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5.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8.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3.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 id="2147483671" r:id="rId2"/>
    <p:sldMasterId id="2147483860" r:id="rId3"/>
  </p:sldMasterIdLst>
  <p:notesMasterIdLst>
    <p:notesMasterId r:id="rId23"/>
  </p:notesMasterIdLst>
  <p:handoutMasterIdLst>
    <p:handoutMasterId r:id="rId24"/>
  </p:handoutMasterIdLst>
  <p:sldIdLst>
    <p:sldId id="256" r:id="rId4"/>
    <p:sldId id="802" r:id="rId5"/>
    <p:sldId id="259" r:id="rId6"/>
    <p:sldId id="804" r:id="rId7"/>
    <p:sldId id="270" r:id="rId8"/>
    <p:sldId id="807" r:id="rId9"/>
    <p:sldId id="819" r:id="rId10"/>
    <p:sldId id="835" r:id="rId11"/>
    <p:sldId id="836" r:id="rId12"/>
    <p:sldId id="837" r:id="rId13"/>
    <p:sldId id="838" r:id="rId14"/>
    <p:sldId id="817" r:id="rId15"/>
    <p:sldId id="839" r:id="rId16"/>
    <p:sldId id="840" r:id="rId17"/>
    <p:sldId id="841" r:id="rId18"/>
    <p:sldId id="842" r:id="rId19"/>
    <p:sldId id="831" r:id="rId20"/>
    <p:sldId id="834" r:id="rId21"/>
    <p:sldId id="265"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4D090E-BC90-5002-6E2B-F3C1A1C9102B}" name="Santa Barone-Upeniece" initials="SBU" userId="S::santa.baroneupeniece@civitta.com::0e2f6e6b-4b95-4e84-b606-538c6b31f68c" providerId="AD"/>
  <p188:author id="{2083F438-DEFC-A57B-7A8F-3E6D8005C05F}" name="Ingvilda Štrāla" initials="IŠ" userId="S::ingvilda.strala@civitta.com::4627788e-71f2-4b10-a107-e5db58ef834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BFF41"/>
    <a:srgbClr val="000000"/>
    <a:srgbClr val="ECECEC"/>
    <a:srgbClr val="83009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574"/>
    <p:restoredTop sz="94714"/>
  </p:normalViewPr>
  <p:slideViewPr>
    <p:cSldViewPr snapToGrid="0">
      <p:cViewPr varScale="1">
        <p:scale>
          <a:sx n="59" d="100"/>
          <a:sy n="59" d="100"/>
        </p:scale>
        <p:origin x="636"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2946447952282"/>
          <c:y val="5.1274820615769913E-2"/>
          <c:w val="0.69887053552047718"/>
          <c:h val="0.73479271431694859"/>
        </c:manualLayout>
      </c:layout>
      <c:barChart>
        <c:barDir val="bar"/>
        <c:grouping val="percentStacked"/>
        <c:varyColors val="0"/>
        <c:ser>
          <c:idx val="0"/>
          <c:order val="0"/>
          <c:tx>
            <c:strRef>
              <c:f>Sheet1!$B$1</c:f>
              <c:strCache>
                <c:ptCount val="1"/>
                <c:pt idx="0">
                  <c:v>Pilnībā nederīgas</c:v>
                </c:pt>
              </c:strCache>
            </c:strRef>
          </c:tx>
          <c:spPr>
            <a:solidFill>
              <a:schemeClr val="accent6"/>
            </a:solidFill>
            <a:ln>
              <a:noFill/>
            </a:ln>
            <a:effectLst/>
          </c:spPr>
          <c:invertIfNegative val="0"/>
          <c:dLbls>
            <c:dLbl>
              <c:idx val="0"/>
              <c:layout>
                <c:manualLayout>
                  <c:x val="7.724310747914266E-3"/>
                  <c:y val="3.85785827504524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80F-E443-BE89-5F050E59B30E}"/>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Zināšanas un prasmes</c:v>
                </c:pt>
              </c:strCache>
            </c:strRef>
          </c:cat>
          <c:val>
            <c:numRef>
              <c:f>Sheet1!$B$2</c:f>
              <c:numCache>
                <c:formatCode>0%</c:formatCode>
                <c:ptCount val="1"/>
                <c:pt idx="0">
                  <c:v>0.05</c:v>
                </c:pt>
              </c:numCache>
            </c:numRef>
          </c:val>
          <c:extLst>
            <c:ext xmlns:c16="http://schemas.microsoft.com/office/drawing/2014/chart" uri="{C3380CC4-5D6E-409C-BE32-E72D297353CC}">
              <c16:uniqueId val="{00000000-D80F-E443-BE89-5F050E59B30E}"/>
            </c:ext>
          </c:extLst>
        </c:ser>
        <c:ser>
          <c:idx val="1"/>
          <c:order val="1"/>
          <c:tx>
            <c:strRef>
              <c:f>Sheet1!$C$1</c:f>
              <c:strCache>
                <c:ptCount val="1"/>
                <c:pt idx="0">
                  <c:v>Drīzāk nederīgas</c:v>
                </c:pt>
              </c:strCache>
            </c:strRef>
          </c:tx>
          <c:spPr>
            <a:solidFill>
              <a:schemeClr val="accent6">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Zināšanas un prasmes</c:v>
                </c:pt>
              </c:strCache>
            </c:strRef>
          </c:cat>
          <c:val>
            <c:numRef>
              <c:f>Sheet1!$C$2</c:f>
              <c:numCache>
                <c:formatCode>0%</c:formatCode>
                <c:ptCount val="1"/>
                <c:pt idx="0">
                  <c:v>0.13</c:v>
                </c:pt>
              </c:numCache>
            </c:numRef>
          </c:val>
          <c:extLst>
            <c:ext xmlns:c16="http://schemas.microsoft.com/office/drawing/2014/chart" uri="{C3380CC4-5D6E-409C-BE32-E72D297353CC}">
              <c16:uniqueId val="{00000001-D80F-E443-BE89-5F050E59B30E}"/>
            </c:ext>
          </c:extLst>
        </c:ser>
        <c:ser>
          <c:idx val="2"/>
          <c:order val="2"/>
          <c:tx>
            <c:strRef>
              <c:f>Sheet1!$D$1</c:f>
              <c:strCache>
                <c:ptCount val="1"/>
                <c:pt idx="0">
                  <c:v>Drīzāk derīgas</c:v>
                </c:pt>
              </c:strCache>
            </c:strRef>
          </c:tx>
          <c:spPr>
            <a:solidFill>
              <a:schemeClr val="accent5">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Zināšanas un prasmes</c:v>
                </c:pt>
              </c:strCache>
            </c:strRef>
          </c:cat>
          <c:val>
            <c:numRef>
              <c:f>Sheet1!$D$2</c:f>
              <c:numCache>
                <c:formatCode>0%</c:formatCode>
                <c:ptCount val="1"/>
                <c:pt idx="0">
                  <c:v>0.47</c:v>
                </c:pt>
              </c:numCache>
            </c:numRef>
          </c:val>
          <c:extLst>
            <c:ext xmlns:c16="http://schemas.microsoft.com/office/drawing/2014/chart" uri="{C3380CC4-5D6E-409C-BE32-E72D297353CC}">
              <c16:uniqueId val="{00000002-D80F-E443-BE89-5F050E59B30E}"/>
            </c:ext>
          </c:extLst>
        </c:ser>
        <c:ser>
          <c:idx val="3"/>
          <c:order val="3"/>
          <c:tx>
            <c:strRef>
              <c:f>Sheet1!$E$1</c:f>
              <c:strCache>
                <c:ptCount val="1"/>
                <c:pt idx="0">
                  <c:v>Ļoti derīga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Zināšanas un prasmes</c:v>
                </c:pt>
              </c:strCache>
            </c:strRef>
          </c:cat>
          <c:val>
            <c:numRef>
              <c:f>Sheet1!$E$2</c:f>
              <c:numCache>
                <c:formatCode>0%</c:formatCode>
                <c:ptCount val="1"/>
                <c:pt idx="0">
                  <c:v>0.3</c:v>
                </c:pt>
              </c:numCache>
            </c:numRef>
          </c:val>
          <c:extLst>
            <c:ext xmlns:c16="http://schemas.microsoft.com/office/drawing/2014/chart" uri="{C3380CC4-5D6E-409C-BE32-E72D297353CC}">
              <c16:uniqueId val="{00000003-D80F-E443-BE89-5F050E59B30E}"/>
            </c:ext>
          </c:extLst>
        </c:ser>
        <c:ser>
          <c:idx val="4"/>
          <c:order val="4"/>
          <c:tx>
            <c:strRef>
              <c:f>Sheet1!$F$1</c:f>
              <c:strCache>
                <c:ptCount val="1"/>
                <c:pt idx="0">
                  <c:v>Grūti pateikt</c:v>
                </c:pt>
              </c:strCache>
            </c:strRef>
          </c:tx>
          <c:spPr>
            <a:solidFill>
              <a:schemeClr val="accent3"/>
            </a:solidFill>
            <a:ln>
              <a:noFill/>
            </a:ln>
            <a:effectLst/>
          </c:spPr>
          <c:invertIfNegative val="0"/>
          <c:dLbls>
            <c:dLbl>
              <c:idx val="0"/>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80F-E443-BE89-5F050E59B30E}"/>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Zināšanas un prasmes</c:v>
                </c:pt>
              </c:strCache>
            </c:strRef>
          </c:cat>
          <c:val>
            <c:numRef>
              <c:f>Sheet1!$F$2</c:f>
              <c:numCache>
                <c:formatCode>0%</c:formatCode>
                <c:ptCount val="1"/>
                <c:pt idx="0">
                  <c:v>0.05</c:v>
                </c:pt>
              </c:numCache>
            </c:numRef>
          </c:val>
          <c:extLst>
            <c:ext xmlns:c16="http://schemas.microsoft.com/office/drawing/2014/chart" uri="{C3380CC4-5D6E-409C-BE32-E72D297353CC}">
              <c16:uniqueId val="{00000004-D80F-E443-BE89-5F050E59B30E}"/>
            </c:ext>
          </c:extLst>
        </c:ser>
        <c:dLbls>
          <c:showLegendKey val="0"/>
          <c:showVal val="0"/>
          <c:showCatName val="0"/>
          <c:showSerName val="0"/>
          <c:showPercent val="0"/>
          <c:showBubbleSize val="0"/>
        </c:dLbls>
        <c:gapWidth val="150"/>
        <c:overlap val="100"/>
        <c:axId val="237498095"/>
        <c:axId val="237497135"/>
      </c:barChart>
      <c:catAx>
        <c:axId val="237498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237497135"/>
        <c:crosses val="autoZero"/>
        <c:auto val="1"/>
        <c:lblAlgn val="ctr"/>
        <c:lblOffset val="100"/>
        <c:noMultiLvlLbl val="0"/>
      </c:catAx>
      <c:valAx>
        <c:axId val="237497135"/>
        <c:scaling>
          <c:orientation val="minMax"/>
        </c:scaling>
        <c:delete val="1"/>
        <c:axPos val="b"/>
        <c:numFmt formatCode="0%" sourceLinked="1"/>
        <c:majorTickMark val="none"/>
        <c:minorTickMark val="none"/>
        <c:tickLblPos val="nextTo"/>
        <c:crossAx val="237498095"/>
        <c:crosses val="autoZero"/>
        <c:crossBetween val="between"/>
      </c:valAx>
      <c:spPr>
        <a:noFill/>
        <a:ln>
          <a:noFill/>
        </a:ln>
        <a:effectLst/>
      </c:spPr>
    </c:plotArea>
    <c:legend>
      <c:legendPos val="b"/>
      <c:layout>
        <c:manualLayout>
          <c:xMode val="edge"/>
          <c:yMode val="edge"/>
          <c:x val="9.5907900693602208E-2"/>
          <c:y val="0.78606730375669565"/>
          <c:w val="0.84525264458210914"/>
          <c:h val="0.213932465067281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080859489813282"/>
          <c:y val="2.4926800694199405E-2"/>
          <c:w val="0.7582334899848191"/>
          <c:h val="0.8419239518457885"/>
        </c:manualLayout>
      </c:layout>
      <c:barChart>
        <c:barDir val="bar"/>
        <c:grouping val="percentStacked"/>
        <c:varyColors val="0"/>
        <c:ser>
          <c:idx val="0"/>
          <c:order val="0"/>
          <c:tx>
            <c:strRef>
              <c:f>Sheet1!$B$1</c:f>
              <c:strCache>
                <c:ptCount val="1"/>
                <c:pt idx="0">
                  <c:v>Vispār nebija iespējas</c:v>
                </c:pt>
              </c:strCache>
            </c:strRef>
          </c:tx>
          <c:spPr>
            <a:solidFill>
              <a:schemeClr val="accent6"/>
            </a:solidFill>
            <a:ln>
              <a:noFill/>
            </a:ln>
            <a:effectLst/>
          </c:spPr>
          <c:invertIfNegative val="0"/>
          <c:dLbls>
            <c:dLbl>
              <c:idx val="4"/>
              <c:layout>
                <c:manualLayout>
                  <c:x val="1.1780857942855374E-2"/>
                  <c:y val="-7.201075756102053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75A-8D4B-BC63-C66DCA534270}"/>
                </c:ext>
              </c:extLst>
            </c:dLbl>
            <c:dLbl>
              <c:idx val="5"/>
              <c:layout>
                <c:manualLayout>
                  <c:x val="1.5596584316940736E-2"/>
                  <c:y val="-6.629656655673867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5A-8D4B-BC63-C66DCA53427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rbības ar droniem</c:v>
                </c:pt>
                <c:pt idx="1">
                  <c:v>Pilsoniskā līdzdalība</c:v>
                </c:pt>
                <c:pt idx="2">
                  <c:v>Militārā taktika</c:v>
                </c:pt>
                <c:pt idx="3">
                  <c:v>Lauka kaujas iemaņas</c:v>
                </c:pt>
                <c:pt idx="4">
                  <c:v>Šaušanas iemaņas</c:v>
                </c:pt>
                <c:pt idx="5">
                  <c:v>Darbības ar ieročiem</c:v>
                </c:pt>
              </c:strCache>
            </c:strRef>
          </c:cat>
          <c:val>
            <c:numRef>
              <c:f>Sheet1!$B$2:$B$7</c:f>
              <c:numCache>
                <c:formatCode>0%</c:formatCode>
                <c:ptCount val="6"/>
                <c:pt idx="0">
                  <c:v>0.78</c:v>
                </c:pt>
                <c:pt idx="1">
                  <c:v>0.37</c:v>
                </c:pt>
                <c:pt idx="2">
                  <c:v>0.08</c:v>
                </c:pt>
                <c:pt idx="3">
                  <c:v>0.06</c:v>
                </c:pt>
                <c:pt idx="4">
                  <c:v>0.03</c:v>
                </c:pt>
                <c:pt idx="5">
                  <c:v>0.02</c:v>
                </c:pt>
              </c:numCache>
            </c:numRef>
          </c:val>
          <c:extLst>
            <c:ext xmlns:c16="http://schemas.microsoft.com/office/drawing/2014/chart" uri="{C3380CC4-5D6E-409C-BE32-E72D297353CC}">
              <c16:uniqueId val="{00000002-575A-8D4B-BC63-C66DCA534270}"/>
            </c:ext>
          </c:extLst>
        </c:ser>
        <c:ser>
          <c:idx val="1"/>
          <c:order val="1"/>
          <c:tx>
            <c:strRef>
              <c:f>Sheet1!$C$1</c:f>
              <c:strCache>
                <c:ptCount val="1"/>
                <c:pt idx="0">
                  <c:v>Bija ļoti maz iespēju</c:v>
                </c:pt>
              </c:strCache>
            </c:strRef>
          </c:tx>
          <c:spPr>
            <a:solidFill>
              <a:schemeClr val="accent6">
                <a:lumMod val="20000"/>
                <a:lumOff val="80000"/>
              </a:schemeClr>
            </a:solidFill>
            <a:ln>
              <a:noFill/>
            </a:ln>
            <a:effectLst/>
          </c:spPr>
          <c:invertIfNegative val="0"/>
          <c:dLbls>
            <c:dLbl>
              <c:idx val="4"/>
              <c:layout>
                <c:manualLayout>
                  <c:x val="7.846943984654178E-3"/>
                  <c:y val="5.53928904315539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75A-8D4B-BC63-C66DCA534270}"/>
                </c:ext>
              </c:extLst>
            </c:dLbl>
            <c:dLbl>
              <c:idx val="5"/>
              <c:layout>
                <c:manualLayout>
                  <c:x val="3.7640579799823647E-3"/>
                  <c:y val="-2.701820943135926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75A-8D4B-BC63-C66DCA53427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rbības ar droniem</c:v>
                </c:pt>
                <c:pt idx="1">
                  <c:v>Pilsoniskā līdzdalība</c:v>
                </c:pt>
                <c:pt idx="2">
                  <c:v>Militārā taktika</c:v>
                </c:pt>
                <c:pt idx="3">
                  <c:v>Lauka kaujas iemaņas</c:v>
                </c:pt>
                <c:pt idx="4">
                  <c:v>Šaušanas iemaņas</c:v>
                </c:pt>
                <c:pt idx="5">
                  <c:v>Darbības ar ieročiem</c:v>
                </c:pt>
              </c:strCache>
            </c:strRef>
          </c:cat>
          <c:val>
            <c:numRef>
              <c:f>Sheet1!$C$2:$C$7</c:f>
              <c:numCache>
                <c:formatCode>0%</c:formatCode>
                <c:ptCount val="6"/>
                <c:pt idx="0">
                  <c:v>0.09</c:v>
                </c:pt>
                <c:pt idx="1">
                  <c:v>0.22</c:v>
                </c:pt>
                <c:pt idx="2">
                  <c:v>0.16</c:v>
                </c:pt>
                <c:pt idx="3">
                  <c:v>0.1</c:v>
                </c:pt>
                <c:pt idx="4">
                  <c:v>0.04</c:v>
                </c:pt>
                <c:pt idx="5">
                  <c:v>0.03</c:v>
                </c:pt>
              </c:numCache>
            </c:numRef>
          </c:val>
          <c:extLst>
            <c:ext xmlns:c16="http://schemas.microsoft.com/office/drawing/2014/chart" uri="{C3380CC4-5D6E-409C-BE32-E72D297353CC}">
              <c16:uniqueId val="{00000005-575A-8D4B-BC63-C66DCA534270}"/>
            </c:ext>
          </c:extLst>
        </c:ser>
        <c:ser>
          <c:idx val="2"/>
          <c:order val="2"/>
          <c:tx>
            <c:strRef>
              <c:f>Sheet1!$D$1</c:f>
              <c:strCache>
                <c:ptCount val="1"/>
                <c:pt idx="0">
                  <c:v>Bija dažas iespējas</c:v>
                </c:pt>
              </c:strCache>
            </c:strRef>
          </c:tx>
          <c:spPr>
            <a:solidFill>
              <a:schemeClr val="accent4">
                <a:lumMod val="20000"/>
                <a:lumOff val="80000"/>
              </a:schemeClr>
            </a:solidFill>
            <a:ln>
              <a:noFill/>
            </a:ln>
            <a:effectLst/>
          </c:spPr>
          <c:invertIfNegative val="0"/>
          <c:dLbls>
            <c:dLbl>
              <c:idx val="0"/>
              <c:layout>
                <c:manualLayout>
                  <c:x val="-9.6339099064054277E-3"/>
                  <c:y val="2.83752277558881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75A-8D4B-BC63-C66DCA53427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rbības ar droniem</c:v>
                </c:pt>
                <c:pt idx="1">
                  <c:v>Pilsoniskā līdzdalība</c:v>
                </c:pt>
                <c:pt idx="2">
                  <c:v>Militārā taktika</c:v>
                </c:pt>
                <c:pt idx="3">
                  <c:v>Lauka kaujas iemaņas</c:v>
                </c:pt>
                <c:pt idx="4">
                  <c:v>Šaušanas iemaņas</c:v>
                </c:pt>
                <c:pt idx="5">
                  <c:v>Darbības ar ieročiem</c:v>
                </c:pt>
              </c:strCache>
            </c:strRef>
          </c:cat>
          <c:val>
            <c:numRef>
              <c:f>Sheet1!$D$2:$D$7</c:f>
              <c:numCache>
                <c:formatCode>0%</c:formatCode>
                <c:ptCount val="6"/>
                <c:pt idx="0">
                  <c:v>0.06</c:v>
                </c:pt>
                <c:pt idx="1">
                  <c:v>0.22</c:v>
                </c:pt>
                <c:pt idx="2">
                  <c:v>0.31</c:v>
                </c:pt>
                <c:pt idx="3">
                  <c:v>0.27</c:v>
                </c:pt>
                <c:pt idx="4">
                  <c:v>0.18</c:v>
                </c:pt>
                <c:pt idx="5">
                  <c:v>0.14000000000000001</c:v>
                </c:pt>
              </c:numCache>
            </c:numRef>
          </c:val>
          <c:extLst>
            <c:ext xmlns:c16="http://schemas.microsoft.com/office/drawing/2014/chart" uri="{C3380CC4-5D6E-409C-BE32-E72D297353CC}">
              <c16:uniqueId val="{00000006-575A-8D4B-BC63-C66DCA534270}"/>
            </c:ext>
          </c:extLst>
        </c:ser>
        <c:ser>
          <c:idx val="3"/>
          <c:order val="3"/>
          <c:tx>
            <c:strRef>
              <c:f>Sheet1!$E$1</c:f>
              <c:strCache>
                <c:ptCount val="1"/>
                <c:pt idx="0">
                  <c:v>Bija pietiekami daudz iespēju</c:v>
                </c:pt>
              </c:strCache>
            </c:strRef>
          </c:tx>
          <c:spPr>
            <a:solidFill>
              <a:schemeClr val="accent5">
                <a:lumMod val="20000"/>
                <a:lumOff val="80000"/>
              </a:schemeClr>
            </a:solidFill>
            <a:ln>
              <a:noFill/>
            </a:ln>
            <a:effectLst/>
          </c:spPr>
          <c:invertIfNegative val="0"/>
          <c:dLbls>
            <c:dLbl>
              <c:idx val="0"/>
              <c:layout>
                <c:manualLayout>
                  <c:x val="-1.7375431214516654E-3"/>
                  <c:y val="6.7823578441784913E-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75A-8D4B-BC63-C66DCA53427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rbības ar droniem</c:v>
                </c:pt>
                <c:pt idx="1">
                  <c:v>Pilsoniskā līdzdalība</c:v>
                </c:pt>
                <c:pt idx="2">
                  <c:v>Militārā taktika</c:v>
                </c:pt>
                <c:pt idx="3">
                  <c:v>Lauka kaujas iemaņas</c:v>
                </c:pt>
                <c:pt idx="4">
                  <c:v>Šaušanas iemaņas</c:v>
                </c:pt>
                <c:pt idx="5">
                  <c:v>Darbības ar ieročiem</c:v>
                </c:pt>
              </c:strCache>
            </c:strRef>
          </c:cat>
          <c:val>
            <c:numRef>
              <c:f>Sheet1!$E$2:$E$7</c:f>
              <c:numCache>
                <c:formatCode>0%</c:formatCode>
                <c:ptCount val="6"/>
                <c:pt idx="0">
                  <c:v>0.04</c:v>
                </c:pt>
                <c:pt idx="1">
                  <c:v>0.13</c:v>
                </c:pt>
                <c:pt idx="2">
                  <c:v>0.3</c:v>
                </c:pt>
                <c:pt idx="3">
                  <c:v>0.35</c:v>
                </c:pt>
                <c:pt idx="4">
                  <c:v>0.4</c:v>
                </c:pt>
                <c:pt idx="5">
                  <c:v>0.4</c:v>
                </c:pt>
              </c:numCache>
            </c:numRef>
          </c:val>
          <c:extLst>
            <c:ext xmlns:c16="http://schemas.microsoft.com/office/drawing/2014/chart" uri="{C3380CC4-5D6E-409C-BE32-E72D297353CC}">
              <c16:uniqueId val="{00000007-575A-8D4B-BC63-C66DCA534270}"/>
            </c:ext>
          </c:extLst>
        </c:ser>
        <c:ser>
          <c:idx val="4"/>
          <c:order val="4"/>
          <c:tx>
            <c:strRef>
              <c:f>Sheet1!$F$1</c:f>
              <c:strCache>
                <c:ptCount val="1"/>
                <c:pt idx="0">
                  <c:v>Bija ļoti daudz iespēju</c:v>
                </c:pt>
              </c:strCache>
            </c:strRef>
          </c:tx>
          <c:spPr>
            <a:solidFill>
              <a:schemeClr val="accent5"/>
            </a:solidFill>
            <a:ln>
              <a:noFill/>
            </a:ln>
            <a:effectLst/>
          </c:spPr>
          <c:invertIfNegative val="0"/>
          <c:dLbls>
            <c:dLbl>
              <c:idx val="0"/>
              <c:layout>
                <c:manualLayout>
                  <c:x val="4.7283541914824494E-3"/>
                  <c:y val="-6.7823578441886462E-5"/>
                </c:manualLayout>
              </c:layout>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5.52059681000086E-2"/>
                      <c:h val="4.3146797537769267E-2"/>
                    </c:manualLayout>
                  </c15:layout>
                </c:ext>
                <c:ext xmlns:c16="http://schemas.microsoft.com/office/drawing/2014/chart" uri="{C3380CC4-5D6E-409C-BE32-E72D297353CC}">
                  <c16:uniqueId val="{0000000A-575A-8D4B-BC63-C66DCA534270}"/>
                </c:ext>
              </c:extLst>
            </c:dLbl>
            <c:dLbl>
              <c:idx val="4"/>
              <c:layout>
                <c:manualLayout>
                  <c:x val="2.6091315495365048E-2"/>
                  <c:y val="5.413650883032506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75A-8D4B-BC63-C66DCA53427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rbības ar droniem</c:v>
                </c:pt>
                <c:pt idx="1">
                  <c:v>Pilsoniskā līdzdalība</c:v>
                </c:pt>
                <c:pt idx="2">
                  <c:v>Militārā taktika</c:v>
                </c:pt>
                <c:pt idx="3">
                  <c:v>Lauka kaujas iemaņas</c:v>
                </c:pt>
                <c:pt idx="4">
                  <c:v>Šaušanas iemaņas</c:v>
                </c:pt>
                <c:pt idx="5">
                  <c:v>Darbības ar ieročiem</c:v>
                </c:pt>
              </c:strCache>
            </c:strRef>
          </c:cat>
          <c:val>
            <c:numRef>
              <c:f>Sheet1!$F$2:$F$7</c:f>
              <c:numCache>
                <c:formatCode>0%</c:formatCode>
                <c:ptCount val="6"/>
                <c:pt idx="0">
                  <c:v>0.03</c:v>
                </c:pt>
                <c:pt idx="1">
                  <c:v>0.06</c:v>
                </c:pt>
                <c:pt idx="2">
                  <c:v>0.15</c:v>
                </c:pt>
                <c:pt idx="3">
                  <c:v>0.22</c:v>
                </c:pt>
                <c:pt idx="4">
                  <c:v>0.35</c:v>
                </c:pt>
                <c:pt idx="5">
                  <c:v>0.41</c:v>
                </c:pt>
              </c:numCache>
            </c:numRef>
          </c:val>
          <c:extLst>
            <c:ext xmlns:c16="http://schemas.microsoft.com/office/drawing/2014/chart" uri="{C3380CC4-5D6E-409C-BE32-E72D297353CC}">
              <c16:uniqueId val="{00000008-575A-8D4B-BC63-C66DCA534270}"/>
            </c:ext>
          </c:extLst>
        </c:ser>
        <c:dLbls>
          <c:showLegendKey val="0"/>
          <c:showVal val="0"/>
          <c:showCatName val="0"/>
          <c:showSerName val="0"/>
          <c:showPercent val="0"/>
          <c:showBubbleSize val="0"/>
        </c:dLbls>
        <c:gapWidth val="150"/>
        <c:overlap val="100"/>
        <c:axId val="237498095"/>
        <c:axId val="237497135"/>
      </c:barChart>
      <c:catAx>
        <c:axId val="237498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37497135"/>
        <c:crosses val="autoZero"/>
        <c:auto val="1"/>
        <c:lblAlgn val="ctr"/>
        <c:lblOffset val="100"/>
        <c:noMultiLvlLbl val="0"/>
      </c:catAx>
      <c:valAx>
        <c:axId val="237497135"/>
        <c:scaling>
          <c:orientation val="minMax"/>
        </c:scaling>
        <c:delete val="1"/>
        <c:axPos val="b"/>
        <c:numFmt formatCode="0%" sourceLinked="1"/>
        <c:majorTickMark val="none"/>
        <c:minorTickMark val="none"/>
        <c:tickLblPos val="nextTo"/>
        <c:crossAx val="237498095"/>
        <c:crosses val="autoZero"/>
        <c:crossBetween val="between"/>
      </c:valAx>
      <c:spPr>
        <a:noFill/>
        <a:ln>
          <a:noFill/>
        </a:ln>
        <a:effectLst/>
      </c:spPr>
    </c:plotArea>
    <c:legend>
      <c:legendPos val="b"/>
      <c:layout>
        <c:manualLayout>
          <c:xMode val="edge"/>
          <c:yMode val="edge"/>
          <c:x val="5.6974459724950882E-2"/>
          <c:y val="0.87275882328054144"/>
          <c:w val="0.94302554027504915"/>
          <c:h val="0.1272412141677420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23197244245899"/>
          <c:y val="3.7564808395586784E-2"/>
          <c:w val="0.4667178277601598"/>
          <c:h val="0.80570461774110136"/>
        </c:manualLayout>
      </c:layout>
      <c:barChart>
        <c:barDir val="bar"/>
        <c:grouping val="percentStacked"/>
        <c:varyColors val="0"/>
        <c:ser>
          <c:idx val="0"/>
          <c:order val="0"/>
          <c:tx>
            <c:strRef>
              <c:f>Sheet1!$C$1</c:f>
              <c:strCache>
                <c:ptCount val="1"/>
                <c:pt idx="0">
                  <c:v>Pilnībā/ Drīzāk nepiekrītu</c:v>
                </c:pt>
              </c:strCache>
            </c:strRef>
          </c:tx>
          <c:spPr>
            <a:solidFill>
              <a:schemeClr val="accent6"/>
            </a:solidFill>
            <a:ln>
              <a:noFill/>
            </a:ln>
            <a:effectLst/>
          </c:spPr>
          <c:invertIfNegative val="0"/>
          <c:dLbls>
            <c:dLbl>
              <c:idx val="0"/>
              <c:layout>
                <c:manualLayout>
                  <c:x val="1.6669430175958858E-2"/>
                  <c:y val="-8.1216207883786182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D6F-5C4C-A96F-7A180BEDAA8B}"/>
                </c:ext>
              </c:extLst>
            </c:dLbl>
            <c:dLbl>
              <c:idx val="1"/>
              <c:layout>
                <c:manualLayout>
                  <c:x val="7.8492935635792772E-3"/>
                  <c:y val="-8.88187239143370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D6F-5C4C-A96F-7A180BEDAA8B}"/>
                </c:ext>
              </c:extLst>
            </c:dLbl>
            <c:dLbl>
              <c:idx val="2"/>
              <c:layout>
                <c:manualLayout>
                  <c:x val="1.177393857369932E-2"/>
                  <c:y val="-9.50846982904258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D6F-5C4C-A96F-7A180BEDAA8B}"/>
                </c:ext>
              </c:extLst>
            </c:dLbl>
            <c:dLbl>
              <c:idx val="3"/>
              <c:layout>
                <c:manualLayout>
                  <c:x val="1.3736263736263665E-2"/>
                  <c:y val="-9.38111017976034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D6F-5C4C-A96F-7A180BEDAA8B}"/>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s jūtos piederīgs/-a savai jaunsargu vienībai</c:v>
                </c:pt>
                <c:pt idx="1">
                  <c:v>Es jūtu lepnumu par to, ka esmu jaunsargs/-dze</c:v>
                </c:pt>
                <c:pt idx="2">
                  <c:v>Jaunsardze palīdz apgūt noderīgas zināšanas un prasmes </c:v>
                </c:pt>
                <c:pt idx="3">
                  <c:v>Man patīk darboties Jaunsardzē</c:v>
                </c:pt>
              </c:strCache>
            </c:strRef>
          </c:cat>
          <c:val>
            <c:numRef>
              <c:f>Sheet1!$C$2:$C$5</c:f>
              <c:numCache>
                <c:formatCode>0%</c:formatCode>
                <c:ptCount val="4"/>
                <c:pt idx="0">
                  <c:v>0.04</c:v>
                </c:pt>
                <c:pt idx="1">
                  <c:v>0.03</c:v>
                </c:pt>
                <c:pt idx="2">
                  <c:v>0.02</c:v>
                </c:pt>
                <c:pt idx="3">
                  <c:v>0.02</c:v>
                </c:pt>
              </c:numCache>
            </c:numRef>
          </c:val>
          <c:extLst>
            <c:ext xmlns:c16="http://schemas.microsoft.com/office/drawing/2014/chart" uri="{C3380CC4-5D6E-409C-BE32-E72D297353CC}">
              <c16:uniqueId val="{00000004-6D6F-5C4C-A96F-7A180BEDAA8B}"/>
            </c:ext>
          </c:extLst>
        </c:ser>
        <c:ser>
          <c:idx val="1"/>
          <c:order val="1"/>
          <c:tx>
            <c:strRef>
              <c:f>Sheet1!$D$1</c:f>
              <c:strCache>
                <c:ptCount val="1"/>
                <c:pt idx="0">
                  <c:v>Ne nepiekrītu, ne piekrītu</c:v>
                </c:pt>
              </c:strCache>
            </c:strRef>
          </c:tx>
          <c:spPr>
            <a:solidFill>
              <a:schemeClr val="accent3"/>
            </a:solidFill>
            <a:ln>
              <a:noFill/>
            </a:ln>
            <a:effectLst/>
          </c:spPr>
          <c:invertIfNegative val="0"/>
          <c:dLbls>
            <c:dLbl>
              <c:idx val="0"/>
              <c:layout>
                <c:manualLayout>
                  <c:x val="3.196584476138391E-3"/>
                  <c:y val="6.437211139478748E-3"/>
                </c:manualLayout>
              </c:layout>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6.8476982282577648E-2"/>
                      <c:h val="5.4729036231724128E-2"/>
                    </c:manualLayout>
                  </c15:layout>
                </c:ext>
                <c:ext xmlns:c16="http://schemas.microsoft.com/office/drawing/2014/chart" uri="{C3380CC4-5D6E-409C-BE32-E72D297353CC}">
                  <c16:uniqueId val="{00000005-6D6F-5C4C-A96F-7A180BEDAA8B}"/>
                </c:ext>
              </c:extLst>
            </c:dLbl>
            <c:dLbl>
              <c:idx val="1"/>
              <c:layout>
                <c:manualLayout>
                  <c:x val="9.8116169544740974E-3"/>
                  <c:y val="4.99251123315027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D6F-5C4C-A96F-7A180BEDAA8B}"/>
                </c:ext>
              </c:extLst>
            </c:dLbl>
            <c:dLbl>
              <c:idx val="2"/>
              <c:layout>
                <c:manualLayout>
                  <c:x val="1.177394034536891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D6F-5C4C-A96F-7A180BEDAA8B}"/>
                </c:ext>
              </c:extLst>
            </c:dLbl>
            <c:dLbl>
              <c:idx val="3"/>
              <c:layout>
                <c:manualLayout>
                  <c:x val="1.373626373626373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D6F-5C4C-A96F-7A180BEDAA8B}"/>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s jūtos piederīgs/-a savai jaunsargu vienībai</c:v>
                </c:pt>
                <c:pt idx="1">
                  <c:v>Es jūtu lepnumu par to, ka esmu jaunsargs/-dze</c:v>
                </c:pt>
                <c:pt idx="2">
                  <c:v>Jaunsardze palīdz apgūt noderīgas zināšanas un prasmes </c:v>
                </c:pt>
                <c:pt idx="3">
                  <c:v>Man patīk darboties Jaunsardzē</c:v>
                </c:pt>
              </c:strCache>
            </c:strRef>
          </c:cat>
          <c:val>
            <c:numRef>
              <c:f>Sheet1!$D$2:$D$5</c:f>
              <c:numCache>
                <c:formatCode>0%</c:formatCode>
                <c:ptCount val="4"/>
                <c:pt idx="0">
                  <c:v>0.11</c:v>
                </c:pt>
                <c:pt idx="1">
                  <c:v>0.1</c:v>
                </c:pt>
                <c:pt idx="2">
                  <c:v>0.03</c:v>
                </c:pt>
                <c:pt idx="3">
                  <c:v>0.05</c:v>
                </c:pt>
              </c:numCache>
            </c:numRef>
          </c:val>
          <c:extLst>
            <c:ext xmlns:c16="http://schemas.microsoft.com/office/drawing/2014/chart" uri="{C3380CC4-5D6E-409C-BE32-E72D297353CC}">
              <c16:uniqueId val="{00000009-6D6F-5C4C-A96F-7A180BEDAA8B}"/>
            </c:ext>
          </c:extLst>
        </c:ser>
        <c:ser>
          <c:idx val="2"/>
          <c:order val="2"/>
          <c:tx>
            <c:strRef>
              <c:f>Sheet1!$E$1</c:f>
              <c:strCache>
                <c:ptCount val="1"/>
                <c:pt idx="0">
                  <c:v>Drīzāk piekrītu</c:v>
                </c:pt>
              </c:strCache>
            </c:strRef>
          </c:tx>
          <c:spPr>
            <a:solidFill>
              <a:schemeClr val="accent5">
                <a:lumMod val="20000"/>
                <a:lumOff val="80000"/>
              </a:schemeClr>
            </a:solidFill>
            <a:ln>
              <a:noFill/>
            </a:ln>
            <a:effectLst/>
          </c:spPr>
          <c:invertIfNegative val="0"/>
          <c:dLbls>
            <c:dLbl>
              <c:idx val="0"/>
              <c:layout>
                <c:manualLayout>
                  <c:x val="2.2050199797381233E-2"/>
                  <c:y val="2.88960064581436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D6F-5C4C-A96F-7A180BEDAA8B}"/>
                </c:ext>
              </c:extLst>
            </c:dLbl>
            <c:dLbl>
              <c:idx val="1"/>
              <c:layout>
                <c:manualLayout>
                  <c:x val="1.764015983790498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D6F-5C4C-A96F-7A180BEDAA8B}"/>
                </c:ext>
              </c:extLst>
            </c:dLbl>
            <c:dLbl>
              <c:idx val="2"/>
              <c:layout>
                <c:manualLayout>
                  <c:x val="2.20501997973812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D6F-5C4C-A96F-7A180BEDAA8B}"/>
                </c:ext>
              </c:extLst>
            </c:dLbl>
            <c:dLbl>
              <c:idx val="3"/>
              <c:layout>
                <c:manualLayout>
                  <c:x val="3.0870279716333729E-2"/>
                  <c:y val="5.77920129162873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D6F-5C4C-A96F-7A180BEDAA8B}"/>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s jūtos piederīgs/-a savai jaunsargu vienībai</c:v>
                </c:pt>
                <c:pt idx="1">
                  <c:v>Es jūtu lepnumu par to, ka esmu jaunsargs/-dze</c:v>
                </c:pt>
                <c:pt idx="2">
                  <c:v>Jaunsardze palīdz apgūt noderīgas zināšanas un prasmes </c:v>
                </c:pt>
                <c:pt idx="3">
                  <c:v>Man patīk darboties Jaunsardzē</c:v>
                </c:pt>
              </c:strCache>
            </c:strRef>
          </c:cat>
          <c:val>
            <c:numRef>
              <c:f>Sheet1!$E$2:$E$5</c:f>
              <c:numCache>
                <c:formatCode>0%</c:formatCode>
                <c:ptCount val="4"/>
                <c:pt idx="0">
                  <c:v>0.33</c:v>
                </c:pt>
                <c:pt idx="1">
                  <c:v>0.26</c:v>
                </c:pt>
                <c:pt idx="2">
                  <c:v>0.26</c:v>
                </c:pt>
                <c:pt idx="3">
                  <c:v>0.24</c:v>
                </c:pt>
              </c:numCache>
            </c:numRef>
          </c:val>
          <c:extLst>
            <c:ext xmlns:c16="http://schemas.microsoft.com/office/drawing/2014/chart" uri="{C3380CC4-5D6E-409C-BE32-E72D297353CC}">
              <c16:uniqueId val="{0000000A-6D6F-5C4C-A96F-7A180BEDAA8B}"/>
            </c:ext>
          </c:extLst>
        </c:ser>
        <c:ser>
          <c:idx val="3"/>
          <c:order val="3"/>
          <c:tx>
            <c:strRef>
              <c:f>Sheet1!$F$1</c:f>
              <c:strCache>
                <c:ptCount val="1"/>
                <c:pt idx="0">
                  <c:v>Pilnībā piekrītu</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s jūtos piederīgs/-a savai jaunsargu vienībai</c:v>
                </c:pt>
                <c:pt idx="1">
                  <c:v>Es jūtu lepnumu par to, ka esmu jaunsargs/-dze</c:v>
                </c:pt>
                <c:pt idx="2">
                  <c:v>Jaunsardze palīdz apgūt noderīgas zināšanas un prasmes </c:v>
                </c:pt>
                <c:pt idx="3">
                  <c:v>Man patīk darboties Jaunsardzē</c:v>
                </c:pt>
              </c:strCache>
            </c:strRef>
          </c:cat>
          <c:val>
            <c:numRef>
              <c:f>Sheet1!$F$2:$F$5</c:f>
              <c:numCache>
                <c:formatCode>0%</c:formatCode>
                <c:ptCount val="4"/>
                <c:pt idx="0">
                  <c:v>0.52</c:v>
                </c:pt>
                <c:pt idx="1">
                  <c:v>0.61</c:v>
                </c:pt>
                <c:pt idx="2">
                  <c:v>0.69</c:v>
                </c:pt>
                <c:pt idx="3">
                  <c:v>0.69</c:v>
                </c:pt>
              </c:numCache>
            </c:numRef>
          </c:val>
          <c:extLst>
            <c:ext xmlns:c16="http://schemas.microsoft.com/office/drawing/2014/chart" uri="{C3380CC4-5D6E-409C-BE32-E72D297353CC}">
              <c16:uniqueId val="{0000000B-6D6F-5C4C-A96F-7A180BEDAA8B}"/>
            </c:ext>
          </c:extLst>
        </c:ser>
        <c:dLbls>
          <c:showLegendKey val="0"/>
          <c:showVal val="0"/>
          <c:showCatName val="0"/>
          <c:showSerName val="0"/>
          <c:showPercent val="0"/>
          <c:showBubbleSize val="0"/>
        </c:dLbls>
        <c:gapWidth val="150"/>
        <c:overlap val="100"/>
        <c:axId val="237498095"/>
        <c:axId val="237497135"/>
      </c:barChart>
      <c:catAx>
        <c:axId val="237498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37497135"/>
        <c:crosses val="autoZero"/>
        <c:auto val="1"/>
        <c:lblAlgn val="ctr"/>
        <c:lblOffset val="100"/>
        <c:noMultiLvlLbl val="0"/>
      </c:catAx>
      <c:valAx>
        <c:axId val="237497135"/>
        <c:scaling>
          <c:orientation val="minMax"/>
        </c:scaling>
        <c:delete val="1"/>
        <c:axPos val="b"/>
        <c:numFmt formatCode="0%" sourceLinked="1"/>
        <c:majorTickMark val="none"/>
        <c:minorTickMark val="none"/>
        <c:tickLblPos val="nextTo"/>
        <c:crossAx val="237498095"/>
        <c:crosses val="autoZero"/>
        <c:crossBetween val="between"/>
      </c:valAx>
      <c:spPr>
        <a:noFill/>
        <a:ln>
          <a:noFill/>
        </a:ln>
        <a:effectLst/>
      </c:spPr>
    </c:plotArea>
    <c:legend>
      <c:legendPos val="b"/>
      <c:layout>
        <c:manualLayout>
          <c:xMode val="edge"/>
          <c:yMode val="edge"/>
          <c:x val="0"/>
          <c:y val="0.8871837975675021"/>
          <c:w val="0.87232118286300142"/>
          <c:h val="9.5478557635233705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Pilnībā nepiekrītu</c:v>
                </c:pt>
              </c:strCache>
            </c:strRef>
          </c:tx>
          <c:spPr>
            <a:solidFill>
              <a:schemeClr val="accent6"/>
            </a:solidFill>
            <a:ln>
              <a:noFill/>
            </a:ln>
            <a:effectLst/>
          </c:spPr>
          <c:invertIfNegative val="0"/>
          <c:dLbls>
            <c:dLbl>
              <c:idx val="0"/>
              <c:layout>
                <c:manualLayout>
                  <c:x val="6.1306905568987071E-3"/>
                  <c:y val="-7.1299336831607524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2BE-7146-8EBC-2A60278A1510}"/>
                </c:ext>
              </c:extLst>
            </c:dLbl>
            <c:dLbl>
              <c:idx val="1"/>
              <c:layout>
                <c:manualLayout>
                  <c:x val="5.8869776718696969E-3"/>
                  <c:y val="-6.806862985739337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BE-7146-8EBC-2A60278A1510}"/>
                </c:ext>
              </c:extLst>
            </c:dLbl>
            <c:dLbl>
              <c:idx val="2"/>
              <c:layout>
                <c:manualLayout>
                  <c:x val="3.9245938784465053E-3"/>
                  <c:y val="-7.5559593468612629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2BE-7146-8EBC-2A60278A1510}"/>
                </c:ext>
              </c:extLst>
            </c:dLbl>
            <c:dLbl>
              <c:idx val="3"/>
              <c:layout>
                <c:manualLayout>
                  <c:x val="7.8493614652928884E-3"/>
                  <c:y val="-7.8362931085807275E-2"/>
                </c:manualLayout>
              </c:layout>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5.1501240104266731E-2"/>
                      <c:h val="5.2768877301685231E-2"/>
                    </c:manualLayout>
                  </c15:layout>
                </c:ext>
                <c:ext xmlns:c16="http://schemas.microsoft.com/office/drawing/2014/chart" uri="{C3380CC4-5D6E-409C-BE32-E72D297353CC}">
                  <c16:uniqueId val="{00000003-52BE-7146-8EBC-2A60278A1510}"/>
                </c:ext>
              </c:extLst>
            </c:dLbl>
            <c:dLbl>
              <c:idx val="4"/>
              <c:layout>
                <c:manualLayout>
                  <c:x val="6.1306905568987071E-3"/>
                  <c:y val="-7.5554577578053256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2BE-7146-8EBC-2A60278A151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sākumi (nometnes, ekskursijas, pārgājieni) notiek pietiekami bieži</c:v>
                </c:pt>
                <c:pt idx="1">
                  <c:v>Man patīk kopējie pasākumi ar citām jaunsargu grupām</c:v>
                </c:pt>
                <c:pt idx="2">
                  <c:v>Nodarbību dienas un laiki ir man ērti</c:v>
                </c:pt>
                <c:pt idx="3">
                  <c:v>Vienas nodarbības ilgums (aptuveni 2 stundas) ir pietiekams</c:v>
                </c:pt>
                <c:pt idx="4">
                  <c:v>Nodarbības notiek pietiekami bieži (reizi nedēļā)</c:v>
                </c:pt>
              </c:strCache>
            </c:strRef>
          </c:cat>
          <c:val>
            <c:numRef>
              <c:f>Sheet1!$B$2:$B$6</c:f>
              <c:numCache>
                <c:formatCode>0%</c:formatCode>
                <c:ptCount val="5"/>
                <c:pt idx="0">
                  <c:v>0.04</c:v>
                </c:pt>
                <c:pt idx="1">
                  <c:v>0.04</c:v>
                </c:pt>
                <c:pt idx="2">
                  <c:v>0.05</c:v>
                </c:pt>
                <c:pt idx="3">
                  <c:v>0.03</c:v>
                </c:pt>
                <c:pt idx="4">
                  <c:v>0.05</c:v>
                </c:pt>
              </c:numCache>
            </c:numRef>
          </c:val>
          <c:extLst>
            <c:ext xmlns:c16="http://schemas.microsoft.com/office/drawing/2014/chart" uri="{C3380CC4-5D6E-409C-BE32-E72D297353CC}">
              <c16:uniqueId val="{00000005-52BE-7146-8EBC-2A60278A1510}"/>
            </c:ext>
          </c:extLst>
        </c:ser>
        <c:ser>
          <c:idx val="1"/>
          <c:order val="1"/>
          <c:tx>
            <c:strRef>
              <c:f>Sheet1!$C$1</c:f>
              <c:strCache>
                <c:ptCount val="1"/>
                <c:pt idx="0">
                  <c:v>Drīzāk nepiekrītu</c:v>
                </c:pt>
              </c:strCache>
            </c:strRef>
          </c:tx>
          <c:spPr>
            <a:solidFill>
              <a:schemeClr val="accent6">
                <a:lumMod val="20000"/>
                <a:lumOff val="80000"/>
              </a:schemeClr>
            </a:solidFill>
            <a:ln>
              <a:noFill/>
            </a:ln>
            <a:effectLst/>
          </c:spPr>
          <c:invertIfNegative val="0"/>
          <c:dLbls>
            <c:dLbl>
              <c:idx val="0"/>
              <c:layout>
                <c:manualLayout>
                  <c:x val="1.1773940345368845E-2"/>
                  <c:y val="-4.3865173224003373E-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2BE-7146-8EBC-2A60278A1510}"/>
                </c:ext>
              </c:extLst>
            </c:dLbl>
            <c:dLbl>
              <c:idx val="1"/>
              <c:layout>
                <c:manualLayout>
                  <c:x val="1.1773940345368918E-2"/>
                  <c:y val="4.94851271004256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2BE-7146-8EBC-2A60278A1510}"/>
                </c:ext>
              </c:extLst>
            </c:dLbl>
            <c:dLbl>
              <c:idx val="2"/>
              <c:layout>
                <c:manualLayout>
                  <c:x val="1.9623233908948193E-3"/>
                  <c:y val="-4.3865173224003373E-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2BE-7146-8EBC-2A60278A1510}"/>
                </c:ext>
              </c:extLst>
            </c:dLbl>
            <c:dLbl>
              <c:idx val="3"/>
              <c:layout>
                <c:manualLayout>
                  <c:x val="1.4223764907220526E-2"/>
                  <c:y val="2.808348978269570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2BE-7146-8EBC-2A60278A1510}"/>
                </c:ext>
              </c:extLst>
            </c:dLbl>
            <c:dLbl>
              <c:idx val="4"/>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52BE-7146-8EBC-2A60278A151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sākumi (nometnes, ekskursijas, pārgājieni) notiek pietiekami bieži</c:v>
                </c:pt>
                <c:pt idx="1">
                  <c:v>Man patīk kopējie pasākumi ar citām jaunsargu grupām</c:v>
                </c:pt>
                <c:pt idx="2">
                  <c:v>Nodarbību dienas un laiki ir man ērti</c:v>
                </c:pt>
                <c:pt idx="3">
                  <c:v>Vienas nodarbības ilgums (aptuveni 2 stundas) ir pietiekams</c:v>
                </c:pt>
                <c:pt idx="4">
                  <c:v>Nodarbības notiek pietiekami bieži (reizi nedēļā)</c:v>
                </c:pt>
              </c:strCache>
            </c:strRef>
          </c:cat>
          <c:val>
            <c:numRef>
              <c:f>Sheet1!$C$2:$C$6</c:f>
              <c:numCache>
                <c:formatCode>0%</c:formatCode>
                <c:ptCount val="5"/>
                <c:pt idx="0">
                  <c:v>0.09</c:v>
                </c:pt>
                <c:pt idx="1">
                  <c:v>0.06</c:v>
                </c:pt>
                <c:pt idx="2">
                  <c:v>0.1</c:v>
                </c:pt>
                <c:pt idx="3">
                  <c:v>0.06</c:v>
                </c:pt>
                <c:pt idx="4">
                  <c:v>0.11</c:v>
                </c:pt>
              </c:numCache>
            </c:numRef>
          </c:val>
          <c:extLst>
            <c:ext xmlns:c16="http://schemas.microsoft.com/office/drawing/2014/chart" uri="{C3380CC4-5D6E-409C-BE32-E72D297353CC}">
              <c16:uniqueId val="{0000000A-52BE-7146-8EBC-2A60278A1510}"/>
            </c:ext>
          </c:extLst>
        </c:ser>
        <c:ser>
          <c:idx val="2"/>
          <c:order val="2"/>
          <c:tx>
            <c:strRef>
              <c:f>Sheet1!$D$1</c:f>
              <c:strCache>
                <c:ptCount val="1"/>
                <c:pt idx="0">
                  <c:v>Ne nepiekrītu, ne piekrītu</c:v>
                </c:pt>
              </c:strCache>
            </c:strRef>
          </c:tx>
          <c:spPr>
            <a:solidFill>
              <a:schemeClr val="accent3"/>
            </a:solidFill>
            <a:ln>
              <a:noFill/>
            </a:ln>
            <a:effectLst/>
          </c:spPr>
          <c:invertIfNegative val="0"/>
          <c:dLbls>
            <c:dLbl>
              <c:idx val="0"/>
              <c:layout>
                <c:manualLayout>
                  <c:x val="9.8116169544740974E-3"/>
                  <c:y val="4.99251123315018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2BE-7146-8EBC-2A60278A1510}"/>
                </c:ext>
              </c:extLst>
            </c:dLbl>
            <c:dLbl>
              <c:idx val="1"/>
              <c:layout>
                <c:manualLayout>
                  <c:x val="9.8116169544740974E-3"/>
                  <c:y val="4.99251123315027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2BE-7146-8EBC-2A60278A1510}"/>
                </c:ext>
              </c:extLst>
            </c:dLbl>
            <c:dLbl>
              <c:idx val="2"/>
              <c:layout>
                <c:manualLayout>
                  <c:x val="1.373626373626373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2BE-7146-8EBC-2A60278A1510}"/>
                </c:ext>
              </c:extLst>
            </c:dLbl>
            <c:dLbl>
              <c:idx val="3"/>
              <c:layout>
                <c:manualLayout>
                  <c:x val="1.4711364385678508E-2"/>
                  <c:y val="2.808348978269570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2BE-7146-8EBC-2A60278A1510}"/>
                </c:ext>
              </c:extLst>
            </c:dLbl>
            <c:dLbl>
              <c:idx val="4"/>
              <c:layout>
                <c:manualLayout>
                  <c:x val="1.3236580070713216E-2"/>
                  <c:y val="2.808348978269570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52BE-7146-8EBC-2A60278A151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sākumi (nometnes, ekskursijas, pārgājieni) notiek pietiekami bieži</c:v>
                </c:pt>
                <c:pt idx="1">
                  <c:v>Man patīk kopējie pasākumi ar citām jaunsargu grupām</c:v>
                </c:pt>
                <c:pt idx="2">
                  <c:v>Nodarbību dienas un laiki ir man ērti</c:v>
                </c:pt>
                <c:pt idx="3">
                  <c:v>Vienas nodarbības ilgums (aptuveni 2 stundas) ir pietiekams</c:v>
                </c:pt>
                <c:pt idx="4">
                  <c:v>Nodarbības notiek pietiekami bieži (reizi nedēļā)</c:v>
                </c:pt>
              </c:strCache>
            </c:strRef>
          </c:cat>
          <c:val>
            <c:numRef>
              <c:f>Sheet1!$D$2:$D$6</c:f>
              <c:numCache>
                <c:formatCode>0%</c:formatCode>
                <c:ptCount val="5"/>
                <c:pt idx="0">
                  <c:v>0.17</c:v>
                </c:pt>
                <c:pt idx="1">
                  <c:v>0.17</c:v>
                </c:pt>
                <c:pt idx="2">
                  <c:v>0.14000000000000001</c:v>
                </c:pt>
                <c:pt idx="3">
                  <c:v>0.13</c:v>
                </c:pt>
                <c:pt idx="4">
                  <c:v>0.14000000000000001</c:v>
                </c:pt>
              </c:numCache>
            </c:numRef>
          </c:val>
          <c:extLst>
            <c:ext xmlns:c16="http://schemas.microsoft.com/office/drawing/2014/chart" uri="{C3380CC4-5D6E-409C-BE32-E72D297353CC}">
              <c16:uniqueId val="{0000000F-52BE-7146-8EBC-2A60278A1510}"/>
            </c:ext>
          </c:extLst>
        </c:ser>
        <c:ser>
          <c:idx val="3"/>
          <c:order val="3"/>
          <c:tx>
            <c:strRef>
              <c:f>Sheet1!$E$1</c:f>
              <c:strCache>
                <c:ptCount val="1"/>
                <c:pt idx="0">
                  <c:v>Drīzāk piekrītu</c:v>
                </c:pt>
              </c:strCache>
            </c:strRef>
          </c:tx>
          <c:spPr>
            <a:solidFill>
              <a:schemeClr val="accent5">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sākumi (nometnes, ekskursijas, pārgājieni) notiek pietiekami bieži</c:v>
                </c:pt>
                <c:pt idx="1">
                  <c:v>Man patīk kopējie pasākumi ar citām jaunsargu grupām</c:v>
                </c:pt>
                <c:pt idx="2">
                  <c:v>Nodarbību dienas un laiki ir man ērti</c:v>
                </c:pt>
                <c:pt idx="3">
                  <c:v>Vienas nodarbības ilgums (aptuveni 2 stundas) ir pietiekams</c:v>
                </c:pt>
                <c:pt idx="4">
                  <c:v>Nodarbības notiek pietiekami bieži (reizi nedēļā)</c:v>
                </c:pt>
              </c:strCache>
            </c:strRef>
          </c:cat>
          <c:val>
            <c:numRef>
              <c:f>Sheet1!$E$2:$E$6</c:f>
              <c:numCache>
                <c:formatCode>0%</c:formatCode>
                <c:ptCount val="5"/>
                <c:pt idx="0">
                  <c:v>0.32</c:v>
                </c:pt>
                <c:pt idx="1">
                  <c:v>0.3</c:v>
                </c:pt>
                <c:pt idx="2">
                  <c:v>0.22</c:v>
                </c:pt>
                <c:pt idx="3">
                  <c:v>0.28999999999999998</c:v>
                </c:pt>
                <c:pt idx="4">
                  <c:v>0.21</c:v>
                </c:pt>
              </c:numCache>
            </c:numRef>
          </c:val>
          <c:extLst>
            <c:ext xmlns:c16="http://schemas.microsoft.com/office/drawing/2014/chart" uri="{C3380CC4-5D6E-409C-BE32-E72D297353CC}">
              <c16:uniqueId val="{00000010-52BE-7146-8EBC-2A60278A1510}"/>
            </c:ext>
          </c:extLst>
        </c:ser>
        <c:ser>
          <c:idx val="4"/>
          <c:order val="4"/>
          <c:tx>
            <c:strRef>
              <c:f>Sheet1!$F$1</c:f>
              <c:strCache>
                <c:ptCount val="1"/>
                <c:pt idx="0">
                  <c:v>Pilnībā piekrītu</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sākumi (nometnes, ekskursijas, pārgājieni) notiek pietiekami bieži</c:v>
                </c:pt>
                <c:pt idx="1">
                  <c:v>Man patīk kopējie pasākumi ar citām jaunsargu grupām</c:v>
                </c:pt>
                <c:pt idx="2">
                  <c:v>Nodarbību dienas un laiki ir man ērti</c:v>
                </c:pt>
                <c:pt idx="3">
                  <c:v>Vienas nodarbības ilgums (aptuveni 2 stundas) ir pietiekams</c:v>
                </c:pt>
                <c:pt idx="4">
                  <c:v>Nodarbības notiek pietiekami bieži (reizi nedēļā)</c:v>
                </c:pt>
              </c:strCache>
            </c:strRef>
          </c:cat>
          <c:val>
            <c:numRef>
              <c:f>Sheet1!$F$2:$F$6</c:f>
              <c:numCache>
                <c:formatCode>0%</c:formatCode>
                <c:ptCount val="5"/>
                <c:pt idx="0">
                  <c:v>0.38</c:v>
                </c:pt>
                <c:pt idx="1">
                  <c:v>0.43</c:v>
                </c:pt>
                <c:pt idx="2">
                  <c:v>0.49</c:v>
                </c:pt>
                <c:pt idx="3">
                  <c:v>0.49</c:v>
                </c:pt>
                <c:pt idx="4">
                  <c:v>0.49</c:v>
                </c:pt>
              </c:numCache>
            </c:numRef>
          </c:val>
          <c:extLst>
            <c:ext xmlns:c16="http://schemas.microsoft.com/office/drawing/2014/chart" uri="{C3380CC4-5D6E-409C-BE32-E72D297353CC}">
              <c16:uniqueId val="{00000011-52BE-7146-8EBC-2A60278A1510}"/>
            </c:ext>
          </c:extLst>
        </c:ser>
        <c:dLbls>
          <c:showLegendKey val="0"/>
          <c:showVal val="0"/>
          <c:showCatName val="0"/>
          <c:showSerName val="0"/>
          <c:showPercent val="0"/>
          <c:showBubbleSize val="0"/>
        </c:dLbls>
        <c:gapWidth val="150"/>
        <c:overlap val="100"/>
        <c:axId val="237498095"/>
        <c:axId val="237497135"/>
      </c:barChart>
      <c:catAx>
        <c:axId val="237498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37497135"/>
        <c:crosses val="autoZero"/>
        <c:auto val="1"/>
        <c:lblAlgn val="ctr"/>
        <c:lblOffset val="100"/>
        <c:noMultiLvlLbl val="0"/>
      </c:catAx>
      <c:valAx>
        <c:axId val="237497135"/>
        <c:scaling>
          <c:orientation val="minMax"/>
        </c:scaling>
        <c:delete val="1"/>
        <c:axPos val="b"/>
        <c:numFmt formatCode="0%" sourceLinked="1"/>
        <c:majorTickMark val="none"/>
        <c:minorTickMark val="none"/>
        <c:tickLblPos val="nextTo"/>
        <c:crossAx val="237498095"/>
        <c:crosses val="autoZero"/>
        <c:crossBetween val="between"/>
      </c:valAx>
      <c:spPr>
        <a:noFill/>
        <a:ln>
          <a:noFill/>
        </a:ln>
        <a:effectLst/>
      </c:spPr>
    </c:plotArea>
    <c:legend>
      <c:legendPos val="b"/>
      <c:layout>
        <c:manualLayout>
          <c:xMode val="edge"/>
          <c:yMode val="edge"/>
          <c:x val="0"/>
          <c:y val="0.88272084584489086"/>
          <c:w val="1"/>
          <c:h val="0.1004290331085850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Column2</c:v>
                </c:pt>
              </c:strCache>
            </c:strRef>
          </c:tx>
          <c:spPr>
            <a:solidFill>
              <a:schemeClr val="accent6"/>
            </a:solidFill>
            <a:ln>
              <a:noFill/>
            </a:ln>
            <a:effectLst/>
          </c:spPr>
          <c:invertIfNegative val="0"/>
          <c:dLbls>
            <c:dLbl>
              <c:idx val="0"/>
              <c:layout>
                <c:manualLayout>
                  <c:x val="3.8948393378773127E-3"/>
                  <c:y val="-5.3181386514719917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LV"/>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D6C-48C9-A03D-54E1ABEC8985}"/>
                </c:ext>
              </c:extLst>
            </c:dLbl>
            <c:dLbl>
              <c:idx val="1"/>
              <c:layout>
                <c:manualLayout>
                  <c:x val="7.7896786757545534E-3"/>
                  <c:y val="-5.3181386514719847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LV"/>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34B-6441-A387-C2382B5BCF1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ola spēj nodrošināt Jaunsardzes aktivitātēm piemērotu infrastruktūru</c:v>
                </c:pt>
                <c:pt idx="1">
                  <c:v>Programmas organizēšana skolai nerada būtisku administratīvo slodzi</c:v>
                </c:pt>
              </c:strCache>
            </c:strRef>
          </c:cat>
          <c:val>
            <c:numRef>
              <c:f>Sheet1!$B$2:$B$3</c:f>
              <c:numCache>
                <c:formatCode>General</c:formatCode>
                <c:ptCount val="2"/>
              </c:numCache>
            </c:numRef>
          </c:val>
          <c:extLst>
            <c:ext xmlns:c16="http://schemas.microsoft.com/office/drawing/2014/chart" uri="{C3380CC4-5D6E-409C-BE32-E72D297353CC}">
              <c16:uniqueId val="{00000004-D34B-6441-A387-C2382B5BCF17}"/>
            </c:ext>
          </c:extLst>
        </c:ser>
        <c:ser>
          <c:idx val="1"/>
          <c:order val="1"/>
          <c:tx>
            <c:strRef>
              <c:f>Sheet1!$C$1</c:f>
              <c:strCache>
                <c:ptCount val="1"/>
                <c:pt idx="0">
                  <c:v>Pilnībā/ Drīzāk nepiekrītu</c:v>
                </c:pt>
              </c:strCache>
            </c:strRef>
          </c:tx>
          <c:spPr>
            <a:solidFill>
              <a:schemeClr val="accent6"/>
            </a:solidFill>
            <a:ln>
              <a:noFill/>
            </a:ln>
            <a:effectLst/>
          </c:spPr>
          <c:invertIfNegative val="0"/>
          <c:dLbls>
            <c:dLbl>
              <c:idx val="0"/>
              <c:layout>
                <c:manualLayout>
                  <c:x val="1.43295974487141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6C-48C9-A03D-54E1ABEC8985}"/>
                </c:ext>
              </c:extLst>
            </c:dLbl>
            <c:dLbl>
              <c:idx val="1"/>
              <c:layout>
                <c:manualLayout>
                  <c:x val="9.7370983446932093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34B-6441-A387-C2382B5BCF17}"/>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ola spēj nodrošināt Jaunsardzes aktivitātēm piemērotu infrastruktūru</c:v>
                </c:pt>
                <c:pt idx="1">
                  <c:v>Programmas organizēšana skolai nerada būtisku administratīvo slodzi</c:v>
                </c:pt>
              </c:strCache>
            </c:strRef>
          </c:cat>
          <c:val>
            <c:numRef>
              <c:f>Sheet1!$C$2:$C$3</c:f>
              <c:numCache>
                <c:formatCode>0%</c:formatCode>
                <c:ptCount val="2"/>
                <c:pt idx="0">
                  <c:v>0.04</c:v>
                </c:pt>
                <c:pt idx="1">
                  <c:v>0.05</c:v>
                </c:pt>
              </c:numCache>
            </c:numRef>
          </c:val>
          <c:extLst>
            <c:ext xmlns:c16="http://schemas.microsoft.com/office/drawing/2014/chart" uri="{C3380CC4-5D6E-409C-BE32-E72D297353CC}">
              <c16:uniqueId val="{00000009-D34B-6441-A387-C2382B5BCF17}"/>
            </c:ext>
          </c:extLst>
        </c:ser>
        <c:ser>
          <c:idx val="2"/>
          <c:order val="2"/>
          <c:tx>
            <c:strRef>
              <c:f>Sheet1!$D$1</c:f>
              <c:strCache>
                <c:ptCount val="1"/>
                <c:pt idx="0">
                  <c:v>Ne piekrītu, ne nepiekrītu</c:v>
                </c:pt>
              </c:strCache>
            </c:strRef>
          </c:tx>
          <c:spPr>
            <a:solidFill>
              <a:schemeClr val="accent3"/>
            </a:solidFill>
            <a:ln>
              <a:noFill/>
            </a:ln>
            <a:effectLst/>
          </c:spPr>
          <c:invertIfNegative val="0"/>
          <c:dLbls>
            <c:dLbl>
              <c:idx val="0"/>
              <c:layout>
                <c:manualLayout>
                  <c:x val="1.363193768257059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D6C-48C9-A03D-54E1ABEC8985}"/>
                </c:ext>
              </c:extLst>
            </c:dLbl>
            <c:dLbl>
              <c:idx val="1"/>
              <c:layout>
                <c:manualLayout>
                  <c:x val="1.55793573515091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34B-6441-A387-C2382B5BCF17}"/>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ola spēj nodrošināt Jaunsardzes aktivitātēm piemērotu infrastruktūru</c:v>
                </c:pt>
                <c:pt idx="1">
                  <c:v>Programmas organizēšana skolai nerada būtisku administratīvo slodzi</c:v>
                </c:pt>
              </c:strCache>
            </c:strRef>
          </c:cat>
          <c:val>
            <c:numRef>
              <c:f>Sheet1!$D$2:$D$3</c:f>
              <c:numCache>
                <c:formatCode>0%</c:formatCode>
                <c:ptCount val="2"/>
                <c:pt idx="0">
                  <c:v>0.19</c:v>
                </c:pt>
                <c:pt idx="1">
                  <c:v>0.03</c:v>
                </c:pt>
              </c:numCache>
            </c:numRef>
          </c:val>
          <c:extLst>
            <c:ext xmlns:c16="http://schemas.microsoft.com/office/drawing/2014/chart" uri="{C3380CC4-5D6E-409C-BE32-E72D297353CC}">
              <c16:uniqueId val="{0000000E-D34B-6441-A387-C2382B5BCF17}"/>
            </c:ext>
          </c:extLst>
        </c:ser>
        <c:ser>
          <c:idx val="3"/>
          <c:order val="3"/>
          <c:tx>
            <c:strRef>
              <c:f>Sheet1!$E$1</c:f>
              <c:strCache>
                <c:ptCount val="1"/>
                <c:pt idx="0">
                  <c:v>Drīzāk piekrītu</c:v>
                </c:pt>
              </c:strCache>
            </c:strRef>
          </c:tx>
          <c:spPr>
            <a:solidFill>
              <a:schemeClr val="accent5">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ola spēj nodrošināt Jaunsardzes aktivitātēm piemērotu infrastruktūru</c:v>
                </c:pt>
                <c:pt idx="1">
                  <c:v>Programmas organizēšana skolai nerada būtisku administratīvo slodzi</c:v>
                </c:pt>
              </c:strCache>
            </c:strRef>
          </c:cat>
          <c:val>
            <c:numRef>
              <c:f>Sheet1!$E$2:$E$3</c:f>
              <c:numCache>
                <c:formatCode>0%</c:formatCode>
                <c:ptCount val="2"/>
                <c:pt idx="0">
                  <c:v>0.4</c:v>
                </c:pt>
                <c:pt idx="1">
                  <c:v>0.36</c:v>
                </c:pt>
              </c:numCache>
            </c:numRef>
          </c:val>
          <c:extLst>
            <c:ext xmlns:c16="http://schemas.microsoft.com/office/drawing/2014/chart" uri="{C3380CC4-5D6E-409C-BE32-E72D297353CC}">
              <c16:uniqueId val="{0000000F-D34B-6441-A387-C2382B5BCF17}"/>
            </c:ext>
          </c:extLst>
        </c:ser>
        <c:ser>
          <c:idx val="4"/>
          <c:order val="4"/>
          <c:tx>
            <c:strRef>
              <c:f>Sheet1!$F$1</c:f>
              <c:strCache>
                <c:ptCount val="1"/>
                <c:pt idx="0">
                  <c:v>Pilnībā piekrītu</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LV"/>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ola spēj nodrošināt Jaunsardzes aktivitātēm piemērotu infrastruktūru</c:v>
                </c:pt>
                <c:pt idx="1">
                  <c:v>Programmas organizēšana skolai nerada būtisku administratīvo slodzi</c:v>
                </c:pt>
              </c:strCache>
            </c:strRef>
          </c:cat>
          <c:val>
            <c:numRef>
              <c:f>Sheet1!$F$2:$F$3</c:f>
              <c:numCache>
                <c:formatCode>0%</c:formatCode>
                <c:ptCount val="2"/>
                <c:pt idx="0">
                  <c:v>0.37</c:v>
                </c:pt>
                <c:pt idx="1">
                  <c:v>0.56000000000000005</c:v>
                </c:pt>
              </c:numCache>
            </c:numRef>
          </c:val>
          <c:extLst>
            <c:ext xmlns:c16="http://schemas.microsoft.com/office/drawing/2014/chart" uri="{C3380CC4-5D6E-409C-BE32-E72D297353CC}">
              <c16:uniqueId val="{00000010-D34B-6441-A387-C2382B5BCF17}"/>
            </c:ext>
          </c:extLst>
        </c:ser>
        <c:dLbls>
          <c:dLblPos val="ctr"/>
          <c:showLegendKey val="0"/>
          <c:showVal val="1"/>
          <c:showCatName val="0"/>
          <c:showSerName val="0"/>
          <c:showPercent val="0"/>
          <c:showBubbleSize val="0"/>
        </c:dLbls>
        <c:gapWidth val="150"/>
        <c:overlap val="100"/>
        <c:axId val="172322624"/>
        <c:axId val="108700864"/>
      </c:barChart>
      <c:catAx>
        <c:axId val="1723226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LV"/>
          </a:p>
        </c:txPr>
        <c:crossAx val="108700864"/>
        <c:crosses val="autoZero"/>
        <c:auto val="1"/>
        <c:lblAlgn val="ctr"/>
        <c:lblOffset val="100"/>
        <c:noMultiLvlLbl val="0"/>
      </c:catAx>
      <c:valAx>
        <c:axId val="108700864"/>
        <c:scaling>
          <c:orientation val="minMax"/>
        </c:scaling>
        <c:delete val="1"/>
        <c:axPos val="b"/>
        <c:numFmt formatCode="0%" sourceLinked="1"/>
        <c:majorTickMark val="none"/>
        <c:minorTickMark val="none"/>
        <c:tickLblPos val="nextTo"/>
        <c:crossAx val="172322624"/>
        <c:crosses val="autoZero"/>
        <c:crossBetween val="between"/>
      </c:valAx>
      <c:spPr>
        <a:noFill/>
        <a:ln>
          <a:noFill/>
        </a:ln>
        <a:effectLst/>
      </c:spPr>
    </c:plotArea>
    <c:legend>
      <c:legendPos val="b"/>
      <c:legendEntry>
        <c:idx val="0"/>
        <c:delete val="1"/>
      </c:legendEntry>
      <c:layout>
        <c:manualLayout>
          <c:xMode val="edge"/>
          <c:yMode val="edge"/>
          <c:x val="0"/>
          <c:y val="0.77714310982298429"/>
          <c:w val="1"/>
          <c:h val="0.1932999647799366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LV"/>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LV"/>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441091745210496"/>
          <c:y val="0.145985401459854"/>
          <c:w val="0.49421740972877709"/>
          <c:h val="0.67920052876602099"/>
        </c:manualLayout>
      </c:layout>
      <c:barChart>
        <c:barDir val="bar"/>
        <c:grouping val="percentStacked"/>
        <c:varyColors val="0"/>
        <c:ser>
          <c:idx val="0"/>
          <c:order val="0"/>
          <c:tx>
            <c:strRef>
              <c:f>Sheet1!$B$1</c:f>
              <c:strCache>
                <c:ptCount val="1"/>
                <c:pt idx="0">
                  <c:v>Pilnībā nepiekrītu</c:v>
                </c:pt>
              </c:strCache>
            </c:strRef>
          </c:tx>
          <c:spPr>
            <a:solidFill>
              <a:schemeClr val="accent6"/>
            </a:solidFill>
            <a:ln>
              <a:noFill/>
            </a:ln>
            <a:effectLst/>
          </c:spPr>
          <c:invertIfNegative val="0"/>
          <c:dLbls>
            <c:dLbl>
              <c:idx val="1"/>
              <c:layout>
                <c:manualLayout>
                  <c:x val="6.1475409836065573E-3"/>
                  <c:y val="-2.913833023973755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0D1-AF4F-8422-AA026F44FA2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r pieejama piemērota vide VAM praktisko prasmju apguvei</c:v>
                </c:pt>
                <c:pt idx="1">
                  <c:v>Skola spēj nodrošināt nepieciešamās telpas VAM nodarbībām</c:v>
                </c:pt>
              </c:strCache>
            </c:strRef>
          </c:cat>
          <c:val>
            <c:numRef>
              <c:f>Sheet1!$B$2:$B$3</c:f>
              <c:numCache>
                <c:formatCode>0%</c:formatCode>
                <c:ptCount val="2"/>
                <c:pt idx="0">
                  <c:v>7.0000000000000007E-2</c:v>
                </c:pt>
                <c:pt idx="1">
                  <c:v>0.06</c:v>
                </c:pt>
              </c:numCache>
            </c:numRef>
          </c:val>
          <c:extLst>
            <c:ext xmlns:c16="http://schemas.microsoft.com/office/drawing/2014/chart" uri="{C3380CC4-5D6E-409C-BE32-E72D297353CC}">
              <c16:uniqueId val="{00000000-40D1-AF4F-8422-AA026F44FA29}"/>
            </c:ext>
          </c:extLst>
        </c:ser>
        <c:ser>
          <c:idx val="1"/>
          <c:order val="1"/>
          <c:tx>
            <c:strRef>
              <c:f>Sheet1!$C$1</c:f>
              <c:strCache>
                <c:ptCount val="1"/>
                <c:pt idx="0">
                  <c:v>Drīzāk nepiekrītu</c:v>
                </c:pt>
              </c:strCache>
            </c:strRef>
          </c:tx>
          <c:spPr>
            <a:solidFill>
              <a:schemeClr val="accent6">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r pieejama piemērota vide VAM praktisko prasmju apguvei</c:v>
                </c:pt>
                <c:pt idx="1">
                  <c:v>Skola spēj nodrošināt nepieciešamās telpas VAM nodarbībām</c:v>
                </c:pt>
              </c:strCache>
            </c:strRef>
          </c:cat>
          <c:val>
            <c:numRef>
              <c:f>Sheet1!$C$2:$C$3</c:f>
              <c:numCache>
                <c:formatCode>0%</c:formatCode>
                <c:ptCount val="2"/>
                <c:pt idx="0">
                  <c:v>0.09</c:v>
                </c:pt>
                <c:pt idx="1">
                  <c:v>0.08</c:v>
                </c:pt>
              </c:numCache>
            </c:numRef>
          </c:val>
          <c:extLst>
            <c:ext xmlns:c16="http://schemas.microsoft.com/office/drawing/2014/chart" uri="{C3380CC4-5D6E-409C-BE32-E72D297353CC}">
              <c16:uniqueId val="{00000001-40D1-AF4F-8422-AA026F44FA29}"/>
            </c:ext>
          </c:extLst>
        </c:ser>
        <c:ser>
          <c:idx val="2"/>
          <c:order val="2"/>
          <c:tx>
            <c:strRef>
              <c:f>Sheet1!$D$1</c:f>
              <c:strCache>
                <c:ptCount val="1"/>
                <c:pt idx="0">
                  <c:v>Ne piekrītu, ne nepiekrītu</c:v>
                </c:pt>
              </c:strCache>
            </c:strRef>
          </c:tx>
          <c:spPr>
            <a:solidFill>
              <a:schemeClr val="accent3"/>
            </a:solidFill>
            <a:ln>
              <a:noFill/>
            </a:ln>
            <a:effectLst/>
          </c:spPr>
          <c:invertIfNegative val="0"/>
          <c:dLbls>
            <c:dLbl>
              <c:idx val="1"/>
              <c:layout>
                <c:manualLayout>
                  <c:x val="1.229508196721304E-2"/>
                  <c:y val="-2.913833023973755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0D1-AF4F-8422-AA026F44FA2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r pieejama piemērota vide VAM praktisko prasmju apguvei</c:v>
                </c:pt>
                <c:pt idx="1">
                  <c:v>Skola spēj nodrošināt nepieciešamās telpas VAM nodarbībām</c:v>
                </c:pt>
              </c:strCache>
            </c:strRef>
          </c:cat>
          <c:val>
            <c:numRef>
              <c:f>Sheet1!$D$2:$D$3</c:f>
              <c:numCache>
                <c:formatCode>0%</c:formatCode>
                <c:ptCount val="2"/>
                <c:pt idx="0">
                  <c:v>0.11</c:v>
                </c:pt>
                <c:pt idx="1">
                  <c:v>0.05</c:v>
                </c:pt>
              </c:numCache>
            </c:numRef>
          </c:val>
          <c:extLst>
            <c:ext xmlns:c16="http://schemas.microsoft.com/office/drawing/2014/chart" uri="{C3380CC4-5D6E-409C-BE32-E72D297353CC}">
              <c16:uniqueId val="{00000002-40D1-AF4F-8422-AA026F44FA29}"/>
            </c:ext>
          </c:extLst>
        </c:ser>
        <c:ser>
          <c:idx val="3"/>
          <c:order val="3"/>
          <c:tx>
            <c:strRef>
              <c:f>Sheet1!$E$1</c:f>
              <c:strCache>
                <c:ptCount val="1"/>
                <c:pt idx="0">
                  <c:v>Drīzāk piekrītu</c:v>
                </c:pt>
              </c:strCache>
            </c:strRef>
          </c:tx>
          <c:spPr>
            <a:solidFill>
              <a:schemeClr val="accent5">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r pieejama piemērota vide VAM praktisko prasmju apguvei</c:v>
                </c:pt>
                <c:pt idx="1">
                  <c:v>Skola spēj nodrošināt nepieciešamās telpas VAM nodarbībām</c:v>
                </c:pt>
              </c:strCache>
            </c:strRef>
          </c:cat>
          <c:val>
            <c:numRef>
              <c:f>Sheet1!$E$2:$E$3</c:f>
              <c:numCache>
                <c:formatCode>0%</c:formatCode>
                <c:ptCount val="2"/>
                <c:pt idx="0">
                  <c:v>0.43</c:v>
                </c:pt>
                <c:pt idx="1">
                  <c:v>0.32</c:v>
                </c:pt>
              </c:numCache>
            </c:numRef>
          </c:val>
          <c:extLst>
            <c:ext xmlns:c16="http://schemas.microsoft.com/office/drawing/2014/chart" uri="{C3380CC4-5D6E-409C-BE32-E72D297353CC}">
              <c16:uniqueId val="{00000003-40D1-AF4F-8422-AA026F44FA29}"/>
            </c:ext>
          </c:extLst>
        </c:ser>
        <c:ser>
          <c:idx val="4"/>
          <c:order val="4"/>
          <c:tx>
            <c:strRef>
              <c:f>Sheet1!$F$1</c:f>
              <c:strCache>
                <c:ptCount val="1"/>
                <c:pt idx="0">
                  <c:v>Pilnībā piekrītu</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r pieejama piemērota vide VAM praktisko prasmju apguvei</c:v>
                </c:pt>
                <c:pt idx="1">
                  <c:v>Skola spēj nodrošināt nepieciešamās telpas VAM nodarbībām</c:v>
                </c:pt>
              </c:strCache>
            </c:strRef>
          </c:cat>
          <c:val>
            <c:numRef>
              <c:f>Sheet1!$F$2:$F$3</c:f>
              <c:numCache>
                <c:formatCode>0%</c:formatCode>
                <c:ptCount val="2"/>
                <c:pt idx="0">
                  <c:v>0.3</c:v>
                </c:pt>
                <c:pt idx="1">
                  <c:v>0.49</c:v>
                </c:pt>
              </c:numCache>
            </c:numRef>
          </c:val>
          <c:extLst>
            <c:ext xmlns:c16="http://schemas.microsoft.com/office/drawing/2014/chart" uri="{C3380CC4-5D6E-409C-BE32-E72D297353CC}">
              <c16:uniqueId val="{00000004-40D1-AF4F-8422-AA026F44FA29}"/>
            </c:ext>
          </c:extLst>
        </c:ser>
        <c:dLbls>
          <c:showLegendKey val="0"/>
          <c:showVal val="0"/>
          <c:showCatName val="0"/>
          <c:showSerName val="0"/>
          <c:showPercent val="0"/>
          <c:showBubbleSize val="0"/>
        </c:dLbls>
        <c:gapWidth val="150"/>
        <c:overlap val="100"/>
        <c:axId val="1206758864"/>
        <c:axId val="1206755984"/>
      </c:barChart>
      <c:catAx>
        <c:axId val="120675886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206755984"/>
        <c:crosses val="autoZero"/>
        <c:auto val="1"/>
        <c:lblAlgn val="ctr"/>
        <c:lblOffset val="100"/>
        <c:noMultiLvlLbl val="0"/>
      </c:catAx>
      <c:valAx>
        <c:axId val="1206755984"/>
        <c:scaling>
          <c:orientation val="minMax"/>
        </c:scaling>
        <c:delete val="1"/>
        <c:axPos val="b"/>
        <c:numFmt formatCode="0%" sourceLinked="1"/>
        <c:majorTickMark val="none"/>
        <c:minorTickMark val="none"/>
        <c:tickLblPos val="nextTo"/>
        <c:crossAx val="12067588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C$1</c:f>
              <c:strCache>
                <c:ptCount val="1"/>
                <c:pt idx="0">
                  <c:v>Pilnībā/ Drīzāk nepiekrītu</c:v>
                </c:pt>
              </c:strCache>
            </c:strRef>
          </c:tx>
          <c:spPr>
            <a:solidFill>
              <a:schemeClr val="accent6"/>
            </a:solidFill>
            <a:ln>
              <a:noFill/>
            </a:ln>
            <a:effectLst/>
          </c:spPr>
          <c:invertIfNegative val="0"/>
          <c:dLbls>
            <c:dLbl>
              <c:idx val="0"/>
              <c:layout>
                <c:manualLayout>
                  <c:x val="9.8116169544740974E-3"/>
                  <c:y val="-4.3865173224003373E-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BF8-3949-A8CC-229245366A67}"/>
                </c:ext>
              </c:extLst>
            </c:dLbl>
            <c:dLbl>
              <c:idx val="1"/>
              <c:layout>
                <c:manualLayout>
                  <c:x val="7.8492935635792772E-3"/>
                  <c:y val="-5.6720709139156838E-4"/>
                </c:manualLayout>
              </c:layout>
              <c:spPr>
                <a:noFill/>
                <a:ln>
                  <a:noFill/>
                </a:ln>
                <a:effectLst/>
              </c:spPr>
              <c:txPr>
                <a:bodyPr rot="0" spcFirstLastPara="1" vertOverflow="ellipsis" horzOverflow="clip" vert="horz" wrap="square" lIns="38100" tIns="19050" rIns="38100" bIns="19050" anchor="ctr" anchorCtr="1">
                  <a:no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FBF8-3949-A8CC-229245366A67}"/>
                </c:ext>
              </c:extLst>
            </c:dLbl>
            <c:dLbl>
              <c:idx val="2"/>
              <c:layout>
                <c:manualLayout>
                  <c:x val="7.8492935635792772E-3"/>
                  <c:y val="-4.3865173224003373E-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BF8-3949-A8CC-229245366A67}"/>
                </c:ext>
              </c:extLst>
            </c:dLbl>
            <c:dLbl>
              <c:idx val="3"/>
              <c:layout>
                <c:manualLayout>
                  <c:x val="3.9246467817896386E-3"/>
                  <c:y val="-5.056018077095639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BF8-3949-A8CC-229245366A67}"/>
                </c:ext>
              </c:extLst>
            </c:dLbl>
            <c:dLbl>
              <c:idx val="4"/>
              <c:layout>
                <c:manualLayout>
                  <c:x val="7.8492935635792772E-3"/>
                  <c:y val="2.528009038547819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BF8-3949-A8CC-229245366A67}"/>
                </c:ext>
              </c:extLst>
            </c:dLbl>
            <c:dLbl>
              <c:idx val="5"/>
              <c:layout>
                <c:manualLayout>
                  <c:x val="1.0059580062087188E-2"/>
                  <c:y val="-2.961074231099952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F8-3949-A8CC-229245366A67}"/>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struktors prata uzturēt interesi un motivēja iesaistīties nodarbībās </c:v>
                </c:pt>
                <c:pt idx="1">
                  <c:v>Instruktora prasības un disciplīna bija saprātīgas un pamatotas</c:v>
                </c:pt>
                <c:pt idx="2">
                  <c:v>Instruktors radīja drošu un atbalstošu mācību vidi</c:v>
                </c:pt>
                <c:pt idx="3">
                  <c:v>Instruktors labi izskaidroja uzdevumus un prasības</c:v>
                </c:pt>
                <c:pt idx="4">
                  <c:v>Instruktors izturējās pret skolēniem taisnīgi un ar cieņu </c:v>
                </c:pt>
                <c:pt idx="5">
                  <c:v>Instruktors labi pārzināja mācību saturu un tēmas, kuras pasniedza </c:v>
                </c:pt>
              </c:strCache>
            </c:strRef>
          </c:cat>
          <c:val>
            <c:numRef>
              <c:f>Sheet1!$C$2:$C$7</c:f>
              <c:numCache>
                <c:formatCode>0%</c:formatCode>
                <c:ptCount val="6"/>
                <c:pt idx="0">
                  <c:v>0.11</c:v>
                </c:pt>
                <c:pt idx="1">
                  <c:v>0.05</c:v>
                </c:pt>
                <c:pt idx="2">
                  <c:v>0.06</c:v>
                </c:pt>
                <c:pt idx="3">
                  <c:v>0.05</c:v>
                </c:pt>
                <c:pt idx="4">
                  <c:v>0.06</c:v>
                </c:pt>
                <c:pt idx="5">
                  <c:v>0.04</c:v>
                </c:pt>
              </c:numCache>
            </c:numRef>
          </c:val>
          <c:extLst>
            <c:ext xmlns:c16="http://schemas.microsoft.com/office/drawing/2014/chart" uri="{C3380CC4-5D6E-409C-BE32-E72D297353CC}">
              <c16:uniqueId val="{00000006-FBF8-3949-A8CC-229245366A67}"/>
            </c:ext>
          </c:extLst>
        </c:ser>
        <c:ser>
          <c:idx val="1"/>
          <c:order val="1"/>
          <c:tx>
            <c:strRef>
              <c:f>Sheet1!$D$1</c:f>
              <c:strCache>
                <c:ptCount val="1"/>
                <c:pt idx="0">
                  <c:v>Ne nepiekrītu, ne piekrītu</c:v>
                </c:pt>
              </c:strCache>
            </c:strRef>
          </c:tx>
          <c:spPr>
            <a:solidFill>
              <a:schemeClr val="accent3"/>
            </a:solidFill>
            <a:ln>
              <a:noFill/>
            </a:ln>
            <a:effectLst/>
          </c:spPr>
          <c:invertIfNegative val="0"/>
          <c:dLbls>
            <c:dLbl>
              <c:idx val="0"/>
              <c:layout>
                <c:manualLayout>
                  <c:x val="9.8116169544740974E-3"/>
                  <c:y val="4.99251123315018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BF8-3949-A8CC-229245366A67}"/>
                </c:ext>
              </c:extLst>
            </c:dLbl>
            <c:dLbl>
              <c:idx val="1"/>
              <c:layout>
                <c:manualLayout>
                  <c:x val="9.8116169544740974E-3"/>
                  <c:y val="-5.2334191816756496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BF8-3949-A8CC-229245366A67}"/>
                </c:ext>
              </c:extLst>
            </c:dLbl>
            <c:dLbl>
              <c:idx val="2"/>
              <c:layout>
                <c:manualLayout>
                  <c:x val="1.373626373626373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BF8-3949-A8CC-229245366A67}"/>
                </c:ext>
              </c:extLst>
            </c:dLbl>
            <c:dLbl>
              <c:idx val="3"/>
              <c:layout>
                <c:manualLayout>
                  <c:x val="1.3736263736263736E-2"/>
                  <c:y val="-5.056018077095639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BF8-3949-A8CC-229245366A67}"/>
                </c:ext>
              </c:extLst>
            </c:dLbl>
            <c:dLbl>
              <c:idx val="4"/>
              <c:layout>
                <c:manualLayout>
                  <c:x val="1.3736263736263736E-2"/>
                  <c:y val="2.528009038547819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BF8-3949-A8CC-229245366A67}"/>
                </c:ext>
              </c:extLst>
            </c:dLbl>
            <c:dLbl>
              <c:idx val="5"/>
              <c:layout>
                <c:manualLayout>
                  <c:x val="1.3736214633144072E-2"/>
                  <c:y val="2.961074231099952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BF8-3949-A8CC-229245366A67}"/>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struktors prata uzturēt interesi un motivēja iesaistīties nodarbībās </c:v>
                </c:pt>
                <c:pt idx="1">
                  <c:v>Instruktora prasības un disciplīna bija saprātīgas un pamatotas</c:v>
                </c:pt>
                <c:pt idx="2">
                  <c:v>Instruktors radīja drošu un atbalstošu mācību vidi</c:v>
                </c:pt>
                <c:pt idx="3">
                  <c:v>Instruktors labi izskaidroja uzdevumus un prasības</c:v>
                </c:pt>
                <c:pt idx="4">
                  <c:v>Instruktors izturējās pret skolēniem taisnīgi un ar cieņu </c:v>
                </c:pt>
                <c:pt idx="5">
                  <c:v>Instruktors labi pārzināja mācību saturu un tēmas, kuras pasniedza </c:v>
                </c:pt>
              </c:strCache>
            </c:strRef>
          </c:cat>
          <c:val>
            <c:numRef>
              <c:f>Sheet1!$D$2:$D$7</c:f>
              <c:numCache>
                <c:formatCode>0%</c:formatCode>
                <c:ptCount val="6"/>
                <c:pt idx="0">
                  <c:v>0.17</c:v>
                </c:pt>
                <c:pt idx="1">
                  <c:v>0.12</c:v>
                </c:pt>
                <c:pt idx="2">
                  <c:v>0.11</c:v>
                </c:pt>
                <c:pt idx="3">
                  <c:v>0.11</c:v>
                </c:pt>
                <c:pt idx="4">
                  <c:v>0.1</c:v>
                </c:pt>
                <c:pt idx="5">
                  <c:v>0.08</c:v>
                </c:pt>
              </c:numCache>
            </c:numRef>
          </c:val>
          <c:extLst>
            <c:ext xmlns:c16="http://schemas.microsoft.com/office/drawing/2014/chart" uri="{C3380CC4-5D6E-409C-BE32-E72D297353CC}">
              <c16:uniqueId val="{0000000D-FBF8-3949-A8CC-229245366A67}"/>
            </c:ext>
          </c:extLst>
        </c:ser>
        <c:ser>
          <c:idx val="2"/>
          <c:order val="2"/>
          <c:tx>
            <c:strRef>
              <c:f>Sheet1!$E$1</c:f>
              <c:strCache>
                <c:ptCount val="1"/>
                <c:pt idx="0">
                  <c:v>Drīzāk piekrītu</c:v>
                </c:pt>
              </c:strCache>
            </c:strRef>
          </c:tx>
          <c:spPr>
            <a:solidFill>
              <a:schemeClr val="accent5">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struktors prata uzturēt interesi un motivēja iesaistīties nodarbībās </c:v>
                </c:pt>
                <c:pt idx="1">
                  <c:v>Instruktora prasības un disciplīna bija saprātīgas un pamatotas</c:v>
                </c:pt>
                <c:pt idx="2">
                  <c:v>Instruktors radīja drošu un atbalstošu mācību vidi</c:v>
                </c:pt>
                <c:pt idx="3">
                  <c:v>Instruktors labi izskaidroja uzdevumus un prasības</c:v>
                </c:pt>
                <c:pt idx="4">
                  <c:v>Instruktors izturējās pret skolēniem taisnīgi un ar cieņu </c:v>
                </c:pt>
                <c:pt idx="5">
                  <c:v>Instruktors labi pārzināja mācību saturu un tēmas, kuras pasniedza </c:v>
                </c:pt>
              </c:strCache>
            </c:strRef>
          </c:cat>
          <c:val>
            <c:numRef>
              <c:f>Sheet1!$E$2:$E$7</c:f>
              <c:numCache>
                <c:formatCode>0%</c:formatCode>
                <c:ptCount val="6"/>
                <c:pt idx="0">
                  <c:v>0.32</c:v>
                </c:pt>
                <c:pt idx="1">
                  <c:v>0.36</c:v>
                </c:pt>
                <c:pt idx="2">
                  <c:v>0.32</c:v>
                </c:pt>
                <c:pt idx="3">
                  <c:v>0.37</c:v>
                </c:pt>
                <c:pt idx="4">
                  <c:v>0.28999999999999998</c:v>
                </c:pt>
                <c:pt idx="5">
                  <c:v>0.31</c:v>
                </c:pt>
              </c:numCache>
            </c:numRef>
          </c:val>
          <c:extLst>
            <c:ext xmlns:c16="http://schemas.microsoft.com/office/drawing/2014/chart" uri="{C3380CC4-5D6E-409C-BE32-E72D297353CC}">
              <c16:uniqueId val="{0000000E-FBF8-3949-A8CC-229245366A67}"/>
            </c:ext>
          </c:extLst>
        </c:ser>
        <c:ser>
          <c:idx val="3"/>
          <c:order val="3"/>
          <c:tx>
            <c:strRef>
              <c:f>Sheet1!$F$1</c:f>
              <c:strCache>
                <c:ptCount val="1"/>
                <c:pt idx="0">
                  <c:v>Pilnībā piekrītu</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struktors prata uzturēt interesi un motivēja iesaistīties nodarbībās </c:v>
                </c:pt>
                <c:pt idx="1">
                  <c:v>Instruktora prasības un disciplīna bija saprātīgas un pamatotas</c:v>
                </c:pt>
                <c:pt idx="2">
                  <c:v>Instruktors radīja drošu un atbalstošu mācību vidi</c:v>
                </c:pt>
                <c:pt idx="3">
                  <c:v>Instruktors labi izskaidroja uzdevumus un prasības</c:v>
                </c:pt>
                <c:pt idx="4">
                  <c:v>Instruktors izturējās pret skolēniem taisnīgi un ar cieņu </c:v>
                </c:pt>
                <c:pt idx="5">
                  <c:v>Instruktors labi pārzināja mācību saturu un tēmas, kuras pasniedza </c:v>
                </c:pt>
              </c:strCache>
            </c:strRef>
          </c:cat>
          <c:val>
            <c:numRef>
              <c:f>Sheet1!$F$2:$F$7</c:f>
              <c:numCache>
                <c:formatCode>0%</c:formatCode>
                <c:ptCount val="6"/>
                <c:pt idx="0">
                  <c:v>0.4</c:v>
                </c:pt>
                <c:pt idx="1">
                  <c:v>0.47</c:v>
                </c:pt>
                <c:pt idx="2">
                  <c:v>0.5</c:v>
                </c:pt>
                <c:pt idx="3">
                  <c:v>0.47</c:v>
                </c:pt>
                <c:pt idx="4">
                  <c:v>0.55000000000000004</c:v>
                </c:pt>
                <c:pt idx="5">
                  <c:v>0.56999999999999995</c:v>
                </c:pt>
              </c:numCache>
            </c:numRef>
          </c:val>
          <c:extLst>
            <c:ext xmlns:c16="http://schemas.microsoft.com/office/drawing/2014/chart" uri="{C3380CC4-5D6E-409C-BE32-E72D297353CC}">
              <c16:uniqueId val="{0000000F-FBF8-3949-A8CC-229245366A67}"/>
            </c:ext>
          </c:extLst>
        </c:ser>
        <c:dLbls>
          <c:showLegendKey val="0"/>
          <c:showVal val="0"/>
          <c:showCatName val="0"/>
          <c:showSerName val="0"/>
          <c:showPercent val="0"/>
          <c:showBubbleSize val="0"/>
        </c:dLbls>
        <c:gapWidth val="150"/>
        <c:overlap val="100"/>
        <c:axId val="237498095"/>
        <c:axId val="237497135"/>
      </c:barChart>
      <c:catAx>
        <c:axId val="237498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37497135"/>
        <c:crosses val="autoZero"/>
        <c:auto val="1"/>
        <c:lblAlgn val="ctr"/>
        <c:lblOffset val="100"/>
        <c:noMultiLvlLbl val="0"/>
      </c:catAx>
      <c:valAx>
        <c:axId val="237497135"/>
        <c:scaling>
          <c:orientation val="minMax"/>
        </c:scaling>
        <c:delete val="1"/>
        <c:axPos val="b"/>
        <c:numFmt formatCode="0%" sourceLinked="1"/>
        <c:majorTickMark val="none"/>
        <c:minorTickMark val="none"/>
        <c:tickLblPos val="nextTo"/>
        <c:crossAx val="237498095"/>
        <c:crosses val="autoZero"/>
        <c:crossBetween val="between"/>
      </c:valAx>
      <c:spPr>
        <a:noFill/>
        <a:ln>
          <a:noFill/>
        </a:ln>
        <a:effectLst/>
      </c:spPr>
    </c:plotArea>
    <c:legend>
      <c:legendPos val="b"/>
      <c:layout>
        <c:manualLayout>
          <c:xMode val="edge"/>
          <c:yMode val="edge"/>
          <c:x val="1.7314650776098325E-2"/>
          <c:y val="0.87257914694948735"/>
          <c:w val="0.96739734278026113"/>
          <c:h val="0.1096544076639129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3183</cdr:x>
      <cdr:y>0.02758</cdr:y>
    </cdr:from>
    <cdr:to>
      <cdr:x>0.23183</cdr:x>
      <cdr:y>0.02758</cdr:y>
    </cdr:to>
    <cdr:cxnSp macro="">
      <cdr:nvCxnSpPr>
        <cdr:cNvPr id="3" name="Straight Connector 2">
          <a:extLst xmlns:a="http://schemas.openxmlformats.org/drawingml/2006/main">
            <a:ext uri="{FF2B5EF4-FFF2-40B4-BE49-F238E27FC236}">
              <a16:creationId xmlns:a16="http://schemas.microsoft.com/office/drawing/2014/main" id="{03AF31C4-7106-794A-7A47-8CA271198158}"/>
            </a:ext>
          </a:extLst>
        </cdr:cNvPr>
        <cdr:cNvCxnSpPr/>
      </cdr:nvCxnSpPr>
      <cdr:spPr>
        <a:xfrm xmlns:a="http://schemas.openxmlformats.org/drawingml/2006/main">
          <a:off x="1498600" y="126454"/>
          <a:ext cx="0"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4400BC-F675-E607-F1F6-93BB4AB5A403}"/>
              </a:ext>
            </a:extLst>
          </p:cNvPr>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C45B9C8B-04DD-7B8A-7EAC-B3953367AEA3}"/>
              </a:ext>
            </a:extLst>
          </p:cNvPr>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CB5BE3EE-C1DB-49DB-816F-205FA840DF11}" type="datetimeFigureOut">
              <a:rPr lang="en-IN" smtClean="0"/>
              <a:t>04-06-2026</a:t>
            </a:fld>
            <a:endParaRPr lang="en-IN"/>
          </a:p>
        </p:txBody>
      </p:sp>
      <p:sp>
        <p:nvSpPr>
          <p:cNvPr id="4" name="Footer Placeholder 3">
            <a:extLst>
              <a:ext uri="{FF2B5EF4-FFF2-40B4-BE49-F238E27FC236}">
                <a16:creationId xmlns:a16="http://schemas.microsoft.com/office/drawing/2014/main" id="{88E46F44-9ACC-4D02-1090-50F360E033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013DB3C4-3FDA-F73A-D288-754E99B87AA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3115460-30BF-44B7-977B-02CD350DBB82}" type="slidenum">
              <a:rPr lang="en-IN" smtClean="0"/>
              <a:t>‹#›</a:t>
            </a:fld>
            <a:endParaRPr lang="en-IN"/>
          </a:p>
        </p:txBody>
      </p:sp>
    </p:spTree>
    <p:extLst>
      <p:ext uri="{BB962C8B-B14F-4D97-AF65-F5344CB8AC3E}">
        <p14:creationId xmlns:p14="http://schemas.microsoft.com/office/powerpoint/2010/main" val="412165089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E334F854-9C9D-4815-99CF-FF445B2765BA}" type="datetimeFigureOut">
              <a:rPr lang="en-IN" smtClean="0"/>
              <a:t>04-06-2026</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9D2446-D9DE-4CE6-B233-D0F966178324}" type="slidenum">
              <a:rPr lang="en-IN" smtClean="0"/>
              <a:t>‹#›</a:t>
            </a:fld>
            <a:endParaRPr lang="en-IN"/>
          </a:p>
        </p:txBody>
      </p:sp>
    </p:spTree>
    <p:extLst>
      <p:ext uri="{BB962C8B-B14F-4D97-AF65-F5344CB8AC3E}">
        <p14:creationId xmlns:p14="http://schemas.microsoft.com/office/powerpoint/2010/main" val="5366267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lv-LV"/>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9D2446-D9DE-4CE6-B233-D0F966178324}" type="slidenum">
              <a:rPr kumimoji="0" lang="en-IN" sz="1200" b="0" i="0" u="none" strike="noStrike" kern="1200" cap="none" spc="0" normalizeH="0" baseline="0" noProof="0" smtClean="0">
                <a:ln>
                  <a:noFill/>
                </a:ln>
                <a:solidFill>
                  <a:srgbClr val="232323"/>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N" sz="1200" b="0" i="0" u="none" strike="noStrike" kern="1200" cap="none" spc="0" normalizeH="0" baseline="0" noProof="0">
              <a:ln>
                <a:noFill/>
              </a:ln>
              <a:solidFill>
                <a:srgbClr val="232323"/>
              </a:solidFill>
              <a:effectLst/>
              <a:uLnTx/>
              <a:uFillTx/>
              <a:latin typeface="Arial"/>
              <a:ea typeface="+mn-ea"/>
              <a:cs typeface="Arial"/>
            </a:endParaRPr>
          </a:p>
        </p:txBody>
      </p:sp>
    </p:spTree>
    <p:extLst>
      <p:ext uri="{BB962C8B-B14F-4D97-AF65-F5344CB8AC3E}">
        <p14:creationId xmlns:p14="http://schemas.microsoft.com/office/powerpoint/2010/main" val="1117954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9D2446-D9DE-4CE6-B233-D0F966178324}" type="slidenum">
              <a:rPr lang="en-IN" smtClean="0"/>
              <a:t>5</a:t>
            </a:fld>
            <a:endParaRPr lang="en-IN"/>
          </a:p>
        </p:txBody>
      </p:sp>
    </p:spTree>
    <p:extLst>
      <p:ext uri="{BB962C8B-B14F-4D97-AF65-F5344CB8AC3E}">
        <p14:creationId xmlns:p14="http://schemas.microsoft.com/office/powerpoint/2010/main" val="43512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9D2446-D9DE-4CE6-B233-D0F966178324}" type="slidenum">
              <a:rPr lang="en-IN" smtClean="0"/>
              <a:t>7</a:t>
            </a:fld>
            <a:endParaRPr lang="en-IN"/>
          </a:p>
        </p:txBody>
      </p:sp>
    </p:spTree>
    <p:extLst>
      <p:ext uri="{BB962C8B-B14F-4D97-AF65-F5344CB8AC3E}">
        <p14:creationId xmlns:p14="http://schemas.microsoft.com/office/powerpoint/2010/main" val="3144898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70F1C-3B03-7725-DF5E-1555E53DDC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DEE5FD-39F5-A6AE-D133-8665EA332E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7DD407-FD1E-A641-8D03-FDA1B8B4316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53B4179-570A-D93A-AB4B-FD41852285FB}"/>
              </a:ext>
            </a:extLst>
          </p:cNvPr>
          <p:cNvSpPr>
            <a:spLocks noGrp="1"/>
          </p:cNvSpPr>
          <p:nvPr>
            <p:ph type="sldNum" sz="quarter" idx="5"/>
          </p:nvPr>
        </p:nvSpPr>
        <p:spPr/>
        <p:txBody>
          <a:bodyPr/>
          <a:lstStyle/>
          <a:p>
            <a:fld id="{3B9D2446-D9DE-4CE6-B233-D0F966178324}" type="slidenum">
              <a:rPr lang="en-IN" smtClean="0"/>
              <a:t>8</a:t>
            </a:fld>
            <a:endParaRPr lang="en-IN"/>
          </a:p>
        </p:txBody>
      </p:sp>
    </p:spTree>
    <p:extLst>
      <p:ext uri="{BB962C8B-B14F-4D97-AF65-F5344CB8AC3E}">
        <p14:creationId xmlns:p14="http://schemas.microsoft.com/office/powerpoint/2010/main" val="4230935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EE5D1-A42E-794B-E36F-4D8149795A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EE4FD9-C068-BF1E-D151-687E3C36F0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44CDC8-DB8D-AF62-5C41-C47B7226521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9F4C8D4-3EF9-B944-0885-4A5895A82497}"/>
              </a:ext>
            </a:extLst>
          </p:cNvPr>
          <p:cNvSpPr>
            <a:spLocks noGrp="1"/>
          </p:cNvSpPr>
          <p:nvPr>
            <p:ph type="sldNum" sz="quarter" idx="5"/>
          </p:nvPr>
        </p:nvSpPr>
        <p:spPr/>
        <p:txBody>
          <a:bodyPr/>
          <a:lstStyle/>
          <a:p>
            <a:fld id="{3B9D2446-D9DE-4CE6-B233-D0F966178324}" type="slidenum">
              <a:rPr lang="en-IN" smtClean="0"/>
              <a:t>10</a:t>
            </a:fld>
            <a:endParaRPr lang="en-IN"/>
          </a:p>
        </p:txBody>
      </p:sp>
    </p:spTree>
    <p:extLst>
      <p:ext uri="{BB962C8B-B14F-4D97-AF65-F5344CB8AC3E}">
        <p14:creationId xmlns:p14="http://schemas.microsoft.com/office/powerpoint/2010/main" val="1021249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8E7803-BB27-F226-396D-89BA31D6AC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CFFA9A-94C9-4D0B-D670-503AB8F2EC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B5217C-41B6-646A-FEE0-9C5146BAF44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C96175D-9E79-A829-A9AC-22C3DE457E29}"/>
              </a:ext>
            </a:extLst>
          </p:cNvPr>
          <p:cNvSpPr>
            <a:spLocks noGrp="1"/>
          </p:cNvSpPr>
          <p:nvPr>
            <p:ph type="sldNum" sz="quarter" idx="5"/>
          </p:nvPr>
        </p:nvSpPr>
        <p:spPr/>
        <p:txBody>
          <a:bodyPr/>
          <a:lstStyle/>
          <a:p>
            <a:fld id="{3B9D2446-D9DE-4CE6-B233-D0F966178324}" type="slidenum">
              <a:rPr lang="en-IN" smtClean="0"/>
              <a:t>11</a:t>
            </a:fld>
            <a:endParaRPr lang="en-IN"/>
          </a:p>
        </p:txBody>
      </p:sp>
    </p:spTree>
    <p:extLst>
      <p:ext uri="{BB962C8B-B14F-4D97-AF65-F5344CB8AC3E}">
        <p14:creationId xmlns:p14="http://schemas.microsoft.com/office/powerpoint/2010/main" val="3962016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AD44E-0600-3E2B-D832-2976A9D738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FBAB9E-3B21-77E2-27F9-DA5615508E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83CD6F-5EAB-A6E7-3E9E-7A66FD7A590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035F780-1D22-81C7-6185-371C23D6F51D}"/>
              </a:ext>
            </a:extLst>
          </p:cNvPr>
          <p:cNvSpPr>
            <a:spLocks noGrp="1"/>
          </p:cNvSpPr>
          <p:nvPr>
            <p:ph type="sldNum" sz="quarter" idx="5"/>
          </p:nvPr>
        </p:nvSpPr>
        <p:spPr/>
        <p:txBody>
          <a:bodyPr/>
          <a:lstStyle/>
          <a:p>
            <a:fld id="{3B9D2446-D9DE-4CE6-B233-D0F966178324}" type="slidenum">
              <a:rPr lang="en-IN" smtClean="0"/>
              <a:t>13</a:t>
            </a:fld>
            <a:endParaRPr lang="en-IN"/>
          </a:p>
        </p:txBody>
      </p:sp>
    </p:spTree>
    <p:extLst>
      <p:ext uri="{BB962C8B-B14F-4D97-AF65-F5344CB8AC3E}">
        <p14:creationId xmlns:p14="http://schemas.microsoft.com/office/powerpoint/2010/main" val="4006778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DA95D-F32A-F7B7-7361-812ADE8FDF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F24539-A1B5-D912-A869-F12D15CD3A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12E93E-72C9-0680-8BF7-DE7566A4C38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FE6AD0D-7265-FDCC-879C-EE7D4014507F}"/>
              </a:ext>
            </a:extLst>
          </p:cNvPr>
          <p:cNvSpPr>
            <a:spLocks noGrp="1"/>
          </p:cNvSpPr>
          <p:nvPr>
            <p:ph type="sldNum" sz="quarter" idx="5"/>
          </p:nvPr>
        </p:nvSpPr>
        <p:spPr/>
        <p:txBody>
          <a:bodyPr/>
          <a:lstStyle/>
          <a:p>
            <a:fld id="{3B9D2446-D9DE-4CE6-B233-D0F966178324}" type="slidenum">
              <a:rPr lang="en-IN" smtClean="0"/>
              <a:t>15</a:t>
            </a:fld>
            <a:endParaRPr lang="en-IN"/>
          </a:p>
        </p:txBody>
      </p:sp>
    </p:spTree>
    <p:extLst>
      <p:ext uri="{BB962C8B-B14F-4D97-AF65-F5344CB8AC3E}">
        <p14:creationId xmlns:p14="http://schemas.microsoft.com/office/powerpoint/2010/main" val="1335992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981D6B-7ACF-DC76-7B44-8B8483EE65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CFA7B7-30DD-D7A4-2600-3293F9F637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52BC7D-9671-CE7C-EA4A-AE5625A7BAF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F6EAC31-01CA-2984-A1FF-F9784D600DC2}"/>
              </a:ext>
            </a:extLst>
          </p:cNvPr>
          <p:cNvSpPr>
            <a:spLocks noGrp="1"/>
          </p:cNvSpPr>
          <p:nvPr>
            <p:ph type="sldNum" sz="quarter" idx="5"/>
          </p:nvPr>
        </p:nvSpPr>
        <p:spPr/>
        <p:txBody>
          <a:bodyPr/>
          <a:lstStyle/>
          <a:p>
            <a:fld id="{3B9D2446-D9DE-4CE6-B233-D0F966178324}" type="slidenum">
              <a:rPr lang="en-IN" smtClean="0"/>
              <a:t>16</a:t>
            </a:fld>
            <a:endParaRPr lang="en-IN"/>
          </a:p>
        </p:txBody>
      </p:sp>
    </p:spTree>
    <p:extLst>
      <p:ext uri="{BB962C8B-B14F-4D97-AF65-F5344CB8AC3E}">
        <p14:creationId xmlns:p14="http://schemas.microsoft.com/office/powerpoint/2010/main" val="12506460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8.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oleObject" Target="../embeddings/oleObject2.bin"/><Relationship Id="rId7" Type="http://schemas.openxmlformats.org/officeDocument/2006/relationships/image" Target="../media/image35.sv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0.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wo Sphere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02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6"/>
            <a:ext cx="6624562" cy="900000"/>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74384066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8864D1D-1F12-A753-387C-96377AB719DE}"/>
              </a:ext>
            </a:extLst>
          </p:cNvPr>
          <p:cNvGraphicFramePr>
            <a:graphicFrameLocks noChangeAspect="1"/>
          </p:cNvGraphicFramePr>
          <p:nvPr userDrawn="1">
            <p:custDataLst>
              <p:tags r:id="rId1"/>
            </p:custDataLst>
            <p:extLst>
              <p:ext uri="{D42A27DB-BD31-4B8C-83A1-F6EECF244321}">
                <p14:modId xmlns:p14="http://schemas.microsoft.com/office/powerpoint/2010/main" val="120056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78864D1D-1F12-A753-387C-96377AB719D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B9C911A5-9E50-5CC6-185E-16373F0800B8}"/>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13" name="Title 1">
            <a:extLst>
              <a:ext uri="{FF2B5EF4-FFF2-40B4-BE49-F238E27FC236}">
                <a16:creationId xmlns:a16="http://schemas.microsoft.com/office/drawing/2014/main" id="{63227CF0-0341-57DA-F8DB-AC41BA0E8387}"/>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16" name="Content Placeholder 2">
            <a:extLst>
              <a:ext uri="{FF2B5EF4-FFF2-40B4-BE49-F238E27FC236}">
                <a16:creationId xmlns:a16="http://schemas.microsoft.com/office/drawing/2014/main" id="{1629ADA3-41E6-03DF-9878-484EA9E34011}"/>
              </a:ext>
            </a:extLst>
          </p:cNvPr>
          <p:cNvSpPr>
            <a:spLocks noGrp="1" noRot="1" noMove="1" noResize="1" noEditPoints="1" noAdjustHandles="1" noChangeArrowheads="1" noChangeShapeType="1"/>
          </p:cNvSpPr>
          <p:nvPr>
            <p:ph idx="1"/>
          </p:nvPr>
        </p:nvSpPr>
        <p:spPr>
          <a:xfrm>
            <a:off x="263525" y="1633714"/>
            <a:ext cx="5724525"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7" name="Content Placeholder 2">
            <a:extLst>
              <a:ext uri="{FF2B5EF4-FFF2-40B4-BE49-F238E27FC236}">
                <a16:creationId xmlns:a16="http://schemas.microsoft.com/office/drawing/2014/main" id="{0DF750CE-B2B7-7446-CF80-1F00DEEE2E3C}"/>
              </a:ext>
            </a:extLst>
          </p:cNvPr>
          <p:cNvSpPr>
            <a:spLocks noGrp="1" noRot="1" noMove="1" noResize="1" noEditPoints="1" noAdjustHandles="1" noChangeArrowheads="1" noChangeShapeType="1"/>
          </p:cNvSpPr>
          <p:nvPr>
            <p:ph idx="14"/>
          </p:nvPr>
        </p:nvSpPr>
        <p:spPr>
          <a:xfrm>
            <a:off x="6203949" y="1633714"/>
            <a:ext cx="5731083"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 name="Content Placeholder 7">
            <a:extLst>
              <a:ext uri="{FF2B5EF4-FFF2-40B4-BE49-F238E27FC236}">
                <a16:creationId xmlns:a16="http://schemas.microsoft.com/office/drawing/2014/main" id="{E5F99BB5-509D-CF53-A5F1-4790B0674BAE}"/>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1759716177"/>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pos="3772" userDrawn="1">
          <p15:clr>
            <a:srgbClr val="FBAE40"/>
          </p15:clr>
        </p15:guide>
        <p15:guide id="4" pos="3908" userDrawn="1">
          <p15:clr>
            <a:srgbClr val="FBAE40"/>
          </p15:clr>
        </p15:guide>
        <p15:guide id="5" orient="horz" pos="27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62D5464-D28D-B601-F83F-05091BFBFBB1}"/>
              </a:ext>
            </a:extLst>
          </p:cNvPr>
          <p:cNvGraphicFramePr>
            <a:graphicFrameLocks noChangeAspect="1"/>
          </p:cNvGraphicFramePr>
          <p:nvPr userDrawn="1">
            <p:custDataLst>
              <p:tags r:id="rId1"/>
            </p:custDataLst>
            <p:extLst>
              <p:ext uri="{D42A27DB-BD31-4B8C-83A1-F6EECF244321}">
                <p14:modId xmlns:p14="http://schemas.microsoft.com/office/powerpoint/2010/main" val="382678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62D5464-D28D-B601-F83F-05091BFBFB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57DE3C71-06CE-3444-A22F-CA927EE7B251}"/>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10" name="Title 1">
            <a:extLst>
              <a:ext uri="{FF2B5EF4-FFF2-40B4-BE49-F238E27FC236}">
                <a16:creationId xmlns:a16="http://schemas.microsoft.com/office/drawing/2014/main" id="{91D411E8-CAF2-E53F-2422-2528A12A3B85}"/>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14" name="Content Placeholder 2">
            <a:extLst>
              <a:ext uri="{FF2B5EF4-FFF2-40B4-BE49-F238E27FC236}">
                <a16:creationId xmlns:a16="http://schemas.microsoft.com/office/drawing/2014/main" id="{45DC474E-C999-326D-D94C-D9052152108B}"/>
              </a:ext>
            </a:extLst>
          </p:cNvPr>
          <p:cNvSpPr>
            <a:spLocks noGrp="1" noRot="1" noMove="1" noResize="1" noEditPoints="1" noAdjustHandles="1" noChangeArrowheads="1" noChangeShapeType="1"/>
          </p:cNvSpPr>
          <p:nvPr>
            <p:ph idx="1"/>
          </p:nvPr>
        </p:nvSpPr>
        <p:spPr>
          <a:xfrm>
            <a:off x="263525" y="1633714"/>
            <a:ext cx="3743696"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5" name="Content Placeholder 2">
            <a:extLst>
              <a:ext uri="{FF2B5EF4-FFF2-40B4-BE49-F238E27FC236}">
                <a16:creationId xmlns:a16="http://schemas.microsoft.com/office/drawing/2014/main" id="{B938629B-FA9C-5A1C-3C67-F24576FA4D2B}"/>
              </a:ext>
            </a:extLst>
          </p:cNvPr>
          <p:cNvSpPr>
            <a:spLocks noGrp="1" noRot="1" noMove="1" noResize="1" noEditPoints="1" noAdjustHandles="1" noChangeArrowheads="1" noChangeShapeType="1"/>
          </p:cNvSpPr>
          <p:nvPr>
            <p:ph idx="15"/>
          </p:nvPr>
        </p:nvSpPr>
        <p:spPr>
          <a:xfrm>
            <a:off x="8191335" y="1633714"/>
            <a:ext cx="3743697"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6" name="Content Placeholder 2">
            <a:extLst>
              <a:ext uri="{FF2B5EF4-FFF2-40B4-BE49-F238E27FC236}">
                <a16:creationId xmlns:a16="http://schemas.microsoft.com/office/drawing/2014/main" id="{2A15969B-795A-7ED8-7441-226F1963E23E}"/>
              </a:ext>
            </a:extLst>
          </p:cNvPr>
          <p:cNvSpPr>
            <a:spLocks noGrp="1" noRot="1" noMove="1" noResize="1" noEditPoints="1" noAdjustHandles="1" noChangeArrowheads="1" noChangeShapeType="1"/>
          </p:cNvSpPr>
          <p:nvPr>
            <p:ph idx="16"/>
          </p:nvPr>
        </p:nvSpPr>
        <p:spPr>
          <a:xfrm>
            <a:off x="4224338" y="1633714"/>
            <a:ext cx="3743326"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 name="Content Placeholder 7">
            <a:extLst>
              <a:ext uri="{FF2B5EF4-FFF2-40B4-BE49-F238E27FC236}">
                <a16:creationId xmlns:a16="http://schemas.microsoft.com/office/drawing/2014/main" id="{4FE5F837-C948-CB09-E330-943E06D9F80E}"/>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4033905239"/>
      </p:ext>
    </p:extLst>
  </p:cSld>
  <p:clrMapOvr>
    <a:masterClrMapping/>
  </p:clrMapOvr>
  <p:extLst>
    <p:ext uri="{DCECCB84-F9BA-43D5-87BE-67443E8EF086}">
      <p15:sldGuideLst xmlns:p15="http://schemas.microsoft.com/office/powerpoint/2012/main">
        <p15:guide id="1" pos="2525" userDrawn="1">
          <p15:clr>
            <a:srgbClr val="FBAE40"/>
          </p15:clr>
        </p15:guide>
        <p15:guide id="2" pos="2661" userDrawn="1">
          <p15:clr>
            <a:srgbClr val="FBAE40"/>
          </p15:clr>
        </p15:guide>
        <p15:guide id="3" pos="5019" userDrawn="1">
          <p15:clr>
            <a:srgbClr val="FBAE40"/>
          </p15:clr>
        </p15:guide>
        <p15:guide id="4" pos="5155" userDrawn="1">
          <p15:clr>
            <a:srgbClr val="FBAE40"/>
          </p15:clr>
        </p15:guide>
        <p15:guide id="5" orient="horz" pos="822" userDrawn="1">
          <p15:clr>
            <a:srgbClr val="FBAE40"/>
          </p15:clr>
        </p15:guide>
        <p15:guide id="6" orient="horz" pos="1026" userDrawn="1">
          <p15:clr>
            <a:srgbClr val="FBAE40"/>
          </p15:clr>
        </p15:guide>
        <p15:guide id="7" orient="horz" pos="2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638621-670A-21B6-3ECA-C0C4F1AB92DD}"/>
              </a:ext>
            </a:extLst>
          </p:cNvPr>
          <p:cNvGraphicFramePr>
            <a:graphicFrameLocks noChangeAspect="1"/>
          </p:cNvGraphicFramePr>
          <p:nvPr userDrawn="1">
            <p:custDataLst>
              <p:tags r:id="rId1"/>
            </p:custDataLst>
            <p:extLst>
              <p:ext uri="{D42A27DB-BD31-4B8C-83A1-F6EECF244321}">
                <p14:modId xmlns:p14="http://schemas.microsoft.com/office/powerpoint/2010/main" val="5369795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EB638621-670A-21B6-3ECA-C0C4F1AB92D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7" name="Subtitle 2">
            <a:extLst>
              <a:ext uri="{FF2B5EF4-FFF2-40B4-BE49-F238E27FC236}">
                <a16:creationId xmlns:a16="http://schemas.microsoft.com/office/drawing/2014/main" id="{E4ED935C-88EF-658B-F658-B090A042914C}"/>
              </a:ext>
            </a:extLst>
          </p:cNvPr>
          <p:cNvSpPr>
            <a:spLocks noGrp="1" noRot="1" noMove="1" noResize="1" noEditPoints="1" noAdjustHandles="1" noChangeArrowheads="1" noChangeShapeType="1"/>
          </p:cNvSpPr>
          <p:nvPr>
            <p:ph type="subTitle" idx="13"/>
          </p:nvPr>
        </p:nvSpPr>
        <p:spPr>
          <a:xfrm>
            <a:off x="263523" y="1304925"/>
            <a:ext cx="11667600" cy="306000"/>
          </a:xfrm>
        </p:spPr>
        <p:txBody>
          <a:bodyPr anchor="t"/>
          <a:lstStyle>
            <a:lvl1pPr marL="0" indent="0" algn="l">
              <a:lnSpc>
                <a:spcPct val="114000"/>
              </a:lnSpc>
              <a:spcBef>
                <a:spcPts val="400"/>
              </a:spcBef>
              <a:spcAft>
                <a:spcPts val="1000"/>
              </a:spcAft>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11" name="Title 1">
            <a:extLst>
              <a:ext uri="{FF2B5EF4-FFF2-40B4-BE49-F238E27FC236}">
                <a16:creationId xmlns:a16="http://schemas.microsoft.com/office/drawing/2014/main" id="{0EE3DA41-82FF-27C9-86DF-1C95C3694EB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14" name="Content Placeholder 2">
            <a:extLst>
              <a:ext uri="{FF2B5EF4-FFF2-40B4-BE49-F238E27FC236}">
                <a16:creationId xmlns:a16="http://schemas.microsoft.com/office/drawing/2014/main" id="{E619638E-04D8-66B8-8823-035368A8BDDC}"/>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 name="Content Placeholder 7">
            <a:extLst>
              <a:ext uri="{FF2B5EF4-FFF2-40B4-BE49-F238E27FC236}">
                <a16:creationId xmlns:a16="http://schemas.microsoft.com/office/drawing/2014/main" id="{E599B915-4C5A-5745-5D4B-0AA6D730299C}"/>
              </a:ext>
            </a:extLst>
          </p:cNvPr>
          <p:cNvSpPr>
            <a:spLocks noGrp="1" noRot="1" noMove="1" noResize="1" noEditPoints="1" noAdjustHandles="1" noChangeArrowheads="1" noChangeShapeType="1"/>
          </p:cNvSpPr>
          <p:nvPr>
            <p:ph sz="quarter" idx="14"/>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04140355"/>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459531-58BC-7752-D3B8-05108AADA5BD}"/>
              </a:ext>
            </a:extLst>
          </p:cNvPr>
          <p:cNvGraphicFramePr>
            <a:graphicFrameLocks noChangeAspect="1"/>
          </p:cNvGraphicFramePr>
          <p:nvPr userDrawn="1">
            <p:custDataLst>
              <p:tags r:id="rId1"/>
            </p:custDataLst>
            <p:extLst>
              <p:ext uri="{D42A27DB-BD31-4B8C-83A1-F6EECF244321}">
                <p14:modId xmlns:p14="http://schemas.microsoft.com/office/powerpoint/2010/main" val="3289675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6459531-58BC-7752-D3B8-05108AADA5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DAC67A1-43F9-896D-C994-615E530F3ED8}"/>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9" name="Title 1">
            <a:extLst>
              <a:ext uri="{FF2B5EF4-FFF2-40B4-BE49-F238E27FC236}">
                <a16:creationId xmlns:a16="http://schemas.microsoft.com/office/drawing/2014/main" id="{02759E58-5B18-7B2A-D07C-EFCF2957FE5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2" name="Content Placeholder 7">
            <a:extLst>
              <a:ext uri="{FF2B5EF4-FFF2-40B4-BE49-F238E27FC236}">
                <a16:creationId xmlns:a16="http://schemas.microsoft.com/office/drawing/2014/main" id="{BCF37845-45C6-DF63-156C-46C3344703F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733456041"/>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4" name="Content Placeholder 7">
            <a:extLst>
              <a:ext uri="{FF2B5EF4-FFF2-40B4-BE49-F238E27FC236}">
                <a16:creationId xmlns:a16="http://schemas.microsoft.com/office/drawing/2014/main" id="{9CF440A5-7B0F-6EF2-1A7D-45089079E06A}"/>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264170241"/>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nly Log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D4E5D4-B769-0E6B-9735-B11537EB57BB}"/>
              </a:ext>
            </a:extLst>
          </p:cNvPr>
          <p:cNvGraphicFramePr>
            <a:graphicFrameLocks noChangeAspect="1"/>
          </p:cNvGraphicFramePr>
          <p:nvPr userDrawn="1">
            <p:custDataLst>
              <p:tags r:id="rId1"/>
            </p:custDataLst>
            <p:extLst>
              <p:ext uri="{D42A27DB-BD31-4B8C-83A1-F6EECF244321}">
                <p14:modId xmlns:p14="http://schemas.microsoft.com/office/powerpoint/2010/main" val="2362420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3D4E5D4-B769-0E6B-9735-B11537EB57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F8ECF82-663F-970B-5094-BBADF729FBA2}"/>
              </a:ext>
            </a:extLst>
          </p:cNvPr>
          <p:cNvSpPr>
            <a:spLocks noGrp="1"/>
          </p:cNvSpPr>
          <p:nvPr>
            <p:ph type="title"/>
          </p:nvPr>
        </p:nvSpPr>
        <p:spPr>
          <a:xfrm>
            <a:off x="263526" y="473812"/>
            <a:ext cx="11664950" cy="827621"/>
          </a:xfrm>
          <a:prstGeom prst="rect">
            <a:avLst/>
          </a:prstGeom>
        </p:spPr>
        <p:txBody>
          <a:bodyPr vert="horz" tIns="0" bIns="0" anchor="t"/>
          <a:lstStyle>
            <a:lvl1pPr>
              <a:defRPr sz="2400"/>
            </a:lvl1pPr>
          </a:lstStyle>
          <a:p>
            <a:r>
              <a:rPr lang="en-GB"/>
              <a:t>Click to edit Master title style</a:t>
            </a:r>
            <a:endParaRPr lang="en-IN"/>
          </a:p>
        </p:txBody>
      </p:sp>
      <p:sp>
        <p:nvSpPr>
          <p:cNvPr id="9" name="Content Placeholder 2">
            <a:extLst>
              <a:ext uri="{FF2B5EF4-FFF2-40B4-BE49-F238E27FC236}">
                <a16:creationId xmlns:a16="http://schemas.microsoft.com/office/drawing/2014/main" id="{F8BC444D-7B6F-75BF-E62D-0AF04991ECC8}"/>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2" name="Content Placeholder 7">
            <a:extLst>
              <a:ext uri="{FF2B5EF4-FFF2-40B4-BE49-F238E27FC236}">
                <a16:creationId xmlns:a16="http://schemas.microsoft.com/office/drawing/2014/main" id="{4CAB80DF-25B0-A475-6472-1767EFE47A7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957244768"/>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02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Two Sphere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2000"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02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9"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1633265728"/>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Vertical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02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372213113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Inverted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828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7" y="4221087"/>
            <a:ext cx="6516550"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47823755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Half Sp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56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560000"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3634365722"/>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Vertical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2000"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02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8" cy="900000"/>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94307824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S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612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311474399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Half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5"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3985213570"/>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Partners">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4EF0E3-9666-50D9-4E05-289391677731}"/>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sp>
        <p:nvSpPr>
          <p:cNvPr id="2" name="Title 1">
            <a:extLst>
              <a:ext uri="{FF2B5EF4-FFF2-40B4-BE49-F238E27FC236}">
                <a16:creationId xmlns:a16="http://schemas.microsoft.com/office/drawing/2014/main" id="{85E61F56-9347-5929-2DE9-2A62CC42EC6F}"/>
              </a:ext>
            </a:extLst>
          </p:cNvPr>
          <p:cNvSpPr>
            <a:spLocks noGrp="1" noRot="1" noMove="1" noResize="1" noEditPoints="1" noAdjustHandles="1" noChangeArrowheads="1" noChangeShapeType="1"/>
          </p:cNvSpPr>
          <p:nvPr>
            <p:ph type="title"/>
          </p:nvPr>
        </p:nvSpPr>
        <p:spPr>
          <a:xfrm>
            <a:off x="263525" y="657462"/>
            <a:ext cx="7200628" cy="2555637"/>
          </a:xfrm>
        </p:spPr>
        <p:txBody>
          <a:bodyPr anchor="b"/>
          <a:lstStyle>
            <a:lvl1pPr>
              <a:defRPr sz="3500">
                <a:solidFill>
                  <a:schemeClr val="bg1"/>
                </a:solidFill>
              </a:defRPr>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574983DA-38C9-9A08-0909-1C36050D0CCA}"/>
              </a:ext>
            </a:extLst>
          </p:cNvPr>
          <p:cNvSpPr>
            <a:spLocks noGrp="1" noRot="1" noMove="1" noResize="1" noEditPoints="1" noAdjustHandles="1" noChangeArrowheads="1" noChangeShapeType="1"/>
          </p:cNvSpPr>
          <p:nvPr>
            <p:ph type="body" idx="1"/>
          </p:nvPr>
        </p:nvSpPr>
        <p:spPr>
          <a:xfrm>
            <a:off x="263525" y="3429001"/>
            <a:ext cx="7200628" cy="1008111"/>
          </a:xfrm>
        </p:spPr>
        <p:txBody>
          <a:bodyPr/>
          <a:lstStyle>
            <a:lvl1pPr marL="0" indent="0">
              <a:buNone/>
              <a:defRPr sz="1800">
                <a:solidFill>
                  <a:schemeClr val="tx2">
                    <a:lumMod val="10000"/>
                    <a:lumOff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Picture Placeholder 11">
            <a:extLst>
              <a:ext uri="{FF2B5EF4-FFF2-40B4-BE49-F238E27FC236}">
                <a16:creationId xmlns:a16="http://schemas.microsoft.com/office/drawing/2014/main" id="{51710036-492B-419F-1A9D-34FBED6FE21D}"/>
              </a:ext>
            </a:extLst>
          </p:cNvPr>
          <p:cNvSpPr>
            <a:spLocks noGrp="1" noRot="1" noMove="1" noResize="1" noEditPoints="1" noAdjustHandles="1" noChangeArrowheads="1" noChangeShapeType="1"/>
          </p:cNvSpPr>
          <p:nvPr>
            <p:ph type="pic" sz="quarter" idx="13"/>
          </p:nvPr>
        </p:nvSpPr>
        <p:spPr>
          <a:xfrm>
            <a:off x="8184648" y="4869979"/>
            <a:ext cx="3744000" cy="719261"/>
          </a:xfrm>
        </p:spPr>
        <p:txBody>
          <a:bodyPr/>
          <a:lstStyle/>
          <a:p>
            <a:endParaRPr lang="en-IN"/>
          </a:p>
        </p:txBody>
      </p:sp>
      <p:sp>
        <p:nvSpPr>
          <p:cNvPr id="15" name="Picture Placeholder 11">
            <a:extLst>
              <a:ext uri="{FF2B5EF4-FFF2-40B4-BE49-F238E27FC236}">
                <a16:creationId xmlns:a16="http://schemas.microsoft.com/office/drawing/2014/main" id="{7838B27C-BE10-FC06-4250-7ADA98B43422}"/>
              </a:ext>
            </a:extLst>
          </p:cNvPr>
          <p:cNvSpPr>
            <a:spLocks noGrp="1" noRot="1" noChangeAspect="1" noMove="1" noResize="1" noEditPoints="1" noAdjustHandles="1" noChangeArrowheads="1" noChangeShapeType="1"/>
          </p:cNvSpPr>
          <p:nvPr>
            <p:ph type="pic" sz="quarter" idx="16"/>
          </p:nvPr>
        </p:nvSpPr>
        <p:spPr>
          <a:xfrm>
            <a:off x="4223999" y="4869979"/>
            <a:ext cx="3744000" cy="719261"/>
          </a:xfrm>
        </p:spPr>
        <p:txBody>
          <a:bodyPr wrap="none">
            <a:normAutofit/>
          </a:bodyPr>
          <a:lstStyle/>
          <a:p>
            <a:endParaRPr lang="en-IN"/>
          </a:p>
        </p:txBody>
      </p:sp>
      <p:pic>
        <p:nvPicPr>
          <p:cNvPr id="17" name="Picture 16" descr="A black background with a black square&#10;&#10;Description automatically generated with medium confidence">
            <a:extLst>
              <a:ext uri="{FF2B5EF4-FFF2-40B4-BE49-F238E27FC236}">
                <a16:creationId xmlns:a16="http://schemas.microsoft.com/office/drawing/2014/main" id="{B3715EEB-4464-C1C7-ABA1-17631DFFAF0D}"/>
              </a:ext>
            </a:extLst>
          </p:cNvPr>
          <p:cNvPicPr>
            <a:picLocks noGrp="1" noRot="1" noChangeAspect="1" noMove="1" noResize="1" noEditPoints="1" noAdjustHandles="1" noChangeArrowheads="1" noChangeShapeType="1" noCrop="1"/>
          </p:cNvPicPr>
          <p:nvPr userDrawn="1"/>
        </p:nvPicPr>
        <p:blipFill>
          <a:blip r:embed="rId3"/>
          <a:stretch>
            <a:fillRect/>
          </a:stretch>
        </p:blipFill>
        <p:spPr>
          <a:xfrm>
            <a:off x="278916" y="4874149"/>
            <a:ext cx="3290457" cy="715091"/>
          </a:xfrm>
          <a:prstGeom prst="rect">
            <a:avLst/>
          </a:prstGeom>
        </p:spPr>
      </p:pic>
    </p:spTree>
    <p:extLst>
      <p:ext uri="{BB962C8B-B14F-4D97-AF65-F5344CB8AC3E}">
        <p14:creationId xmlns:p14="http://schemas.microsoft.com/office/powerpoint/2010/main" val="6423879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024">
          <p15:clr>
            <a:srgbClr val="FBAE40"/>
          </p15:clr>
        </p15:guide>
        <p15:guide id="3" orient="horz" pos="3067">
          <p15:clr>
            <a:srgbClr val="FBAE40"/>
          </p15:clr>
        </p15:guide>
        <p15:guide id="5" orient="horz" pos="2160">
          <p15:clr>
            <a:srgbClr val="FBAE40"/>
          </p15:clr>
        </p15:guide>
        <p15:guide id="6" orient="horz" pos="2795">
          <p15:clr>
            <a:srgbClr val="FBAE40"/>
          </p15:clr>
        </p15:guide>
        <p15:guide id="7" orient="horz" pos="41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501629-8A81-A1F4-A9FE-925032DD1F08}"/>
              </a:ext>
            </a:extLst>
          </p:cNvPr>
          <p:cNvGraphicFramePr>
            <a:graphicFrameLocks noChangeAspect="1"/>
          </p:cNvGraphicFramePr>
          <p:nvPr userDrawn="1">
            <p:custDataLst>
              <p:tags r:id="rId1"/>
            </p:custDataLst>
            <p:extLst>
              <p:ext uri="{D42A27DB-BD31-4B8C-83A1-F6EECF244321}">
                <p14:modId xmlns:p14="http://schemas.microsoft.com/office/powerpoint/2010/main" val="7525188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15501629-8A81-A1F4-A9FE-925032DD1F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0" name="Title 1">
            <a:extLst>
              <a:ext uri="{FF2B5EF4-FFF2-40B4-BE49-F238E27FC236}">
                <a16:creationId xmlns:a16="http://schemas.microsoft.com/office/drawing/2014/main" id="{4F0A1962-C3C7-D08E-4B7D-8F61C93A8401}"/>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1" name="Content Placeholder 2">
            <a:extLst>
              <a:ext uri="{FF2B5EF4-FFF2-40B4-BE49-F238E27FC236}">
                <a16:creationId xmlns:a16="http://schemas.microsoft.com/office/drawing/2014/main" id="{F89C4126-8668-A9FA-64D4-C9B5096467AE}"/>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3" name="Content Placeholder 7">
            <a:extLst>
              <a:ext uri="{FF2B5EF4-FFF2-40B4-BE49-F238E27FC236}">
                <a16:creationId xmlns:a16="http://schemas.microsoft.com/office/drawing/2014/main" id="{9A2BB607-774A-782A-6DAE-7B3E3F95F939}"/>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3371505381"/>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3C2012A-5436-DE4C-BE71-DE2BE699B57D}"/>
              </a:ext>
            </a:extLst>
          </p:cNvPr>
          <p:cNvGraphicFramePr>
            <a:graphicFrameLocks noChangeAspect="1"/>
          </p:cNvGraphicFramePr>
          <p:nvPr userDrawn="1">
            <p:custDataLst>
              <p:tags r:id="rId1"/>
            </p:custDataLst>
            <p:extLst>
              <p:ext uri="{D42A27DB-BD31-4B8C-83A1-F6EECF244321}">
                <p14:modId xmlns:p14="http://schemas.microsoft.com/office/powerpoint/2010/main" val="2100466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3C2012A-5436-DE4C-BE71-DE2BE699B5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B9C911A5-9E50-5CC6-185E-16373F0800B8}"/>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1" name="Title 1">
            <a:extLst>
              <a:ext uri="{FF2B5EF4-FFF2-40B4-BE49-F238E27FC236}">
                <a16:creationId xmlns:a16="http://schemas.microsoft.com/office/drawing/2014/main" id="{5895CC5B-F4E0-D7CF-7705-F5DD696C64B8}"/>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2" name="Content Placeholder 2">
            <a:extLst>
              <a:ext uri="{FF2B5EF4-FFF2-40B4-BE49-F238E27FC236}">
                <a16:creationId xmlns:a16="http://schemas.microsoft.com/office/drawing/2014/main" id="{88891686-F726-C4E1-9834-5EE3DA980033}"/>
              </a:ext>
            </a:extLst>
          </p:cNvPr>
          <p:cNvSpPr>
            <a:spLocks noGrp="1" noRot="1" noMove="1" noResize="1" noEditPoints="1" noAdjustHandles="1" noChangeArrowheads="1" noChangeShapeType="1"/>
          </p:cNvSpPr>
          <p:nvPr>
            <p:ph idx="1"/>
          </p:nvPr>
        </p:nvSpPr>
        <p:spPr>
          <a:xfrm>
            <a:off x="263525" y="1633714"/>
            <a:ext cx="5724525"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3" name="Content Placeholder 2">
            <a:extLst>
              <a:ext uri="{FF2B5EF4-FFF2-40B4-BE49-F238E27FC236}">
                <a16:creationId xmlns:a16="http://schemas.microsoft.com/office/drawing/2014/main" id="{7B70FD0D-7259-C6C0-3788-B563CC471662}"/>
              </a:ext>
            </a:extLst>
          </p:cNvPr>
          <p:cNvSpPr>
            <a:spLocks noGrp="1" noRot="1" noMove="1" noResize="1" noEditPoints="1" noAdjustHandles="1" noChangeArrowheads="1" noChangeShapeType="1"/>
          </p:cNvSpPr>
          <p:nvPr>
            <p:ph idx="14"/>
          </p:nvPr>
        </p:nvSpPr>
        <p:spPr>
          <a:xfrm>
            <a:off x="6203949" y="1633714"/>
            <a:ext cx="5731083"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5" name="Content Placeholder 7">
            <a:extLst>
              <a:ext uri="{FF2B5EF4-FFF2-40B4-BE49-F238E27FC236}">
                <a16:creationId xmlns:a16="http://schemas.microsoft.com/office/drawing/2014/main" id="{7EF20BE2-989D-67FD-77D6-4909A8FC93B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1380574177"/>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pos="3772" userDrawn="1">
          <p15:clr>
            <a:srgbClr val="FBAE40"/>
          </p15:clr>
        </p15:guide>
        <p15:guide id="4" pos="3908" userDrawn="1">
          <p15:clr>
            <a:srgbClr val="FBAE40"/>
          </p15:clr>
        </p15:guide>
        <p15:guide id="5" orient="horz" pos="27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53BA5F-7788-25FA-43F6-F5ED82760BF4}"/>
              </a:ext>
            </a:extLst>
          </p:cNvPr>
          <p:cNvGraphicFramePr>
            <a:graphicFrameLocks noChangeAspect="1"/>
          </p:cNvGraphicFramePr>
          <p:nvPr userDrawn="1">
            <p:custDataLst>
              <p:tags r:id="rId1"/>
            </p:custDataLst>
            <p:extLst>
              <p:ext uri="{D42A27DB-BD31-4B8C-83A1-F6EECF244321}">
                <p14:modId xmlns:p14="http://schemas.microsoft.com/office/powerpoint/2010/main" val="35130260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053BA5F-7788-25FA-43F6-F5ED82760BF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57DE3C71-06CE-3444-A22F-CA927EE7B251}"/>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0" name="Title 1">
            <a:extLst>
              <a:ext uri="{FF2B5EF4-FFF2-40B4-BE49-F238E27FC236}">
                <a16:creationId xmlns:a16="http://schemas.microsoft.com/office/drawing/2014/main" id="{9C780C11-8DC8-8724-6FC5-9D2726B9989E}"/>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2" name="Content Placeholder 2">
            <a:extLst>
              <a:ext uri="{FF2B5EF4-FFF2-40B4-BE49-F238E27FC236}">
                <a16:creationId xmlns:a16="http://schemas.microsoft.com/office/drawing/2014/main" id="{734EAC04-3A32-F180-2F63-633B70D24BA8}"/>
              </a:ext>
            </a:extLst>
          </p:cNvPr>
          <p:cNvSpPr>
            <a:spLocks noGrp="1" noRot="1" noMove="1" noResize="1" noEditPoints="1" noAdjustHandles="1" noChangeArrowheads="1" noChangeShapeType="1"/>
          </p:cNvSpPr>
          <p:nvPr>
            <p:ph idx="1"/>
          </p:nvPr>
        </p:nvSpPr>
        <p:spPr>
          <a:xfrm>
            <a:off x="263525" y="1633714"/>
            <a:ext cx="3743696"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4" name="Content Placeholder 2">
            <a:extLst>
              <a:ext uri="{FF2B5EF4-FFF2-40B4-BE49-F238E27FC236}">
                <a16:creationId xmlns:a16="http://schemas.microsoft.com/office/drawing/2014/main" id="{8BD09559-7147-1F42-E4A5-322C82F9FDCB}"/>
              </a:ext>
            </a:extLst>
          </p:cNvPr>
          <p:cNvSpPr>
            <a:spLocks noGrp="1" noRot="1" noMove="1" noResize="1" noEditPoints="1" noAdjustHandles="1" noChangeArrowheads="1" noChangeShapeType="1"/>
          </p:cNvSpPr>
          <p:nvPr>
            <p:ph idx="15"/>
          </p:nvPr>
        </p:nvSpPr>
        <p:spPr>
          <a:xfrm>
            <a:off x="8191335" y="1633714"/>
            <a:ext cx="3743697"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5" name="Content Placeholder 2">
            <a:extLst>
              <a:ext uri="{FF2B5EF4-FFF2-40B4-BE49-F238E27FC236}">
                <a16:creationId xmlns:a16="http://schemas.microsoft.com/office/drawing/2014/main" id="{3218418A-6A54-7AB9-1D4D-D9275AA3C9AA}"/>
              </a:ext>
            </a:extLst>
          </p:cNvPr>
          <p:cNvSpPr>
            <a:spLocks noGrp="1" noRot="1" noMove="1" noResize="1" noEditPoints="1" noAdjustHandles="1" noChangeArrowheads="1" noChangeShapeType="1"/>
          </p:cNvSpPr>
          <p:nvPr>
            <p:ph idx="16"/>
          </p:nvPr>
        </p:nvSpPr>
        <p:spPr>
          <a:xfrm>
            <a:off x="4227430" y="1633714"/>
            <a:ext cx="3743697"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7" name="Content Placeholder 7">
            <a:extLst>
              <a:ext uri="{FF2B5EF4-FFF2-40B4-BE49-F238E27FC236}">
                <a16:creationId xmlns:a16="http://schemas.microsoft.com/office/drawing/2014/main" id="{E8994A9E-9A1C-13CB-CBBE-1F01B48F9B98}"/>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3769017169"/>
      </p:ext>
    </p:extLst>
  </p:cSld>
  <p:clrMapOvr>
    <a:masterClrMapping/>
  </p:clrMapOvr>
  <p:extLst>
    <p:ext uri="{DCECCB84-F9BA-43D5-87BE-67443E8EF086}">
      <p15:sldGuideLst xmlns:p15="http://schemas.microsoft.com/office/powerpoint/2012/main">
        <p15:guide id="1" pos="2525" userDrawn="1">
          <p15:clr>
            <a:srgbClr val="FBAE40"/>
          </p15:clr>
        </p15:guide>
        <p15:guide id="2" pos="2661" userDrawn="1">
          <p15:clr>
            <a:srgbClr val="FBAE40"/>
          </p15:clr>
        </p15:guide>
        <p15:guide id="3" pos="5019" userDrawn="1">
          <p15:clr>
            <a:srgbClr val="FBAE40"/>
          </p15:clr>
        </p15:guide>
        <p15:guide id="4" pos="5155" userDrawn="1">
          <p15:clr>
            <a:srgbClr val="FBAE40"/>
          </p15:clr>
        </p15:guide>
        <p15:guide id="5" orient="horz" pos="822" userDrawn="1">
          <p15:clr>
            <a:srgbClr val="FBAE40"/>
          </p15:clr>
        </p15:guide>
        <p15:guide id="6" orient="horz" pos="1026" userDrawn="1">
          <p15:clr>
            <a:srgbClr val="FBAE40"/>
          </p15:clr>
        </p15:guide>
        <p15:guide id="7" orient="horz" pos="27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6EC7B28-1761-553C-C187-878351004885}"/>
              </a:ext>
            </a:extLst>
          </p:cNvPr>
          <p:cNvGraphicFramePr>
            <a:graphicFrameLocks noChangeAspect="1"/>
          </p:cNvGraphicFramePr>
          <p:nvPr userDrawn="1">
            <p:custDataLst>
              <p:tags r:id="rId1"/>
            </p:custDataLst>
            <p:extLst>
              <p:ext uri="{D42A27DB-BD31-4B8C-83A1-F6EECF244321}">
                <p14:modId xmlns:p14="http://schemas.microsoft.com/office/powerpoint/2010/main" val="599026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26EC7B28-1761-553C-C187-8783510048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1" name="Subtitle 2">
            <a:extLst>
              <a:ext uri="{FF2B5EF4-FFF2-40B4-BE49-F238E27FC236}">
                <a16:creationId xmlns:a16="http://schemas.microsoft.com/office/drawing/2014/main" id="{B51340C4-EF01-C727-AE53-891262FC9EAF}"/>
              </a:ext>
            </a:extLst>
          </p:cNvPr>
          <p:cNvSpPr>
            <a:spLocks noGrp="1" noRot="1" noMove="1" noResize="1" noEditPoints="1" noAdjustHandles="1" noChangeArrowheads="1" noChangeShapeType="1"/>
          </p:cNvSpPr>
          <p:nvPr>
            <p:ph type="subTitle" idx="13"/>
          </p:nvPr>
        </p:nvSpPr>
        <p:spPr>
          <a:xfrm>
            <a:off x="263523" y="1304925"/>
            <a:ext cx="11667600" cy="306000"/>
          </a:xfrm>
        </p:spPr>
        <p:txBody>
          <a:bodyPr/>
          <a:lstStyle>
            <a:lvl1pPr marL="0" indent="0" algn="l">
              <a:lnSpc>
                <a:spcPct val="114000"/>
              </a:lnSpc>
              <a:spcBef>
                <a:spcPts val="400"/>
              </a:spcBef>
              <a:spcAft>
                <a:spcPts val="100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12" name="Title 1">
            <a:extLst>
              <a:ext uri="{FF2B5EF4-FFF2-40B4-BE49-F238E27FC236}">
                <a16:creationId xmlns:a16="http://schemas.microsoft.com/office/drawing/2014/main" id="{FF0E3213-C774-62C1-72D3-D37CB9C7B285}"/>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3" name="Content Placeholder 2">
            <a:extLst>
              <a:ext uri="{FF2B5EF4-FFF2-40B4-BE49-F238E27FC236}">
                <a16:creationId xmlns:a16="http://schemas.microsoft.com/office/drawing/2014/main" id="{F2F7B8A1-147F-59DD-C06F-71D5725CB67E}"/>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4" name="Content Placeholder 7">
            <a:extLst>
              <a:ext uri="{FF2B5EF4-FFF2-40B4-BE49-F238E27FC236}">
                <a16:creationId xmlns:a16="http://schemas.microsoft.com/office/drawing/2014/main" id="{0635F0AB-073B-C02F-03F8-F4EA1039941B}"/>
              </a:ext>
            </a:extLst>
          </p:cNvPr>
          <p:cNvSpPr>
            <a:spLocks noGrp="1" noRot="1" noMove="1" noResize="1" noEditPoints="1" noAdjustHandles="1" noChangeArrowheads="1" noChangeShapeType="1"/>
          </p:cNvSpPr>
          <p:nvPr>
            <p:ph sz="quarter" idx="14"/>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1890239812"/>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2" name="Content Placeholder 7">
            <a:extLst>
              <a:ext uri="{FF2B5EF4-FFF2-40B4-BE49-F238E27FC236}">
                <a16:creationId xmlns:a16="http://schemas.microsoft.com/office/drawing/2014/main" id="{579A0626-F77F-C5EA-0950-DF8B244A6E9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2982019947"/>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Closing Map">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B44ED254-7D68-9189-9654-C2F60427218F}"/>
              </a:ext>
            </a:extLst>
          </p:cNvPr>
          <p:cNvGraphicFramePr>
            <a:graphicFrameLocks noChangeAspect="1"/>
          </p:cNvGraphicFramePr>
          <p:nvPr userDrawn="1">
            <p:custDataLst>
              <p:tags r:id="rId1"/>
            </p:custDataLst>
            <p:extLst>
              <p:ext uri="{D42A27DB-BD31-4B8C-83A1-F6EECF244321}">
                <p14:modId xmlns:p14="http://schemas.microsoft.com/office/powerpoint/2010/main" val="24764457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1" name="think-cell data - do not delete" hidden="1">
                        <a:extLst>
                          <a:ext uri="{FF2B5EF4-FFF2-40B4-BE49-F238E27FC236}">
                            <a16:creationId xmlns:a16="http://schemas.microsoft.com/office/drawing/2014/main" id="{B44ED254-7D68-9189-9654-C2F60427218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54A6011-703C-CF05-7872-E94015A94CF0}"/>
              </a:ext>
            </a:extLst>
          </p:cNvPr>
          <p:cNvPicPr>
            <a:picLocks noChangeAspect="1"/>
          </p:cNvPicPr>
          <p:nvPr userDrawn="1"/>
        </p:nvPicPr>
        <p:blipFill>
          <a:blip r:embed="rId5"/>
          <a:stretch>
            <a:fillRect/>
          </a:stretch>
        </p:blipFill>
        <p:spPr>
          <a:xfrm>
            <a:off x="483557" y="3289177"/>
            <a:ext cx="4000010" cy="288000"/>
          </a:xfrm>
          <a:prstGeom prst="rect">
            <a:avLst/>
          </a:prstGeom>
        </p:spPr>
      </p:pic>
      <p:pic>
        <p:nvPicPr>
          <p:cNvPr id="116" name="Graphic 9">
            <a:extLst>
              <a:ext uri="{FF2B5EF4-FFF2-40B4-BE49-F238E27FC236}">
                <a16:creationId xmlns:a16="http://schemas.microsoft.com/office/drawing/2014/main" id="{F054FF1F-1C76-875E-8980-55BBD1359B9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rot="1141104">
            <a:off x="8562370" y="5186747"/>
            <a:ext cx="212388" cy="123549"/>
          </a:xfrm>
          <a:prstGeom prst="rect">
            <a:avLst/>
          </a:prstGeom>
        </p:spPr>
      </p:pic>
      <p:pic>
        <p:nvPicPr>
          <p:cNvPr id="140" name="Graphic 139">
            <a:extLst>
              <a:ext uri="{FF2B5EF4-FFF2-40B4-BE49-F238E27FC236}">
                <a16:creationId xmlns:a16="http://schemas.microsoft.com/office/drawing/2014/main" id="{1E8C589C-59B2-1D25-47CA-1ECBBBE7BCB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rot="1141104">
            <a:off x="7058465" y="3305413"/>
            <a:ext cx="24987" cy="37064"/>
          </a:xfrm>
          <a:prstGeom prst="rect">
            <a:avLst/>
          </a:prstGeom>
        </p:spPr>
      </p:pic>
      <p:sp>
        <p:nvSpPr>
          <p:cNvPr id="2" name="Graphic 127">
            <a:extLst>
              <a:ext uri="{FF2B5EF4-FFF2-40B4-BE49-F238E27FC236}">
                <a16:creationId xmlns:a16="http://schemas.microsoft.com/office/drawing/2014/main" id="{42423880-2E50-37BA-6690-5E8B50D6E1CE}"/>
              </a:ext>
            </a:extLst>
          </p:cNvPr>
          <p:cNvSpPr/>
          <p:nvPr/>
        </p:nvSpPr>
        <p:spPr>
          <a:xfrm rot="1141104">
            <a:off x="5871617" y="2711522"/>
            <a:ext cx="1224727" cy="1080000"/>
          </a:xfrm>
          <a:custGeom>
            <a:avLst/>
            <a:gdLst>
              <a:gd name="connsiteX0" fmla="*/ 978358 w 1224727"/>
              <a:gd name="connsiteY0" fmla="*/ 584261 h 1074748"/>
              <a:gd name="connsiteX1" fmla="*/ 974735 w 1224727"/>
              <a:gd name="connsiteY1" fmla="*/ 569188 h 1074748"/>
              <a:gd name="connsiteX2" fmla="*/ 963865 w 1224727"/>
              <a:gd name="connsiteY2" fmla="*/ 561157 h 1074748"/>
              <a:gd name="connsiteX3" fmla="*/ 956244 w 1224727"/>
              <a:gd name="connsiteY3" fmla="*/ 539166 h 1074748"/>
              <a:gd name="connsiteX4" fmla="*/ 946250 w 1224727"/>
              <a:gd name="connsiteY4" fmla="*/ 522610 h 1074748"/>
              <a:gd name="connsiteX5" fmla="*/ 919139 w 1224727"/>
              <a:gd name="connsiteY5" fmla="*/ 522610 h 1074748"/>
              <a:gd name="connsiteX6" fmla="*/ 907020 w 1224727"/>
              <a:gd name="connsiteY6" fmla="*/ 534100 h 1074748"/>
              <a:gd name="connsiteX7" fmla="*/ 916640 w 1224727"/>
              <a:gd name="connsiteY7" fmla="*/ 555968 h 1074748"/>
              <a:gd name="connsiteX8" fmla="*/ 894527 w 1224727"/>
              <a:gd name="connsiteY8" fmla="*/ 566099 h 1074748"/>
              <a:gd name="connsiteX9" fmla="*/ 874663 w 1224727"/>
              <a:gd name="connsiteY9" fmla="*/ 564987 h 1074748"/>
              <a:gd name="connsiteX10" fmla="*/ 872039 w 1224727"/>
              <a:gd name="connsiteY10" fmla="*/ 550656 h 1074748"/>
              <a:gd name="connsiteX11" fmla="*/ 882408 w 1224727"/>
              <a:gd name="connsiteY11" fmla="*/ 544973 h 1074748"/>
              <a:gd name="connsiteX12" fmla="*/ 893278 w 1224727"/>
              <a:gd name="connsiteY12" fmla="*/ 544973 h 1074748"/>
              <a:gd name="connsiteX13" fmla="*/ 892153 w 1224727"/>
              <a:gd name="connsiteY13" fmla="*/ 527552 h 1074748"/>
              <a:gd name="connsiteX14" fmla="*/ 894902 w 1224727"/>
              <a:gd name="connsiteY14" fmla="*/ 499877 h 1074748"/>
              <a:gd name="connsiteX15" fmla="*/ 917140 w 1224727"/>
              <a:gd name="connsiteY15" fmla="*/ 461577 h 1074748"/>
              <a:gd name="connsiteX16" fmla="*/ 930758 w 1224727"/>
              <a:gd name="connsiteY16" fmla="*/ 455770 h 1074748"/>
              <a:gd name="connsiteX17" fmla="*/ 947624 w 1224727"/>
              <a:gd name="connsiteY17" fmla="*/ 432173 h 1074748"/>
              <a:gd name="connsiteX18" fmla="*/ 963865 w 1224727"/>
              <a:gd name="connsiteY18" fmla="*/ 424266 h 1074748"/>
              <a:gd name="connsiteX19" fmla="*/ 959868 w 1224727"/>
              <a:gd name="connsiteY19" fmla="*/ 407463 h 1074748"/>
              <a:gd name="connsiteX20" fmla="*/ 940378 w 1224727"/>
              <a:gd name="connsiteY20" fmla="*/ 398444 h 1074748"/>
              <a:gd name="connsiteX21" fmla="*/ 951622 w 1224727"/>
              <a:gd name="connsiteY21" fmla="*/ 383618 h 1074748"/>
              <a:gd name="connsiteX22" fmla="*/ 972736 w 1224727"/>
              <a:gd name="connsiteY22" fmla="*/ 381394 h 1074748"/>
              <a:gd name="connsiteX23" fmla="*/ 978608 w 1224727"/>
              <a:gd name="connsiteY23" fmla="*/ 392884 h 1074748"/>
              <a:gd name="connsiteX24" fmla="*/ 995224 w 1224727"/>
              <a:gd name="connsiteY24" fmla="*/ 394120 h 1074748"/>
              <a:gd name="connsiteX25" fmla="*/ 1024583 w 1224727"/>
              <a:gd name="connsiteY25" fmla="*/ 383742 h 1074748"/>
              <a:gd name="connsiteX26" fmla="*/ 1015213 w 1224727"/>
              <a:gd name="connsiteY26" fmla="*/ 366445 h 1074748"/>
              <a:gd name="connsiteX27" fmla="*/ 998847 w 1224727"/>
              <a:gd name="connsiteY27" fmla="*/ 357302 h 1074748"/>
              <a:gd name="connsiteX28" fmla="*/ 996348 w 1224727"/>
              <a:gd name="connsiteY28" fmla="*/ 331234 h 1074748"/>
              <a:gd name="connsiteX29" fmla="*/ 1004344 w 1224727"/>
              <a:gd name="connsiteY29" fmla="*/ 299482 h 1074748"/>
              <a:gd name="connsiteX30" fmla="*/ 1016338 w 1224727"/>
              <a:gd name="connsiteY30" fmla="*/ 287127 h 1074748"/>
              <a:gd name="connsiteX31" fmla="*/ 1015713 w 1224727"/>
              <a:gd name="connsiteY31" fmla="*/ 273413 h 1074748"/>
              <a:gd name="connsiteX32" fmla="*/ 1024458 w 1224727"/>
              <a:gd name="connsiteY32" fmla="*/ 245491 h 1074748"/>
              <a:gd name="connsiteX33" fmla="*/ 1043948 w 1224727"/>
              <a:gd name="connsiteY33" fmla="*/ 223746 h 1074748"/>
              <a:gd name="connsiteX34" fmla="*/ 1025583 w 1224727"/>
              <a:gd name="connsiteY34" fmla="*/ 212751 h 1074748"/>
              <a:gd name="connsiteX35" fmla="*/ 1008467 w 1224727"/>
              <a:gd name="connsiteY35" fmla="*/ 213492 h 1074748"/>
              <a:gd name="connsiteX36" fmla="*/ 986229 w 1224727"/>
              <a:gd name="connsiteY36" fmla="*/ 204596 h 1074748"/>
              <a:gd name="connsiteX37" fmla="*/ 969987 w 1224727"/>
              <a:gd name="connsiteY37" fmla="*/ 210527 h 1074748"/>
              <a:gd name="connsiteX38" fmla="*/ 957869 w 1224727"/>
              <a:gd name="connsiteY38" fmla="*/ 206450 h 1074748"/>
              <a:gd name="connsiteX39" fmla="*/ 942002 w 1224727"/>
              <a:gd name="connsiteY39" fmla="*/ 207067 h 1074748"/>
              <a:gd name="connsiteX40" fmla="*/ 927010 w 1224727"/>
              <a:gd name="connsiteY40" fmla="*/ 212998 h 1074748"/>
              <a:gd name="connsiteX41" fmla="*/ 910519 w 1224727"/>
              <a:gd name="connsiteY41" fmla="*/ 200643 h 1074748"/>
              <a:gd name="connsiteX42" fmla="*/ 910019 w 1224727"/>
              <a:gd name="connsiteY42" fmla="*/ 189523 h 1074748"/>
              <a:gd name="connsiteX43" fmla="*/ 892278 w 1224727"/>
              <a:gd name="connsiteY43" fmla="*/ 177169 h 1074748"/>
              <a:gd name="connsiteX44" fmla="*/ 879160 w 1224727"/>
              <a:gd name="connsiteY44" fmla="*/ 180999 h 1074748"/>
              <a:gd name="connsiteX45" fmla="*/ 855798 w 1224727"/>
              <a:gd name="connsiteY45" fmla="*/ 177416 h 1074748"/>
              <a:gd name="connsiteX46" fmla="*/ 844553 w 1224727"/>
              <a:gd name="connsiteY46" fmla="*/ 160860 h 1074748"/>
              <a:gd name="connsiteX47" fmla="*/ 830061 w 1224727"/>
              <a:gd name="connsiteY47" fmla="*/ 161478 h 1074748"/>
              <a:gd name="connsiteX48" fmla="*/ 822315 w 1224727"/>
              <a:gd name="connsiteY48" fmla="*/ 167038 h 1074748"/>
              <a:gd name="connsiteX49" fmla="*/ 805199 w 1224727"/>
              <a:gd name="connsiteY49" fmla="*/ 155918 h 1074748"/>
              <a:gd name="connsiteX50" fmla="*/ 786709 w 1224727"/>
              <a:gd name="connsiteY50" fmla="*/ 155424 h 1074748"/>
              <a:gd name="connsiteX51" fmla="*/ 764346 w 1224727"/>
              <a:gd name="connsiteY51" fmla="*/ 130220 h 1074748"/>
              <a:gd name="connsiteX52" fmla="*/ 752352 w 1224727"/>
              <a:gd name="connsiteY52" fmla="*/ 128120 h 1074748"/>
              <a:gd name="connsiteX53" fmla="*/ 743982 w 1224727"/>
              <a:gd name="connsiteY53" fmla="*/ 119348 h 1074748"/>
              <a:gd name="connsiteX54" fmla="*/ 732738 w 1224727"/>
              <a:gd name="connsiteY54" fmla="*/ 119842 h 1074748"/>
              <a:gd name="connsiteX55" fmla="*/ 723118 w 1224727"/>
              <a:gd name="connsiteY55" fmla="*/ 126761 h 1074748"/>
              <a:gd name="connsiteX56" fmla="*/ 703503 w 1224727"/>
              <a:gd name="connsiteY56" fmla="*/ 117742 h 1074748"/>
              <a:gd name="connsiteX57" fmla="*/ 701129 w 1224727"/>
              <a:gd name="connsiteY57" fmla="*/ 92908 h 1074748"/>
              <a:gd name="connsiteX58" fmla="*/ 688261 w 1224727"/>
              <a:gd name="connsiteY58" fmla="*/ 87596 h 1074748"/>
              <a:gd name="connsiteX59" fmla="*/ 676642 w 1224727"/>
              <a:gd name="connsiteY59" fmla="*/ 78948 h 1074748"/>
              <a:gd name="connsiteX60" fmla="*/ 665398 w 1224727"/>
              <a:gd name="connsiteY60" fmla="*/ 80059 h 1074748"/>
              <a:gd name="connsiteX61" fmla="*/ 638787 w 1224727"/>
              <a:gd name="connsiteY61" fmla="*/ 60292 h 1074748"/>
              <a:gd name="connsiteX62" fmla="*/ 634789 w 1224727"/>
              <a:gd name="connsiteY62" fmla="*/ 45342 h 1074748"/>
              <a:gd name="connsiteX63" fmla="*/ 613301 w 1224727"/>
              <a:gd name="connsiteY63" fmla="*/ 38424 h 1074748"/>
              <a:gd name="connsiteX64" fmla="*/ 608054 w 1224727"/>
              <a:gd name="connsiteY64" fmla="*/ 7166 h 1074748"/>
              <a:gd name="connsiteX65" fmla="*/ 597184 w 1224727"/>
              <a:gd name="connsiteY65" fmla="*/ 0 h 1074748"/>
              <a:gd name="connsiteX66" fmla="*/ 594561 w 1224727"/>
              <a:gd name="connsiteY66" fmla="*/ 5065 h 1074748"/>
              <a:gd name="connsiteX67" fmla="*/ 562453 w 1224727"/>
              <a:gd name="connsiteY67" fmla="*/ 17420 h 1074748"/>
              <a:gd name="connsiteX68" fmla="*/ 554582 w 1224727"/>
              <a:gd name="connsiteY68" fmla="*/ 11614 h 1074748"/>
              <a:gd name="connsiteX69" fmla="*/ 528845 w 1224727"/>
              <a:gd name="connsiteY69" fmla="*/ 27798 h 1074748"/>
              <a:gd name="connsiteX70" fmla="*/ 523348 w 1224727"/>
              <a:gd name="connsiteY70" fmla="*/ 45837 h 1074748"/>
              <a:gd name="connsiteX71" fmla="*/ 528471 w 1224727"/>
              <a:gd name="connsiteY71" fmla="*/ 66963 h 1074748"/>
              <a:gd name="connsiteX72" fmla="*/ 524348 w 1224727"/>
              <a:gd name="connsiteY72" fmla="*/ 100816 h 1074748"/>
              <a:gd name="connsiteX73" fmla="*/ 499111 w 1224727"/>
              <a:gd name="connsiteY73" fmla="*/ 127255 h 1074748"/>
              <a:gd name="connsiteX74" fmla="*/ 499611 w 1224727"/>
              <a:gd name="connsiteY74" fmla="*/ 138251 h 1074748"/>
              <a:gd name="connsiteX75" fmla="*/ 470751 w 1224727"/>
              <a:gd name="connsiteY75" fmla="*/ 147764 h 1074748"/>
              <a:gd name="connsiteX76" fmla="*/ 455509 w 1224727"/>
              <a:gd name="connsiteY76" fmla="*/ 149123 h 1074748"/>
              <a:gd name="connsiteX77" fmla="*/ 438643 w 1224727"/>
              <a:gd name="connsiteY77" fmla="*/ 144305 h 1074748"/>
              <a:gd name="connsiteX78" fmla="*/ 404786 w 1224727"/>
              <a:gd name="connsiteY78" fmla="*/ 164320 h 1074748"/>
              <a:gd name="connsiteX79" fmla="*/ 397165 w 1224727"/>
              <a:gd name="connsiteY79" fmla="*/ 180504 h 1074748"/>
              <a:gd name="connsiteX80" fmla="*/ 403911 w 1224727"/>
              <a:gd name="connsiteY80" fmla="*/ 191253 h 1074748"/>
              <a:gd name="connsiteX81" fmla="*/ 420153 w 1224727"/>
              <a:gd name="connsiteY81" fmla="*/ 196072 h 1074748"/>
              <a:gd name="connsiteX82" fmla="*/ 399289 w 1224727"/>
              <a:gd name="connsiteY82" fmla="*/ 212133 h 1074748"/>
              <a:gd name="connsiteX83" fmla="*/ 373178 w 1224727"/>
              <a:gd name="connsiteY83" fmla="*/ 218804 h 1074748"/>
              <a:gd name="connsiteX84" fmla="*/ 336947 w 1224727"/>
              <a:gd name="connsiteY84" fmla="*/ 215469 h 1074748"/>
              <a:gd name="connsiteX85" fmla="*/ 320580 w 1224727"/>
              <a:gd name="connsiteY85" fmla="*/ 207932 h 1074748"/>
              <a:gd name="connsiteX86" fmla="*/ 307712 w 1224727"/>
              <a:gd name="connsiteY86" fmla="*/ 216086 h 1074748"/>
              <a:gd name="connsiteX87" fmla="*/ 301591 w 1224727"/>
              <a:gd name="connsiteY87" fmla="*/ 203979 h 1074748"/>
              <a:gd name="connsiteX88" fmla="*/ 289472 w 1224727"/>
              <a:gd name="connsiteY88" fmla="*/ 195577 h 1074748"/>
              <a:gd name="connsiteX89" fmla="*/ 294344 w 1224727"/>
              <a:gd name="connsiteY89" fmla="*/ 180875 h 1074748"/>
              <a:gd name="connsiteX90" fmla="*/ 279477 w 1224727"/>
              <a:gd name="connsiteY90" fmla="*/ 174574 h 1074748"/>
              <a:gd name="connsiteX91" fmla="*/ 264485 w 1224727"/>
              <a:gd name="connsiteY91" fmla="*/ 180751 h 1074748"/>
              <a:gd name="connsiteX92" fmla="*/ 242997 w 1224727"/>
              <a:gd name="connsiteY92" fmla="*/ 180999 h 1074748"/>
              <a:gd name="connsiteX93" fmla="*/ 233127 w 1224727"/>
              <a:gd name="connsiteY93" fmla="*/ 177292 h 1074748"/>
              <a:gd name="connsiteX94" fmla="*/ 240248 w 1224727"/>
              <a:gd name="connsiteY94" fmla="*/ 197678 h 1074748"/>
              <a:gd name="connsiteX95" fmla="*/ 237125 w 1224727"/>
              <a:gd name="connsiteY95" fmla="*/ 206697 h 1074748"/>
              <a:gd name="connsiteX96" fmla="*/ 268858 w 1224727"/>
              <a:gd name="connsiteY96" fmla="*/ 233507 h 1074748"/>
              <a:gd name="connsiteX97" fmla="*/ 263736 w 1224727"/>
              <a:gd name="connsiteY97" fmla="*/ 242649 h 1074748"/>
              <a:gd name="connsiteX98" fmla="*/ 268483 w 1224727"/>
              <a:gd name="connsiteY98" fmla="*/ 256240 h 1074748"/>
              <a:gd name="connsiteX99" fmla="*/ 265610 w 1224727"/>
              <a:gd name="connsiteY99" fmla="*/ 270077 h 1074748"/>
              <a:gd name="connsiteX100" fmla="*/ 275854 w 1224727"/>
              <a:gd name="connsiteY100" fmla="*/ 282061 h 1074748"/>
              <a:gd name="connsiteX101" fmla="*/ 278603 w 1224727"/>
              <a:gd name="connsiteY101" fmla="*/ 297752 h 1074748"/>
              <a:gd name="connsiteX102" fmla="*/ 246495 w 1224727"/>
              <a:gd name="connsiteY102" fmla="*/ 295034 h 1074748"/>
              <a:gd name="connsiteX103" fmla="*/ 232752 w 1224727"/>
              <a:gd name="connsiteY103" fmla="*/ 300470 h 1074748"/>
              <a:gd name="connsiteX104" fmla="*/ 219384 w 1224727"/>
              <a:gd name="connsiteY104" fmla="*/ 297628 h 1074748"/>
              <a:gd name="connsiteX105" fmla="*/ 203642 w 1224727"/>
              <a:gd name="connsiteY105" fmla="*/ 302447 h 1074748"/>
              <a:gd name="connsiteX106" fmla="*/ 197146 w 1224727"/>
              <a:gd name="connsiteY106" fmla="*/ 296516 h 1074748"/>
              <a:gd name="connsiteX107" fmla="*/ 177781 w 1224727"/>
              <a:gd name="connsiteY107" fmla="*/ 313813 h 1074748"/>
              <a:gd name="connsiteX108" fmla="*/ 150670 w 1224727"/>
              <a:gd name="connsiteY108" fmla="*/ 281320 h 1074748"/>
              <a:gd name="connsiteX109" fmla="*/ 135928 w 1224727"/>
              <a:gd name="connsiteY109" fmla="*/ 277119 h 1074748"/>
              <a:gd name="connsiteX110" fmla="*/ 114564 w 1224727"/>
              <a:gd name="connsiteY110" fmla="*/ 282803 h 1074748"/>
              <a:gd name="connsiteX111" fmla="*/ 97948 w 1224727"/>
              <a:gd name="connsiteY111" fmla="*/ 299358 h 1074748"/>
              <a:gd name="connsiteX112" fmla="*/ 88703 w 1224727"/>
              <a:gd name="connsiteY112" fmla="*/ 294910 h 1074748"/>
              <a:gd name="connsiteX113" fmla="*/ 78708 w 1224727"/>
              <a:gd name="connsiteY113" fmla="*/ 304918 h 1074748"/>
              <a:gd name="connsiteX114" fmla="*/ 69463 w 1224727"/>
              <a:gd name="connsiteY114" fmla="*/ 299111 h 1074748"/>
              <a:gd name="connsiteX115" fmla="*/ 50848 w 1224727"/>
              <a:gd name="connsiteY115" fmla="*/ 301953 h 1074748"/>
              <a:gd name="connsiteX116" fmla="*/ 39479 w 1224727"/>
              <a:gd name="connsiteY116" fmla="*/ 314060 h 1074748"/>
              <a:gd name="connsiteX117" fmla="*/ 11869 w 1224727"/>
              <a:gd name="connsiteY117" fmla="*/ 317273 h 1074748"/>
              <a:gd name="connsiteX118" fmla="*/ 0 w 1224727"/>
              <a:gd name="connsiteY118" fmla="*/ 332222 h 1074748"/>
              <a:gd name="connsiteX119" fmla="*/ 7496 w 1224727"/>
              <a:gd name="connsiteY119" fmla="*/ 343588 h 1074748"/>
              <a:gd name="connsiteX120" fmla="*/ 23238 w 1224727"/>
              <a:gd name="connsiteY120" fmla="*/ 337411 h 1074748"/>
              <a:gd name="connsiteX121" fmla="*/ 39354 w 1224727"/>
              <a:gd name="connsiteY121" fmla="*/ 341488 h 1074748"/>
              <a:gd name="connsiteX122" fmla="*/ 43852 w 1224727"/>
              <a:gd name="connsiteY122" fmla="*/ 347542 h 1074748"/>
              <a:gd name="connsiteX123" fmla="*/ 26361 w 1224727"/>
              <a:gd name="connsiteY123" fmla="*/ 344824 h 1074748"/>
              <a:gd name="connsiteX124" fmla="*/ 15992 w 1224727"/>
              <a:gd name="connsiteY124" fmla="*/ 346677 h 1074748"/>
              <a:gd name="connsiteX125" fmla="*/ 22988 w 1224727"/>
              <a:gd name="connsiteY125" fmla="*/ 363603 h 1074748"/>
              <a:gd name="connsiteX126" fmla="*/ 27985 w 1224727"/>
              <a:gd name="connsiteY126" fmla="*/ 350384 h 1074748"/>
              <a:gd name="connsiteX127" fmla="*/ 39229 w 1224727"/>
              <a:gd name="connsiteY127" fmla="*/ 354090 h 1074748"/>
              <a:gd name="connsiteX128" fmla="*/ 42478 w 1224727"/>
              <a:gd name="connsiteY128" fmla="*/ 365704 h 1074748"/>
              <a:gd name="connsiteX129" fmla="*/ 32233 w 1224727"/>
              <a:gd name="connsiteY129" fmla="*/ 370275 h 1074748"/>
              <a:gd name="connsiteX130" fmla="*/ 15867 w 1224727"/>
              <a:gd name="connsiteY130" fmla="*/ 377194 h 1074748"/>
              <a:gd name="connsiteX131" fmla="*/ 16741 w 1224727"/>
              <a:gd name="connsiteY131" fmla="*/ 382012 h 1074748"/>
              <a:gd name="connsiteX132" fmla="*/ 32733 w 1224727"/>
              <a:gd name="connsiteY132" fmla="*/ 381394 h 1074748"/>
              <a:gd name="connsiteX133" fmla="*/ 40479 w 1224727"/>
              <a:gd name="connsiteY133" fmla="*/ 400297 h 1074748"/>
              <a:gd name="connsiteX134" fmla="*/ 38854 w 1224727"/>
              <a:gd name="connsiteY134" fmla="*/ 411417 h 1074748"/>
              <a:gd name="connsiteX135" fmla="*/ 57095 w 1224727"/>
              <a:gd name="connsiteY135" fmla="*/ 398320 h 1074748"/>
              <a:gd name="connsiteX136" fmla="*/ 70463 w 1224727"/>
              <a:gd name="connsiteY136" fmla="*/ 401162 h 1074748"/>
              <a:gd name="connsiteX137" fmla="*/ 81457 w 1224727"/>
              <a:gd name="connsiteY137" fmla="*/ 398691 h 1074748"/>
              <a:gd name="connsiteX138" fmla="*/ 111066 w 1224727"/>
              <a:gd name="connsiteY138" fmla="*/ 409069 h 1074748"/>
              <a:gd name="connsiteX139" fmla="*/ 117813 w 1224727"/>
              <a:gd name="connsiteY139" fmla="*/ 419077 h 1074748"/>
              <a:gd name="connsiteX140" fmla="*/ 129556 w 1224727"/>
              <a:gd name="connsiteY140" fmla="*/ 418582 h 1074748"/>
              <a:gd name="connsiteX141" fmla="*/ 150296 w 1224727"/>
              <a:gd name="connsiteY141" fmla="*/ 430814 h 1074748"/>
              <a:gd name="connsiteX142" fmla="*/ 164288 w 1224727"/>
              <a:gd name="connsiteY142" fmla="*/ 417100 h 1074748"/>
              <a:gd name="connsiteX143" fmla="*/ 173408 w 1224727"/>
              <a:gd name="connsiteY143" fmla="*/ 418830 h 1074748"/>
              <a:gd name="connsiteX144" fmla="*/ 170410 w 1224727"/>
              <a:gd name="connsiteY144" fmla="*/ 429331 h 1074748"/>
              <a:gd name="connsiteX145" fmla="*/ 175532 w 1224727"/>
              <a:gd name="connsiteY145" fmla="*/ 435261 h 1074748"/>
              <a:gd name="connsiteX146" fmla="*/ 190399 w 1224727"/>
              <a:gd name="connsiteY146" fmla="*/ 425625 h 1074748"/>
              <a:gd name="connsiteX147" fmla="*/ 199769 w 1224727"/>
              <a:gd name="connsiteY147" fmla="*/ 434150 h 1074748"/>
              <a:gd name="connsiteX148" fmla="*/ 193523 w 1224727"/>
              <a:gd name="connsiteY148" fmla="*/ 452311 h 1074748"/>
              <a:gd name="connsiteX149" fmla="*/ 202393 w 1224727"/>
              <a:gd name="connsiteY149" fmla="*/ 465037 h 1074748"/>
              <a:gd name="connsiteX150" fmla="*/ 213512 w 1224727"/>
              <a:gd name="connsiteY150" fmla="*/ 465284 h 1074748"/>
              <a:gd name="connsiteX151" fmla="*/ 230378 w 1224727"/>
              <a:gd name="connsiteY151" fmla="*/ 453547 h 1074748"/>
              <a:gd name="connsiteX152" fmla="*/ 249243 w 1224727"/>
              <a:gd name="connsiteY152" fmla="*/ 454782 h 1074748"/>
              <a:gd name="connsiteX153" fmla="*/ 261737 w 1224727"/>
              <a:gd name="connsiteY153" fmla="*/ 470102 h 1074748"/>
              <a:gd name="connsiteX154" fmla="*/ 246745 w 1224727"/>
              <a:gd name="connsiteY154" fmla="*/ 462442 h 1074748"/>
              <a:gd name="connsiteX155" fmla="*/ 230128 w 1224727"/>
              <a:gd name="connsiteY155" fmla="*/ 463801 h 1074748"/>
              <a:gd name="connsiteX156" fmla="*/ 220383 w 1224727"/>
              <a:gd name="connsiteY156" fmla="*/ 478627 h 1074748"/>
              <a:gd name="connsiteX157" fmla="*/ 230253 w 1224727"/>
              <a:gd name="connsiteY157" fmla="*/ 482333 h 1074748"/>
              <a:gd name="connsiteX158" fmla="*/ 234501 w 1224727"/>
              <a:gd name="connsiteY158" fmla="*/ 500001 h 1074748"/>
              <a:gd name="connsiteX159" fmla="*/ 226880 w 1224727"/>
              <a:gd name="connsiteY159" fmla="*/ 515444 h 1074748"/>
              <a:gd name="connsiteX160" fmla="*/ 230878 w 1224727"/>
              <a:gd name="connsiteY160" fmla="*/ 526934 h 1074748"/>
              <a:gd name="connsiteX161" fmla="*/ 246245 w 1224727"/>
              <a:gd name="connsiteY161" fmla="*/ 528294 h 1074748"/>
              <a:gd name="connsiteX162" fmla="*/ 270357 w 1224727"/>
              <a:gd name="connsiteY162" fmla="*/ 555474 h 1074748"/>
              <a:gd name="connsiteX163" fmla="*/ 292720 w 1224727"/>
              <a:gd name="connsiteY163" fmla="*/ 557945 h 1074748"/>
              <a:gd name="connsiteX164" fmla="*/ 314709 w 1224727"/>
              <a:gd name="connsiteY164" fmla="*/ 569435 h 1074748"/>
              <a:gd name="connsiteX165" fmla="*/ 314709 w 1224727"/>
              <a:gd name="connsiteY165" fmla="*/ 585249 h 1074748"/>
              <a:gd name="connsiteX166" fmla="*/ 323579 w 1224727"/>
              <a:gd name="connsiteY166" fmla="*/ 597975 h 1074748"/>
              <a:gd name="connsiteX167" fmla="*/ 317457 w 1224727"/>
              <a:gd name="connsiteY167" fmla="*/ 616137 h 1074748"/>
              <a:gd name="connsiteX168" fmla="*/ 313334 w 1224727"/>
              <a:gd name="connsiteY168" fmla="*/ 618360 h 1074748"/>
              <a:gd name="connsiteX169" fmla="*/ 309836 w 1224727"/>
              <a:gd name="connsiteY169" fmla="*/ 634298 h 1074748"/>
              <a:gd name="connsiteX170" fmla="*/ 325203 w 1224727"/>
              <a:gd name="connsiteY170" fmla="*/ 637016 h 1074748"/>
              <a:gd name="connsiteX171" fmla="*/ 353938 w 1224727"/>
              <a:gd name="connsiteY171" fmla="*/ 657155 h 1074748"/>
              <a:gd name="connsiteX172" fmla="*/ 377675 w 1224727"/>
              <a:gd name="connsiteY172" fmla="*/ 707686 h 1074748"/>
              <a:gd name="connsiteX173" fmla="*/ 353063 w 1224727"/>
              <a:gd name="connsiteY173" fmla="*/ 686065 h 1074748"/>
              <a:gd name="connsiteX174" fmla="*/ 345817 w 1224727"/>
              <a:gd name="connsiteY174" fmla="*/ 664444 h 1074748"/>
              <a:gd name="connsiteX175" fmla="*/ 326702 w 1224727"/>
              <a:gd name="connsiteY175" fmla="*/ 655672 h 1074748"/>
              <a:gd name="connsiteX176" fmla="*/ 317957 w 1224727"/>
              <a:gd name="connsiteY176" fmla="*/ 662220 h 1074748"/>
              <a:gd name="connsiteX177" fmla="*/ 310836 w 1224727"/>
              <a:gd name="connsiteY177" fmla="*/ 707933 h 1074748"/>
              <a:gd name="connsiteX178" fmla="*/ 312960 w 1224727"/>
              <a:gd name="connsiteY178" fmla="*/ 740921 h 1074748"/>
              <a:gd name="connsiteX179" fmla="*/ 327952 w 1224727"/>
              <a:gd name="connsiteY179" fmla="*/ 749940 h 1074748"/>
              <a:gd name="connsiteX180" fmla="*/ 316583 w 1224727"/>
              <a:gd name="connsiteY180" fmla="*/ 759329 h 1074748"/>
              <a:gd name="connsiteX181" fmla="*/ 314459 w 1224727"/>
              <a:gd name="connsiteY181" fmla="*/ 821227 h 1074748"/>
              <a:gd name="connsiteX182" fmla="*/ 300091 w 1224727"/>
              <a:gd name="connsiteY182" fmla="*/ 875465 h 1074748"/>
              <a:gd name="connsiteX183" fmla="*/ 279477 w 1224727"/>
              <a:gd name="connsiteY183" fmla="*/ 888808 h 1074748"/>
              <a:gd name="connsiteX184" fmla="*/ 295594 w 1224727"/>
              <a:gd name="connsiteY184" fmla="*/ 896715 h 1074748"/>
              <a:gd name="connsiteX185" fmla="*/ 297843 w 1224727"/>
              <a:gd name="connsiteY185" fmla="*/ 901163 h 1074748"/>
              <a:gd name="connsiteX186" fmla="*/ 309212 w 1224727"/>
              <a:gd name="connsiteY186" fmla="*/ 902646 h 1074748"/>
              <a:gd name="connsiteX187" fmla="*/ 313334 w 1224727"/>
              <a:gd name="connsiteY187" fmla="*/ 921425 h 1074748"/>
              <a:gd name="connsiteX188" fmla="*/ 311335 w 1224727"/>
              <a:gd name="connsiteY188" fmla="*/ 935880 h 1074748"/>
              <a:gd name="connsiteX189" fmla="*/ 338321 w 1224727"/>
              <a:gd name="connsiteY189" fmla="*/ 931432 h 1074748"/>
              <a:gd name="connsiteX190" fmla="*/ 375302 w 1224727"/>
              <a:gd name="connsiteY190" fmla="*/ 944281 h 1074748"/>
              <a:gd name="connsiteX191" fmla="*/ 393292 w 1224727"/>
              <a:gd name="connsiteY191" fmla="*/ 961825 h 1074748"/>
              <a:gd name="connsiteX192" fmla="*/ 411407 w 1224727"/>
              <a:gd name="connsiteY192" fmla="*/ 952559 h 1074748"/>
              <a:gd name="connsiteX193" fmla="*/ 432771 w 1224727"/>
              <a:gd name="connsiteY193" fmla="*/ 972574 h 1074748"/>
              <a:gd name="connsiteX194" fmla="*/ 457883 w 1224727"/>
              <a:gd name="connsiteY194" fmla="*/ 970844 h 1074748"/>
              <a:gd name="connsiteX195" fmla="*/ 470751 w 1224727"/>
              <a:gd name="connsiteY195" fmla="*/ 976898 h 1074748"/>
              <a:gd name="connsiteX196" fmla="*/ 485868 w 1224727"/>
              <a:gd name="connsiteY196" fmla="*/ 959848 h 1074748"/>
              <a:gd name="connsiteX197" fmla="*/ 527471 w 1224727"/>
              <a:gd name="connsiteY197" fmla="*/ 956760 h 1074748"/>
              <a:gd name="connsiteX198" fmla="*/ 543588 w 1224727"/>
              <a:gd name="connsiteY198" fmla="*/ 964543 h 1074748"/>
              <a:gd name="connsiteX199" fmla="*/ 568699 w 1224727"/>
              <a:gd name="connsiteY199" fmla="*/ 960837 h 1074748"/>
              <a:gd name="connsiteX200" fmla="*/ 595810 w 1224727"/>
              <a:gd name="connsiteY200" fmla="*/ 974057 h 1074748"/>
              <a:gd name="connsiteX201" fmla="*/ 638662 w 1224727"/>
              <a:gd name="connsiteY201" fmla="*/ 968250 h 1074748"/>
              <a:gd name="connsiteX202" fmla="*/ 669896 w 1224727"/>
              <a:gd name="connsiteY202" fmla="*/ 985300 h 1074748"/>
              <a:gd name="connsiteX203" fmla="*/ 681640 w 1224727"/>
              <a:gd name="connsiteY203" fmla="*/ 988635 h 1074748"/>
              <a:gd name="connsiteX204" fmla="*/ 680265 w 1224727"/>
              <a:gd name="connsiteY204" fmla="*/ 979987 h 1074748"/>
              <a:gd name="connsiteX205" fmla="*/ 672270 w 1224727"/>
              <a:gd name="connsiteY205" fmla="*/ 954165 h 1074748"/>
              <a:gd name="connsiteX206" fmla="*/ 677892 w 1224727"/>
              <a:gd name="connsiteY206" fmla="*/ 923031 h 1074748"/>
              <a:gd name="connsiteX207" fmla="*/ 679391 w 1224727"/>
              <a:gd name="connsiteY207" fmla="*/ 907835 h 1074748"/>
              <a:gd name="connsiteX208" fmla="*/ 699380 w 1224727"/>
              <a:gd name="connsiteY208" fmla="*/ 888437 h 1074748"/>
              <a:gd name="connsiteX209" fmla="*/ 729864 w 1224727"/>
              <a:gd name="connsiteY209" fmla="*/ 853473 h 1074748"/>
              <a:gd name="connsiteX210" fmla="*/ 740234 w 1224727"/>
              <a:gd name="connsiteY210" fmla="*/ 852361 h 1074748"/>
              <a:gd name="connsiteX211" fmla="*/ 750978 w 1224727"/>
              <a:gd name="connsiteY211" fmla="*/ 859527 h 1074748"/>
              <a:gd name="connsiteX212" fmla="*/ 771842 w 1224727"/>
              <a:gd name="connsiteY212" fmla="*/ 861380 h 1074748"/>
              <a:gd name="connsiteX213" fmla="*/ 794580 w 1224727"/>
              <a:gd name="connsiteY213" fmla="*/ 873488 h 1074748"/>
              <a:gd name="connsiteX214" fmla="*/ 809822 w 1224727"/>
              <a:gd name="connsiteY214" fmla="*/ 872870 h 1074748"/>
              <a:gd name="connsiteX215" fmla="*/ 823315 w 1224727"/>
              <a:gd name="connsiteY215" fmla="*/ 861257 h 1074748"/>
              <a:gd name="connsiteX216" fmla="*/ 836433 w 1224727"/>
              <a:gd name="connsiteY216" fmla="*/ 859404 h 1074748"/>
              <a:gd name="connsiteX217" fmla="*/ 893403 w 1224727"/>
              <a:gd name="connsiteY217" fmla="*/ 891403 h 1074748"/>
              <a:gd name="connsiteX218" fmla="*/ 909269 w 1224727"/>
              <a:gd name="connsiteY218" fmla="*/ 903757 h 1074748"/>
              <a:gd name="connsiteX219" fmla="*/ 950248 w 1224727"/>
              <a:gd name="connsiteY219" fmla="*/ 904128 h 1074748"/>
              <a:gd name="connsiteX220" fmla="*/ 966989 w 1224727"/>
              <a:gd name="connsiteY220" fmla="*/ 889055 h 1074748"/>
              <a:gd name="connsiteX221" fmla="*/ 963116 w 1224727"/>
              <a:gd name="connsiteY221" fmla="*/ 880283 h 1074748"/>
              <a:gd name="connsiteX222" fmla="*/ 978233 w 1224727"/>
              <a:gd name="connsiteY222" fmla="*/ 859651 h 1074748"/>
              <a:gd name="connsiteX223" fmla="*/ 1033953 w 1224727"/>
              <a:gd name="connsiteY223" fmla="*/ 814679 h 1074748"/>
              <a:gd name="connsiteX224" fmla="*/ 1037202 w 1224727"/>
              <a:gd name="connsiteY224" fmla="*/ 813938 h 1074748"/>
              <a:gd name="connsiteX225" fmla="*/ 1030080 w 1224727"/>
              <a:gd name="connsiteY225" fmla="*/ 794664 h 1074748"/>
              <a:gd name="connsiteX226" fmla="*/ 1040825 w 1224727"/>
              <a:gd name="connsiteY226" fmla="*/ 766619 h 1074748"/>
              <a:gd name="connsiteX227" fmla="*/ 1013089 w 1224727"/>
              <a:gd name="connsiteY227" fmla="*/ 767854 h 1074748"/>
              <a:gd name="connsiteX228" fmla="*/ 983105 w 1224727"/>
              <a:gd name="connsiteY228" fmla="*/ 749445 h 1074748"/>
              <a:gd name="connsiteX229" fmla="*/ 977108 w 1224727"/>
              <a:gd name="connsiteY229" fmla="*/ 702497 h 1074748"/>
              <a:gd name="connsiteX230" fmla="*/ 953621 w 1224727"/>
              <a:gd name="connsiteY230" fmla="*/ 679888 h 1074748"/>
              <a:gd name="connsiteX231" fmla="*/ 966239 w 1224727"/>
              <a:gd name="connsiteY231" fmla="*/ 664938 h 1074748"/>
              <a:gd name="connsiteX232" fmla="*/ 987353 w 1224727"/>
              <a:gd name="connsiteY232" fmla="*/ 661355 h 1074748"/>
              <a:gd name="connsiteX233" fmla="*/ 991351 w 1224727"/>
              <a:gd name="connsiteY233" fmla="*/ 630962 h 1074748"/>
              <a:gd name="connsiteX234" fmla="*/ 973485 w 1224727"/>
              <a:gd name="connsiteY234" fmla="*/ 616013 h 1074748"/>
              <a:gd name="connsiteX235" fmla="*/ 969862 w 1224727"/>
              <a:gd name="connsiteY235" fmla="*/ 593898 h 1074748"/>
              <a:gd name="connsiteX236" fmla="*/ 977358 w 1224727"/>
              <a:gd name="connsiteY236" fmla="*/ 584385 h 1074748"/>
              <a:gd name="connsiteX237" fmla="*/ 978857 w 1224727"/>
              <a:gd name="connsiteY237" fmla="*/ 584879 h 1074748"/>
              <a:gd name="connsiteX238" fmla="*/ 978857 w 1224727"/>
              <a:gd name="connsiteY238" fmla="*/ 584879 h 1074748"/>
              <a:gd name="connsiteX239" fmla="*/ 1191620 w 1224727"/>
              <a:gd name="connsiteY239" fmla="*/ 1074625 h 1074748"/>
              <a:gd name="connsiteX240" fmla="*/ 1163385 w 1224727"/>
              <a:gd name="connsiteY240" fmla="*/ 1064123 h 1074748"/>
              <a:gd name="connsiteX241" fmla="*/ 1158138 w 1224727"/>
              <a:gd name="connsiteY241" fmla="*/ 1056093 h 1074748"/>
              <a:gd name="connsiteX242" fmla="*/ 1163885 w 1224727"/>
              <a:gd name="connsiteY242" fmla="*/ 1046209 h 1074748"/>
              <a:gd name="connsiteX243" fmla="*/ 1170881 w 1224727"/>
              <a:gd name="connsiteY243" fmla="*/ 1047321 h 1074748"/>
              <a:gd name="connsiteX244" fmla="*/ 1165634 w 1224727"/>
              <a:gd name="connsiteY244" fmla="*/ 1039290 h 1074748"/>
              <a:gd name="connsiteX245" fmla="*/ 1159387 w 1224727"/>
              <a:gd name="connsiteY245" fmla="*/ 1039537 h 1074748"/>
              <a:gd name="connsiteX246" fmla="*/ 1159387 w 1224727"/>
              <a:gd name="connsiteY246" fmla="*/ 1027182 h 1074748"/>
              <a:gd name="connsiteX247" fmla="*/ 1146769 w 1224727"/>
              <a:gd name="connsiteY247" fmla="*/ 1020881 h 1074748"/>
              <a:gd name="connsiteX248" fmla="*/ 1140772 w 1224727"/>
              <a:gd name="connsiteY248" fmla="*/ 1012233 h 1074748"/>
              <a:gd name="connsiteX249" fmla="*/ 1147518 w 1224727"/>
              <a:gd name="connsiteY249" fmla="*/ 1007785 h 1074748"/>
              <a:gd name="connsiteX250" fmla="*/ 1147268 w 1224727"/>
              <a:gd name="connsiteY250" fmla="*/ 1000867 h 1074748"/>
              <a:gd name="connsiteX251" fmla="*/ 1133776 w 1224727"/>
              <a:gd name="connsiteY251" fmla="*/ 994566 h 1074748"/>
              <a:gd name="connsiteX252" fmla="*/ 1129778 w 1224727"/>
              <a:gd name="connsiteY252" fmla="*/ 981717 h 1074748"/>
              <a:gd name="connsiteX253" fmla="*/ 1140147 w 1224727"/>
              <a:gd name="connsiteY253" fmla="*/ 981222 h 1074748"/>
              <a:gd name="connsiteX254" fmla="*/ 1143271 w 1224727"/>
              <a:gd name="connsiteY254" fmla="*/ 972821 h 1074748"/>
              <a:gd name="connsiteX255" fmla="*/ 1132526 w 1224727"/>
              <a:gd name="connsiteY255" fmla="*/ 963679 h 1074748"/>
              <a:gd name="connsiteX256" fmla="*/ 1144020 w 1224727"/>
              <a:gd name="connsiteY256" fmla="*/ 941193 h 1074748"/>
              <a:gd name="connsiteX257" fmla="*/ 1171381 w 1224727"/>
              <a:gd name="connsiteY257" fmla="*/ 930444 h 1074748"/>
              <a:gd name="connsiteX258" fmla="*/ 1182000 w 1224727"/>
              <a:gd name="connsiteY258" fmla="*/ 918954 h 1074748"/>
              <a:gd name="connsiteX259" fmla="*/ 1193619 w 1224727"/>
              <a:gd name="connsiteY259" fmla="*/ 930197 h 1074748"/>
              <a:gd name="connsiteX260" fmla="*/ 1200615 w 1224727"/>
              <a:gd name="connsiteY260" fmla="*/ 929950 h 1074748"/>
              <a:gd name="connsiteX261" fmla="*/ 1202614 w 1224727"/>
              <a:gd name="connsiteY261" fmla="*/ 913394 h 1074748"/>
              <a:gd name="connsiteX262" fmla="*/ 1196617 w 1224727"/>
              <a:gd name="connsiteY262" fmla="*/ 901904 h 1074748"/>
              <a:gd name="connsiteX263" fmla="*/ 1199366 w 1224727"/>
              <a:gd name="connsiteY263" fmla="*/ 885967 h 1074748"/>
              <a:gd name="connsiteX264" fmla="*/ 1208486 w 1224727"/>
              <a:gd name="connsiteY264" fmla="*/ 885596 h 1074748"/>
              <a:gd name="connsiteX265" fmla="*/ 1214483 w 1224727"/>
              <a:gd name="connsiteY265" fmla="*/ 911417 h 1074748"/>
              <a:gd name="connsiteX266" fmla="*/ 1213359 w 1224727"/>
              <a:gd name="connsiteY266" fmla="*/ 934892 h 1074748"/>
              <a:gd name="connsiteX267" fmla="*/ 1224727 w 1224727"/>
              <a:gd name="connsiteY267" fmla="*/ 970844 h 1074748"/>
              <a:gd name="connsiteX268" fmla="*/ 1215482 w 1224727"/>
              <a:gd name="connsiteY268" fmla="*/ 1013221 h 1074748"/>
              <a:gd name="connsiteX269" fmla="*/ 1217231 w 1224727"/>
              <a:gd name="connsiteY269" fmla="*/ 1036449 h 1074748"/>
              <a:gd name="connsiteX270" fmla="*/ 1208736 w 1224727"/>
              <a:gd name="connsiteY270" fmla="*/ 1065730 h 1074748"/>
              <a:gd name="connsiteX271" fmla="*/ 1191745 w 1224727"/>
              <a:gd name="connsiteY271" fmla="*/ 1074749 h 107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1224727" h="1074748">
                <a:moveTo>
                  <a:pt x="978358" y="584261"/>
                </a:moveTo>
                <a:lnTo>
                  <a:pt x="974735" y="569188"/>
                </a:lnTo>
                <a:lnTo>
                  <a:pt x="963865" y="561157"/>
                </a:lnTo>
                <a:lnTo>
                  <a:pt x="956244" y="539166"/>
                </a:lnTo>
                <a:lnTo>
                  <a:pt x="946250" y="522610"/>
                </a:lnTo>
                <a:lnTo>
                  <a:pt x="919139" y="522610"/>
                </a:lnTo>
                <a:cubicBezTo>
                  <a:pt x="919139" y="522610"/>
                  <a:pt x="907020" y="534100"/>
                  <a:pt x="907020" y="534100"/>
                </a:cubicBezTo>
                <a:lnTo>
                  <a:pt x="916640" y="555968"/>
                </a:lnTo>
                <a:lnTo>
                  <a:pt x="894527" y="566099"/>
                </a:lnTo>
                <a:lnTo>
                  <a:pt x="874663" y="564987"/>
                </a:lnTo>
                <a:lnTo>
                  <a:pt x="872039" y="550656"/>
                </a:lnTo>
                <a:lnTo>
                  <a:pt x="882408" y="544973"/>
                </a:lnTo>
                <a:lnTo>
                  <a:pt x="893278" y="544973"/>
                </a:lnTo>
                <a:cubicBezTo>
                  <a:pt x="893278" y="544973"/>
                  <a:pt x="892153" y="527552"/>
                  <a:pt x="892153" y="527552"/>
                </a:cubicBezTo>
                <a:lnTo>
                  <a:pt x="894902" y="499877"/>
                </a:lnTo>
                <a:lnTo>
                  <a:pt x="917140" y="461577"/>
                </a:lnTo>
                <a:lnTo>
                  <a:pt x="930758" y="455770"/>
                </a:lnTo>
                <a:lnTo>
                  <a:pt x="947624" y="432173"/>
                </a:lnTo>
                <a:lnTo>
                  <a:pt x="963865" y="424266"/>
                </a:lnTo>
                <a:lnTo>
                  <a:pt x="959868" y="407463"/>
                </a:lnTo>
                <a:lnTo>
                  <a:pt x="940378" y="398444"/>
                </a:lnTo>
                <a:lnTo>
                  <a:pt x="951622" y="383618"/>
                </a:lnTo>
                <a:lnTo>
                  <a:pt x="972736" y="381394"/>
                </a:lnTo>
                <a:lnTo>
                  <a:pt x="978608" y="392884"/>
                </a:lnTo>
                <a:lnTo>
                  <a:pt x="995224" y="394120"/>
                </a:lnTo>
                <a:lnTo>
                  <a:pt x="1024583" y="383742"/>
                </a:lnTo>
                <a:lnTo>
                  <a:pt x="1015213" y="366445"/>
                </a:lnTo>
                <a:lnTo>
                  <a:pt x="998847" y="357302"/>
                </a:lnTo>
                <a:lnTo>
                  <a:pt x="996348" y="331234"/>
                </a:lnTo>
                <a:lnTo>
                  <a:pt x="1004344" y="299482"/>
                </a:lnTo>
                <a:lnTo>
                  <a:pt x="1016338" y="287127"/>
                </a:lnTo>
                <a:lnTo>
                  <a:pt x="1015713" y="273413"/>
                </a:lnTo>
                <a:lnTo>
                  <a:pt x="1024458" y="245491"/>
                </a:lnTo>
                <a:lnTo>
                  <a:pt x="1043948" y="223746"/>
                </a:lnTo>
                <a:lnTo>
                  <a:pt x="1025583" y="212751"/>
                </a:lnTo>
                <a:lnTo>
                  <a:pt x="1008467" y="213492"/>
                </a:lnTo>
                <a:lnTo>
                  <a:pt x="986229" y="204596"/>
                </a:lnTo>
                <a:lnTo>
                  <a:pt x="969987" y="210527"/>
                </a:lnTo>
                <a:lnTo>
                  <a:pt x="957869" y="206450"/>
                </a:lnTo>
                <a:lnTo>
                  <a:pt x="942002" y="207067"/>
                </a:lnTo>
                <a:lnTo>
                  <a:pt x="927010" y="212998"/>
                </a:lnTo>
                <a:lnTo>
                  <a:pt x="910519" y="200643"/>
                </a:lnTo>
                <a:lnTo>
                  <a:pt x="910019" y="189523"/>
                </a:lnTo>
                <a:lnTo>
                  <a:pt x="892278" y="177169"/>
                </a:lnTo>
                <a:lnTo>
                  <a:pt x="879160" y="180999"/>
                </a:lnTo>
                <a:lnTo>
                  <a:pt x="855798" y="177416"/>
                </a:lnTo>
                <a:lnTo>
                  <a:pt x="844553" y="160860"/>
                </a:lnTo>
                <a:lnTo>
                  <a:pt x="830061" y="161478"/>
                </a:lnTo>
                <a:lnTo>
                  <a:pt x="822315" y="167038"/>
                </a:lnTo>
                <a:lnTo>
                  <a:pt x="805199" y="155918"/>
                </a:lnTo>
                <a:lnTo>
                  <a:pt x="786709" y="155424"/>
                </a:lnTo>
                <a:lnTo>
                  <a:pt x="764346" y="130220"/>
                </a:lnTo>
                <a:lnTo>
                  <a:pt x="752352" y="128120"/>
                </a:lnTo>
                <a:lnTo>
                  <a:pt x="743982" y="119348"/>
                </a:lnTo>
                <a:lnTo>
                  <a:pt x="732738" y="119842"/>
                </a:lnTo>
                <a:lnTo>
                  <a:pt x="723118" y="126761"/>
                </a:lnTo>
                <a:lnTo>
                  <a:pt x="703503" y="117742"/>
                </a:lnTo>
                <a:lnTo>
                  <a:pt x="701129" y="92908"/>
                </a:lnTo>
                <a:lnTo>
                  <a:pt x="688261" y="87596"/>
                </a:lnTo>
                <a:lnTo>
                  <a:pt x="676642" y="78948"/>
                </a:lnTo>
                <a:lnTo>
                  <a:pt x="665398" y="80059"/>
                </a:lnTo>
                <a:lnTo>
                  <a:pt x="638787" y="60292"/>
                </a:lnTo>
                <a:lnTo>
                  <a:pt x="634789" y="45342"/>
                </a:lnTo>
                <a:lnTo>
                  <a:pt x="613301" y="38424"/>
                </a:lnTo>
                <a:lnTo>
                  <a:pt x="608054" y="7166"/>
                </a:lnTo>
                <a:lnTo>
                  <a:pt x="597184" y="0"/>
                </a:lnTo>
                <a:lnTo>
                  <a:pt x="594561" y="5065"/>
                </a:lnTo>
                <a:lnTo>
                  <a:pt x="562453" y="17420"/>
                </a:lnTo>
                <a:lnTo>
                  <a:pt x="554582" y="11614"/>
                </a:lnTo>
                <a:lnTo>
                  <a:pt x="528845" y="27798"/>
                </a:lnTo>
                <a:lnTo>
                  <a:pt x="523348" y="45837"/>
                </a:lnTo>
                <a:lnTo>
                  <a:pt x="528471" y="66963"/>
                </a:lnTo>
                <a:lnTo>
                  <a:pt x="524348" y="100816"/>
                </a:lnTo>
                <a:lnTo>
                  <a:pt x="499111" y="127255"/>
                </a:lnTo>
                <a:lnTo>
                  <a:pt x="499611" y="138251"/>
                </a:lnTo>
                <a:lnTo>
                  <a:pt x="470751" y="147764"/>
                </a:lnTo>
                <a:lnTo>
                  <a:pt x="455509" y="149123"/>
                </a:lnTo>
                <a:lnTo>
                  <a:pt x="438643" y="144305"/>
                </a:lnTo>
                <a:lnTo>
                  <a:pt x="404786" y="164320"/>
                </a:lnTo>
                <a:lnTo>
                  <a:pt x="397165" y="180504"/>
                </a:lnTo>
                <a:lnTo>
                  <a:pt x="403911" y="191253"/>
                </a:lnTo>
                <a:lnTo>
                  <a:pt x="420153" y="196072"/>
                </a:lnTo>
                <a:lnTo>
                  <a:pt x="399289" y="212133"/>
                </a:lnTo>
                <a:lnTo>
                  <a:pt x="373178" y="218804"/>
                </a:lnTo>
                <a:lnTo>
                  <a:pt x="336947" y="215469"/>
                </a:lnTo>
                <a:lnTo>
                  <a:pt x="320580" y="207932"/>
                </a:lnTo>
                <a:lnTo>
                  <a:pt x="307712" y="216086"/>
                </a:lnTo>
                <a:lnTo>
                  <a:pt x="301591" y="203979"/>
                </a:lnTo>
                <a:lnTo>
                  <a:pt x="289472" y="195577"/>
                </a:lnTo>
                <a:lnTo>
                  <a:pt x="294344" y="180875"/>
                </a:lnTo>
                <a:lnTo>
                  <a:pt x="279477" y="174574"/>
                </a:lnTo>
                <a:lnTo>
                  <a:pt x="264485" y="180751"/>
                </a:lnTo>
                <a:lnTo>
                  <a:pt x="242997" y="180999"/>
                </a:lnTo>
                <a:lnTo>
                  <a:pt x="233127" y="177292"/>
                </a:lnTo>
                <a:lnTo>
                  <a:pt x="240248" y="197678"/>
                </a:lnTo>
                <a:lnTo>
                  <a:pt x="237125" y="206697"/>
                </a:lnTo>
                <a:lnTo>
                  <a:pt x="268858" y="233507"/>
                </a:lnTo>
                <a:lnTo>
                  <a:pt x="263736" y="242649"/>
                </a:lnTo>
                <a:lnTo>
                  <a:pt x="268483" y="256240"/>
                </a:lnTo>
                <a:lnTo>
                  <a:pt x="265610" y="270077"/>
                </a:lnTo>
                <a:lnTo>
                  <a:pt x="275854" y="282061"/>
                </a:lnTo>
                <a:lnTo>
                  <a:pt x="278603" y="297752"/>
                </a:lnTo>
                <a:lnTo>
                  <a:pt x="246495" y="295034"/>
                </a:lnTo>
                <a:lnTo>
                  <a:pt x="232752" y="300470"/>
                </a:lnTo>
                <a:lnTo>
                  <a:pt x="219384" y="297628"/>
                </a:lnTo>
                <a:lnTo>
                  <a:pt x="203642" y="302447"/>
                </a:lnTo>
                <a:lnTo>
                  <a:pt x="197146" y="296516"/>
                </a:lnTo>
                <a:lnTo>
                  <a:pt x="177781" y="313813"/>
                </a:lnTo>
                <a:lnTo>
                  <a:pt x="150670" y="281320"/>
                </a:lnTo>
                <a:lnTo>
                  <a:pt x="135928" y="277119"/>
                </a:lnTo>
                <a:lnTo>
                  <a:pt x="114564" y="282803"/>
                </a:lnTo>
                <a:lnTo>
                  <a:pt x="97948" y="299358"/>
                </a:lnTo>
                <a:lnTo>
                  <a:pt x="88703" y="294910"/>
                </a:lnTo>
                <a:lnTo>
                  <a:pt x="78708" y="304918"/>
                </a:lnTo>
                <a:lnTo>
                  <a:pt x="69463" y="299111"/>
                </a:lnTo>
                <a:lnTo>
                  <a:pt x="50848" y="301953"/>
                </a:lnTo>
                <a:lnTo>
                  <a:pt x="39479" y="314060"/>
                </a:lnTo>
                <a:lnTo>
                  <a:pt x="11869" y="317273"/>
                </a:lnTo>
                <a:lnTo>
                  <a:pt x="0" y="332222"/>
                </a:lnTo>
                <a:lnTo>
                  <a:pt x="7496" y="343588"/>
                </a:lnTo>
                <a:lnTo>
                  <a:pt x="23238" y="337411"/>
                </a:lnTo>
                <a:lnTo>
                  <a:pt x="39354" y="341488"/>
                </a:lnTo>
                <a:lnTo>
                  <a:pt x="43852" y="347542"/>
                </a:lnTo>
                <a:lnTo>
                  <a:pt x="26361" y="344824"/>
                </a:lnTo>
                <a:lnTo>
                  <a:pt x="15992" y="346677"/>
                </a:lnTo>
                <a:lnTo>
                  <a:pt x="22988" y="363603"/>
                </a:lnTo>
                <a:lnTo>
                  <a:pt x="27985" y="350384"/>
                </a:lnTo>
                <a:lnTo>
                  <a:pt x="39229" y="354090"/>
                </a:lnTo>
                <a:lnTo>
                  <a:pt x="42478" y="365704"/>
                </a:lnTo>
                <a:lnTo>
                  <a:pt x="32233" y="370275"/>
                </a:lnTo>
                <a:lnTo>
                  <a:pt x="15867" y="377194"/>
                </a:lnTo>
                <a:lnTo>
                  <a:pt x="16741" y="382012"/>
                </a:lnTo>
                <a:lnTo>
                  <a:pt x="32733" y="381394"/>
                </a:lnTo>
                <a:lnTo>
                  <a:pt x="40479" y="400297"/>
                </a:lnTo>
                <a:lnTo>
                  <a:pt x="38854" y="411417"/>
                </a:lnTo>
                <a:lnTo>
                  <a:pt x="57095" y="398320"/>
                </a:lnTo>
                <a:lnTo>
                  <a:pt x="70463" y="401162"/>
                </a:lnTo>
                <a:lnTo>
                  <a:pt x="81457" y="398691"/>
                </a:lnTo>
                <a:lnTo>
                  <a:pt x="111066" y="409069"/>
                </a:lnTo>
                <a:lnTo>
                  <a:pt x="117813" y="419077"/>
                </a:lnTo>
                <a:lnTo>
                  <a:pt x="129556" y="418582"/>
                </a:lnTo>
                <a:lnTo>
                  <a:pt x="150296" y="430814"/>
                </a:lnTo>
                <a:lnTo>
                  <a:pt x="164288" y="417100"/>
                </a:lnTo>
                <a:lnTo>
                  <a:pt x="173408" y="418830"/>
                </a:lnTo>
                <a:lnTo>
                  <a:pt x="170410" y="429331"/>
                </a:lnTo>
                <a:lnTo>
                  <a:pt x="175532" y="435261"/>
                </a:lnTo>
                <a:lnTo>
                  <a:pt x="190399" y="425625"/>
                </a:lnTo>
                <a:lnTo>
                  <a:pt x="199769" y="434150"/>
                </a:lnTo>
                <a:lnTo>
                  <a:pt x="193523" y="452311"/>
                </a:lnTo>
                <a:lnTo>
                  <a:pt x="202393" y="465037"/>
                </a:lnTo>
                <a:lnTo>
                  <a:pt x="213512" y="465284"/>
                </a:lnTo>
                <a:lnTo>
                  <a:pt x="230378" y="453547"/>
                </a:lnTo>
                <a:lnTo>
                  <a:pt x="249243" y="454782"/>
                </a:lnTo>
                <a:lnTo>
                  <a:pt x="261737" y="470102"/>
                </a:lnTo>
                <a:lnTo>
                  <a:pt x="246745" y="462442"/>
                </a:lnTo>
                <a:lnTo>
                  <a:pt x="230128" y="463801"/>
                </a:lnTo>
                <a:lnTo>
                  <a:pt x="220383" y="478627"/>
                </a:lnTo>
                <a:lnTo>
                  <a:pt x="230253" y="482333"/>
                </a:lnTo>
                <a:lnTo>
                  <a:pt x="234501" y="500001"/>
                </a:lnTo>
                <a:lnTo>
                  <a:pt x="226880" y="515444"/>
                </a:lnTo>
                <a:lnTo>
                  <a:pt x="230878" y="526934"/>
                </a:lnTo>
                <a:lnTo>
                  <a:pt x="246245" y="528294"/>
                </a:lnTo>
                <a:lnTo>
                  <a:pt x="270357" y="555474"/>
                </a:lnTo>
                <a:lnTo>
                  <a:pt x="292720" y="557945"/>
                </a:lnTo>
                <a:lnTo>
                  <a:pt x="314709" y="569435"/>
                </a:lnTo>
                <a:lnTo>
                  <a:pt x="314709" y="585249"/>
                </a:lnTo>
                <a:cubicBezTo>
                  <a:pt x="314709" y="585249"/>
                  <a:pt x="323579" y="597975"/>
                  <a:pt x="323579" y="597975"/>
                </a:cubicBezTo>
                <a:lnTo>
                  <a:pt x="317457" y="616137"/>
                </a:lnTo>
                <a:lnTo>
                  <a:pt x="313334" y="618360"/>
                </a:lnTo>
                <a:lnTo>
                  <a:pt x="309836" y="634298"/>
                </a:lnTo>
                <a:lnTo>
                  <a:pt x="325203" y="637016"/>
                </a:lnTo>
                <a:lnTo>
                  <a:pt x="353938" y="657155"/>
                </a:lnTo>
                <a:lnTo>
                  <a:pt x="377675" y="707686"/>
                </a:lnTo>
                <a:lnTo>
                  <a:pt x="353063" y="686065"/>
                </a:lnTo>
                <a:lnTo>
                  <a:pt x="345817" y="664444"/>
                </a:lnTo>
                <a:lnTo>
                  <a:pt x="326702" y="655672"/>
                </a:lnTo>
                <a:lnTo>
                  <a:pt x="317957" y="662220"/>
                </a:lnTo>
                <a:lnTo>
                  <a:pt x="310836" y="707933"/>
                </a:lnTo>
                <a:lnTo>
                  <a:pt x="312960" y="740921"/>
                </a:lnTo>
                <a:lnTo>
                  <a:pt x="327952" y="749940"/>
                </a:lnTo>
                <a:lnTo>
                  <a:pt x="316583" y="759329"/>
                </a:lnTo>
                <a:lnTo>
                  <a:pt x="314459" y="821227"/>
                </a:lnTo>
                <a:lnTo>
                  <a:pt x="300091" y="875465"/>
                </a:lnTo>
                <a:lnTo>
                  <a:pt x="279477" y="888808"/>
                </a:lnTo>
                <a:lnTo>
                  <a:pt x="295594" y="896715"/>
                </a:lnTo>
                <a:lnTo>
                  <a:pt x="297843" y="901163"/>
                </a:lnTo>
                <a:lnTo>
                  <a:pt x="309212" y="902646"/>
                </a:lnTo>
                <a:lnTo>
                  <a:pt x="313334" y="921425"/>
                </a:lnTo>
                <a:lnTo>
                  <a:pt x="311335" y="935880"/>
                </a:lnTo>
                <a:lnTo>
                  <a:pt x="338321" y="931432"/>
                </a:lnTo>
                <a:lnTo>
                  <a:pt x="375302" y="944281"/>
                </a:lnTo>
                <a:lnTo>
                  <a:pt x="393292" y="961825"/>
                </a:lnTo>
                <a:lnTo>
                  <a:pt x="411407" y="952559"/>
                </a:lnTo>
                <a:lnTo>
                  <a:pt x="432771" y="972574"/>
                </a:lnTo>
                <a:lnTo>
                  <a:pt x="457883" y="970844"/>
                </a:lnTo>
                <a:lnTo>
                  <a:pt x="470751" y="976898"/>
                </a:lnTo>
                <a:lnTo>
                  <a:pt x="485868" y="959848"/>
                </a:lnTo>
                <a:lnTo>
                  <a:pt x="527471" y="956760"/>
                </a:lnTo>
                <a:lnTo>
                  <a:pt x="543588" y="964543"/>
                </a:lnTo>
                <a:lnTo>
                  <a:pt x="568699" y="960837"/>
                </a:lnTo>
                <a:lnTo>
                  <a:pt x="595810" y="974057"/>
                </a:lnTo>
                <a:lnTo>
                  <a:pt x="638662" y="968250"/>
                </a:lnTo>
                <a:lnTo>
                  <a:pt x="669896" y="985300"/>
                </a:lnTo>
                <a:lnTo>
                  <a:pt x="681640" y="988635"/>
                </a:lnTo>
                <a:lnTo>
                  <a:pt x="680265" y="979987"/>
                </a:lnTo>
                <a:lnTo>
                  <a:pt x="672270" y="954165"/>
                </a:lnTo>
                <a:lnTo>
                  <a:pt x="677892" y="923031"/>
                </a:lnTo>
                <a:lnTo>
                  <a:pt x="679391" y="907835"/>
                </a:lnTo>
                <a:lnTo>
                  <a:pt x="699380" y="888437"/>
                </a:lnTo>
                <a:lnTo>
                  <a:pt x="729864" y="853473"/>
                </a:lnTo>
                <a:lnTo>
                  <a:pt x="740234" y="852361"/>
                </a:lnTo>
                <a:lnTo>
                  <a:pt x="750978" y="859527"/>
                </a:lnTo>
                <a:lnTo>
                  <a:pt x="771842" y="861380"/>
                </a:lnTo>
                <a:lnTo>
                  <a:pt x="794580" y="873488"/>
                </a:lnTo>
                <a:lnTo>
                  <a:pt x="809822" y="872870"/>
                </a:lnTo>
                <a:lnTo>
                  <a:pt x="823315" y="861257"/>
                </a:lnTo>
                <a:lnTo>
                  <a:pt x="836433" y="859404"/>
                </a:lnTo>
                <a:lnTo>
                  <a:pt x="893403" y="891403"/>
                </a:lnTo>
                <a:lnTo>
                  <a:pt x="909269" y="903757"/>
                </a:lnTo>
                <a:lnTo>
                  <a:pt x="950248" y="904128"/>
                </a:lnTo>
                <a:lnTo>
                  <a:pt x="966989" y="889055"/>
                </a:lnTo>
                <a:lnTo>
                  <a:pt x="963116" y="880283"/>
                </a:lnTo>
                <a:lnTo>
                  <a:pt x="978233" y="859651"/>
                </a:lnTo>
                <a:lnTo>
                  <a:pt x="1033953" y="814679"/>
                </a:lnTo>
                <a:lnTo>
                  <a:pt x="1037202" y="813938"/>
                </a:lnTo>
                <a:lnTo>
                  <a:pt x="1030080" y="794664"/>
                </a:lnTo>
                <a:lnTo>
                  <a:pt x="1040825" y="766619"/>
                </a:lnTo>
                <a:lnTo>
                  <a:pt x="1013089" y="767854"/>
                </a:lnTo>
                <a:lnTo>
                  <a:pt x="983105" y="749445"/>
                </a:lnTo>
                <a:lnTo>
                  <a:pt x="977108" y="702497"/>
                </a:lnTo>
                <a:lnTo>
                  <a:pt x="953621" y="679888"/>
                </a:lnTo>
                <a:lnTo>
                  <a:pt x="966239" y="664938"/>
                </a:lnTo>
                <a:lnTo>
                  <a:pt x="987353" y="661355"/>
                </a:lnTo>
                <a:lnTo>
                  <a:pt x="991351" y="630962"/>
                </a:lnTo>
                <a:lnTo>
                  <a:pt x="973485" y="616013"/>
                </a:lnTo>
                <a:lnTo>
                  <a:pt x="969862" y="593898"/>
                </a:lnTo>
                <a:lnTo>
                  <a:pt x="977358" y="584385"/>
                </a:lnTo>
                <a:lnTo>
                  <a:pt x="978857" y="584879"/>
                </a:lnTo>
                <a:lnTo>
                  <a:pt x="978857" y="584879"/>
                </a:lnTo>
                <a:close/>
                <a:moveTo>
                  <a:pt x="1191620" y="1074625"/>
                </a:moveTo>
                <a:lnTo>
                  <a:pt x="1163385" y="1064123"/>
                </a:lnTo>
                <a:lnTo>
                  <a:pt x="1158138" y="1056093"/>
                </a:lnTo>
                <a:lnTo>
                  <a:pt x="1163885" y="1046209"/>
                </a:lnTo>
                <a:lnTo>
                  <a:pt x="1170881" y="1047321"/>
                </a:lnTo>
                <a:lnTo>
                  <a:pt x="1165634" y="1039290"/>
                </a:lnTo>
                <a:lnTo>
                  <a:pt x="1159387" y="1039537"/>
                </a:lnTo>
                <a:lnTo>
                  <a:pt x="1159387" y="1027182"/>
                </a:lnTo>
                <a:cubicBezTo>
                  <a:pt x="1159387" y="1027182"/>
                  <a:pt x="1146769" y="1020881"/>
                  <a:pt x="1146769" y="1020881"/>
                </a:cubicBezTo>
                <a:lnTo>
                  <a:pt x="1140772" y="1012233"/>
                </a:lnTo>
                <a:lnTo>
                  <a:pt x="1147518" y="1007785"/>
                </a:lnTo>
                <a:lnTo>
                  <a:pt x="1147268" y="1000867"/>
                </a:lnTo>
                <a:lnTo>
                  <a:pt x="1133776" y="994566"/>
                </a:lnTo>
                <a:lnTo>
                  <a:pt x="1129778" y="981717"/>
                </a:lnTo>
                <a:lnTo>
                  <a:pt x="1140147" y="981222"/>
                </a:lnTo>
                <a:lnTo>
                  <a:pt x="1143271" y="972821"/>
                </a:lnTo>
                <a:lnTo>
                  <a:pt x="1132526" y="963679"/>
                </a:lnTo>
                <a:lnTo>
                  <a:pt x="1144020" y="941193"/>
                </a:lnTo>
                <a:lnTo>
                  <a:pt x="1171381" y="930444"/>
                </a:lnTo>
                <a:lnTo>
                  <a:pt x="1182000" y="918954"/>
                </a:lnTo>
                <a:lnTo>
                  <a:pt x="1193619" y="930197"/>
                </a:lnTo>
                <a:lnTo>
                  <a:pt x="1200615" y="929950"/>
                </a:lnTo>
                <a:lnTo>
                  <a:pt x="1202614" y="913394"/>
                </a:lnTo>
                <a:lnTo>
                  <a:pt x="1196617" y="901904"/>
                </a:lnTo>
                <a:lnTo>
                  <a:pt x="1199366" y="885967"/>
                </a:lnTo>
                <a:lnTo>
                  <a:pt x="1208486" y="885596"/>
                </a:lnTo>
                <a:lnTo>
                  <a:pt x="1214483" y="911417"/>
                </a:lnTo>
                <a:lnTo>
                  <a:pt x="1213359" y="934892"/>
                </a:lnTo>
                <a:lnTo>
                  <a:pt x="1224727" y="970844"/>
                </a:lnTo>
                <a:lnTo>
                  <a:pt x="1215482" y="1013221"/>
                </a:lnTo>
                <a:lnTo>
                  <a:pt x="1217231" y="1036449"/>
                </a:lnTo>
                <a:lnTo>
                  <a:pt x="1208736" y="1065730"/>
                </a:lnTo>
                <a:lnTo>
                  <a:pt x="1191745" y="1074749"/>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 name="Graphic 124">
            <a:extLst>
              <a:ext uri="{FF2B5EF4-FFF2-40B4-BE49-F238E27FC236}">
                <a16:creationId xmlns:a16="http://schemas.microsoft.com/office/drawing/2014/main" id="{18D2E3CC-30C1-4F74-39C7-DDC1CE1E6997}"/>
              </a:ext>
            </a:extLst>
          </p:cNvPr>
          <p:cNvSpPr/>
          <p:nvPr/>
        </p:nvSpPr>
        <p:spPr>
          <a:xfrm rot="1141104">
            <a:off x="5280037" y="3408530"/>
            <a:ext cx="1149768" cy="838771"/>
          </a:xfrm>
          <a:custGeom>
            <a:avLst/>
            <a:gdLst>
              <a:gd name="connsiteX0" fmla="*/ 640787 w 1149768"/>
              <a:gd name="connsiteY0" fmla="*/ 20509 h 838771"/>
              <a:gd name="connsiteX1" fmla="*/ 656903 w 1149768"/>
              <a:gd name="connsiteY1" fmla="*/ 28416 h 838771"/>
              <a:gd name="connsiteX2" fmla="*/ 659152 w 1149768"/>
              <a:gd name="connsiteY2" fmla="*/ 32864 h 838771"/>
              <a:gd name="connsiteX3" fmla="*/ 670521 w 1149768"/>
              <a:gd name="connsiteY3" fmla="*/ 34347 h 838771"/>
              <a:gd name="connsiteX4" fmla="*/ 674644 w 1149768"/>
              <a:gd name="connsiteY4" fmla="*/ 53126 h 838771"/>
              <a:gd name="connsiteX5" fmla="*/ 672645 w 1149768"/>
              <a:gd name="connsiteY5" fmla="*/ 67581 h 838771"/>
              <a:gd name="connsiteX6" fmla="*/ 699631 w 1149768"/>
              <a:gd name="connsiteY6" fmla="*/ 63133 h 838771"/>
              <a:gd name="connsiteX7" fmla="*/ 736611 w 1149768"/>
              <a:gd name="connsiteY7" fmla="*/ 75982 h 838771"/>
              <a:gd name="connsiteX8" fmla="*/ 754602 w 1149768"/>
              <a:gd name="connsiteY8" fmla="*/ 93526 h 838771"/>
              <a:gd name="connsiteX9" fmla="*/ 772717 w 1149768"/>
              <a:gd name="connsiteY9" fmla="*/ 84260 h 838771"/>
              <a:gd name="connsiteX10" fmla="*/ 794081 w 1149768"/>
              <a:gd name="connsiteY10" fmla="*/ 104275 h 838771"/>
              <a:gd name="connsiteX11" fmla="*/ 819193 w 1149768"/>
              <a:gd name="connsiteY11" fmla="*/ 102545 h 838771"/>
              <a:gd name="connsiteX12" fmla="*/ 832061 w 1149768"/>
              <a:gd name="connsiteY12" fmla="*/ 108599 h 838771"/>
              <a:gd name="connsiteX13" fmla="*/ 847178 w 1149768"/>
              <a:gd name="connsiteY13" fmla="*/ 91550 h 838771"/>
              <a:gd name="connsiteX14" fmla="*/ 888781 w 1149768"/>
              <a:gd name="connsiteY14" fmla="*/ 88461 h 838771"/>
              <a:gd name="connsiteX15" fmla="*/ 904898 w 1149768"/>
              <a:gd name="connsiteY15" fmla="*/ 96244 h 838771"/>
              <a:gd name="connsiteX16" fmla="*/ 930009 w 1149768"/>
              <a:gd name="connsiteY16" fmla="*/ 92538 h 838771"/>
              <a:gd name="connsiteX17" fmla="*/ 957120 w 1149768"/>
              <a:gd name="connsiteY17" fmla="*/ 105758 h 838771"/>
              <a:gd name="connsiteX18" fmla="*/ 999972 w 1149768"/>
              <a:gd name="connsiteY18" fmla="*/ 99951 h 838771"/>
              <a:gd name="connsiteX19" fmla="*/ 1031206 w 1149768"/>
              <a:gd name="connsiteY19" fmla="*/ 117001 h 838771"/>
              <a:gd name="connsiteX20" fmla="*/ 1042950 w 1149768"/>
              <a:gd name="connsiteY20" fmla="*/ 120336 h 838771"/>
              <a:gd name="connsiteX21" fmla="*/ 1044449 w 1149768"/>
              <a:gd name="connsiteY21" fmla="*/ 130097 h 838771"/>
              <a:gd name="connsiteX22" fmla="*/ 1030331 w 1149768"/>
              <a:gd name="connsiteY22" fmla="*/ 140351 h 838771"/>
              <a:gd name="connsiteX23" fmla="*/ 1036453 w 1149768"/>
              <a:gd name="connsiteY23" fmla="*/ 169015 h 838771"/>
              <a:gd name="connsiteX24" fmla="*/ 1035079 w 1149768"/>
              <a:gd name="connsiteY24" fmla="*/ 191500 h 838771"/>
              <a:gd name="connsiteX25" fmla="*/ 1026458 w 1149768"/>
              <a:gd name="connsiteY25" fmla="*/ 209044 h 838771"/>
              <a:gd name="connsiteX26" fmla="*/ 992726 w 1149768"/>
              <a:gd name="connsiteY26" fmla="*/ 231036 h 838771"/>
              <a:gd name="connsiteX27" fmla="*/ 977984 w 1149768"/>
              <a:gd name="connsiteY27" fmla="*/ 251174 h 838771"/>
              <a:gd name="connsiteX28" fmla="*/ 949499 w 1149768"/>
              <a:gd name="connsiteY28" fmla="*/ 264024 h 838771"/>
              <a:gd name="connsiteX29" fmla="*/ 914143 w 1149768"/>
              <a:gd name="connsiteY29" fmla="*/ 263776 h 838771"/>
              <a:gd name="connsiteX30" fmla="*/ 892029 w 1149768"/>
              <a:gd name="connsiteY30" fmla="*/ 280826 h 838771"/>
              <a:gd name="connsiteX31" fmla="*/ 871790 w 1149768"/>
              <a:gd name="connsiteY31" fmla="*/ 292687 h 838771"/>
              <a:gd name="connsiteX32" fmla="*/ 881910 w 1149768"/>
              <a:gd name="connsiteY32" fmla="*/ 300470 h 838771"/>
              <a:gd name="connsiteX33" fmla="*/ 878287 w 1149768"/>
              <a:gd name="connsiteY33" fmla="*/ 321844 h 838771"/>
              <a:gd name="connsiteX34" fmla="*/ 865793 w 1149768"/>
              <a:gd name="connsiteY34" fmla="*/ 330246 h 838771"/>
              <a:gd name="connsiteX35" fmla="*/ 863544 w 1149768"/>
              <a:gd name="connsiteY35" fmla="*/ 328269 h 838771"/>
              <a:gd name="connsiteX36" fmla="*/ 866668 w 1149768"/>
              <a:gd name="connsiteY36" fmla="*/ 325304 h 838771"/>
              <a:gd name="connsiteX37" fmla="*/ 856798 w 1149768"/>
              <a:gd name="connsiteY37" fmla="*/ 322339 h 838771"/>
              <a:gd name="connsiteX38" fmla="*/ 832311 w 1149768"/>
              <a:gd name="connsiteY38" fmla="*/ 368052 h 838771"/>
              <a:gd name="connsiteX39" fmla="*/ 813946 w 1149768"/>
              <a:gd name="connsiteY39" fmla="*/ 377812 h 838771"/>
              <a:gd name="connsiteX40" fmla="*/ 781088 w 1149768"/>
              <a:gd name="connsiteY40" fmla="*/ 437609 h 838771"/>
              <a:gd name="connsiteX41" fmla="*/ 771218 w 1149768"/>
              <a:gd name="connsiteY41" fmla="*/ 451076 h 838771"/>
              <a:gd name="connsiteX42" fmla="*/ 787585 w 1149768"/>
              <a:gd name="connsiteY42" fmla="*/ 476527 h 838771"/>
              <a:gd name="connsiteX43" fmla="*/ 792457 w 1149768"/>
              <a:gd name="connsiteY43" fmla="*/ 494195 h 838771"/>
              <a:gd name="connsiteX44" fmla="*/ 806699 w 1149768"/>
              <a:gd name="connsiteY44" fmla="*/ 501113 h 838771"/>
              <a:gd name="connsiteX45" fmla="*/ 830937 w 1149768"/>
              <a:gd name="connsiteY45" fmla="*/ 531012 h 838771"/>
              <a:gd name="connsiteX46" fmla="*/ 811697 w 1149768"/>
              <a:gd name="connsiteY46" fmla="*/ 551027 h 838771"/>
              <a:gd name="connsiteX47" fmla="*/ 781463 w 1149768"/>
              <a:gd name="connsiteY47" fmla="*/ 559923 h 838771"/>
              <a:gd name="connsiteX48" fmla="*/ 783087 w 1149768"/>
              <a:gd name="connsiteY48" fmla="*/ 581173 h 838771"/>
              <a:gd name="connsiteX49" fmla="*/ 755726 w 1149768"/>
              <a:gd name="connsiteY49" fmla="*/ 622932 h 838771"/>
              <a:gd name="connsiteX50" fmla="*/ 753353 w 1149768"/>
              <a:gd name="connsiteY50" fmla="*/ 649866 h 838771"/>
              <a:gd name="connsiteX51" fmla="*/ 761348 w 1149768"/>
              <a:gd name="connsiteY51" fmla="*/ 657032 h 838771"/>
              <a:gd name="connsiteX52" fmla="*/ 754227 w 1149768"/>
              <a:gd name="connsiteY52" fmla="*/ 669016 h 838771"/>
              <a:gd name="connsiteX53" fmla="*/ 723119 w 1149768"/>
              <a:gd name="connsiteY53" fmla="*/ 671734 h 838771"/>
              <a:gd name="connsiteX54" fmla="*/ 668772 w 1149768"/>
              <a:gd name="connsiteY54" fmla="*/ 700150 h 838771"/>
              <a:gd name="connsiteX55" fmla="*/ 669522 w 1149768"/>
              <a:gd name="connsiteY55" fmla="*/ 718683 h 838771"/>
              <a:gd name="connsiteX56" fmla="*/ 649532 w 1149768"/>
              <a:gd name="connsiteY56" fmla="*/ 753894 h 838771"/>
              <a:gd name="connsiteX57" fmla="*/ 629668 w 1149768"/>
              <a:gd name="connsiteY57" fmla="*/ 745863 h 838771"/>
              <a:gd name="connsiteX58" fmla="*/ 611677 w 1149768"/>
              <a:gd name="connsiteY58" fmla="*/ 731532 h 838771"/>
              <a:gd name="connsiteX59" fmla="*/ 603307 w 1149768"/>
              <a:gd name="connsiteY59" fmla="*/ 747717 h 838771"/>
              <a:gd name="connsiteX60" fmla="*/ 589314 w 1149768"/>
              <a:gd name="connsiteY60" fmla="*/ 760689 h 838771"/>
              <a:gd name="connsiteX61" fmla="*/ 573572 w 1149768"/>
              <a:gd name="connsiteY61" fmla="*/ 749693 h 838771"/>
              <a:gd name="connsiteX62" fmla="*/ 557581 w 1149768"/>
              <a:gd name="connsiteY62" fmla="*/ 749693 h 838771"/>
              <a:gd name="connsiteX63" fmla="*/ 551709 w 1149768"/>
              <a:gd name="connsiteY63" fmla="*/ 757477 h 838771"/>
              <a:gd name="connsiteX64" fmla="*/ 526597 w 1149768"/>
              <a:gd name="connsiteY64" fmla="*/ 755747 h 838771"/>
              <a:gd name="connsiteX65" fmla="*/ 488617 w 1149768"/>
              <a:gd name="connsiteY65" fmla="*/ 747099 h 838771"/>
              <a:gd name="connsiteX66" fmla="*/ 473750 w 1149768"/>
              <a:gd name="connsiteY66" fmla="*/ 755994 h 838771"/>
              <a:gd name="connsiteX67" fmla="*/ 441142 w 1149768"/>
              <a:gd name="connsiteY67" fmla="*/ 761554 h 838771"/>
              <a:gd name="connsiteX68" fmla="*/ 413657 w 1149768"/>
              <a:gd name="connsiteY68" fmla="*/ 791082 h 838771"/>
              <a:gd name="connsiteX69" fmla="*/ 379925 w 1149768"/>
              <a:gd name="connsiteY69" fmla="*/ 796642 h 838771"/>
              <a:gd name="connsiteX70" fmla="*/ 367556 w 1149768"/>
              <a:gd name="connsiteY70" fmla="*/ 808503 h 838771"/>
              <a:gd name="connsiteX71" fmla="*/ 367556 w 1149768"/>
              <a:gd name="connsiteY71" fmla="*/ 823205 h 838771"/>
              <a:gd name="connsiteX72" fmla="*/ 341195 w 1149768"/>
              <a:gd name="connsiteY72" fmla="*/ 838772 h 838771"/>
              <a:gd name="connsiteX73" fmla="*/ 311211 w 1149768"/>
              <a:gd name="connsiteY73" fmla="*/ 835189 h 838771"/>
              <a:gd name="connsiteX74" fmla="*/ 279478 w 1149768"/>
              <a:gd name="connsiteY74" fmla="*/ 806773 h 838771"/>
              <a:gd name="connsiteX75" fmla="*/ 259988 w 1149768"/>
              <a:gd name="connsiteY75" fmla="*/ 765755 h 838771"/>
              <a:gd name="connsiteX76" fmla="*/ 263611 w 1149768"/>
              <a:gd name="connsiteY76" fmla="*/ 759824 h 838771"/>
              <a:gd name="connsiteX77" fmla="*/ 224756 w 1149768"/>
              <a:gd name="connsiteY77" fmla="*/ 725849 h 838771"/>
              <a:gd name="connsiteX78" fmla="*/ 197646 w 1149768"/>
              <a:gd name="connsiteY78" fmla="*/ 723872 h 838771"/>
              <a:gd name="connsiteX79" fmla="*/ 182529 w 1149768"/>
              <a:gd name="connsiteY79" fmla="*/ 720536 h 838771"/>
              <a:gd name="connsiteX80" fmla="*/ 180780 w 1149768"/>
              <a:gd name="connsiteY80" fmla="*/ 699286 h 838771"/>
              <a:gd name="connsiteX81" fmla="*/ 166662 w 1149768"/>
              <a:gd name="connsiteY81" fmla="*/ 678900 h 838771"/>
              <a:gd name="connsiteX82" fmla="*/ 186152 w 1149768"/>
              <a:gd name="connsiteY82" fmla="*/ 638747 h 838771"/>
              <a:gd name="connsiteX83" fmla="*/ 207890 w 1149768"/>
              <a:gd name="connsiteY83" fmla="*/ 619473 h 838771"/>
              <a:gd name="connsiteX84" fmla="*/ 209764 w 1149768"/>
              <a:gd name="connsiteY84" fmla="*/ 602300 h 838771"/>
              <a:gd name="connsiteX85" fmla="*/ 189775 w 1149768"/>
              <a:gd name="connsiteY85" fmla="*/ 601806 h 838771"/>
              <a:gd name="connsiteX86" fmla="*/ 175407 w 1149768"/>
              <a:gd name="connsiteY86" fmla="*/ 576231 h 838771"/>
              <a:gd name="connsiteX87" fmla="*/ 203268 w 1149768"/>
              <a:gd name="connsiteY87" fmla="*/ 546209 h 838771"/>
              <a:gd name="connsiteX88" fmla="*/ 200394 w 1149768"/>
              <a:gd name="connsiteY88" fmla="*/ 509638 h 838771"/>
              <a:gd name="connsiteX89" fmla="*/ 178656 w 1149768"/>
              <a:gd name="connsiteY89" fmla="*/ 497407 h 838771"/>
              <a:gd name="connsiteX90" fmla="*/ 152919 w 1149768"/>
              <a:gd name="connsiteY90" fmla="*/ 453918 h 838771"/>
              <a:gd name="connsiteX91" fmla="*/ 175158 w 1149768"/>
              <a:gd name="connsiteY91" fmla="*/ 447740 h 838771"/>
              <a:gd name="connsiteX92" fmla="*/ 191149 w 1149768"/>
              <a:gd name="connsiteY92" fmla="*/ 449717 h 838771"/>
              <a:gd name="connsiteX93" fmla="*/ 213512 w 1149768"/>
              <a:gd name="connsiteY93" fmla="*/ 415988 h 838771"/>
              <a:gd name="connsiteX94" fmla="*/ 196896 w 1149768"/>
              <a:gd name="connsiteY94" fmla="*/ 400915 h 838771"/>
              <a:gd name="connsiteX95" fmla="*/ 215886 w 1149768"/>
              <a:gd name="connsiteY95" fmla="*/ 380406 h 838771"/>
              <a:gd name="connsiteX96" fmla="*/ 215886 w 1149768"/>
              <a:gd name="connsiteY96" fmla="*/ 322709 h 838771"/>
              <a:gd name="connsiteX97" fmla="*/ 211014 w 1149768"/>
              <a:gd name="connsiteY97" fmla="*/ 299235 h 838771"/>
              <a:gd name="connsiteX98" fmla="*/ 243996 w 1149768"/>
              <a:gd name="connsiteY98" fmla="*/ 265012 h 838771"/>
              <a:gd name="connsiteX99" fmla="*/ 257239 w 1149768"/>
              <a:gd name="connsiteY99" fmla="*/ 264394 h 838771"/>
              <a:gd name="connsiteX100" fmla="*/ 261737 w 1149768"/>
              <a:gd name="connsiteY100" fmla="*/ 245862 h 838771"/>
              <a:gd name="connsiteX101" fmla="*/ 241997 w 1149768"/>
              <a:gd name="connsiteY101" fmla="*/ 220411 h 838771"/>
              <a:gd name="connsiteX102" fmla="*/ 238374 w 1149768"/>
              <a:gd name="connsiteY102" fmla="*/ 198296 h 838771"/>
              <a:gd name="connsiteX103" fmla="*/ 194397 w 1149768"/>
              <a:gd name="connsiteY103" fmla="*/ 194960 h 838771"/>
              <a:gd name="connsiteX104" fmla="*/ 177906 w 1149768"/>
              <a:gd name="connsiteY104" fmla="*/ 212751 h 838771"/>
              <a:gd name="connsiteX105" fmla="*/ 127183 w 1149768"/>
              <a:gd name="connsiteY105" fmla="*/ 204473 h 838771"/>
              <a:gd name="connsiteX106" fmla="*/ 97449 w 1149768"/>
              <a:gd name="connsiteY106" fmla="*/ 221523 h 838771"/>
              <a:gd name="connsiteX107" fmla="*/ 88953 w 1149768"/>
              <a:gd name="connsiteY107" fmla="*/ 208797 h 838771"/>
              <a:gd name="connsiteX108" fmla="*/ 90702 w 1149768"/>
              <a:gd name="connsiteY108" fmla="*/ 189029 h 838771"/>
              <a:gd name="connsiteX109" fmla="*/ 75085 w 1149768"/>
              <a:gd name="connsiteY109" fmla="*/ 185570 h 838771"/>
              <a:gd name="connsiteX110" fmla="*/ 34607 w 1149768"/>
              <a:gd name="connsiteY110" fmla="*/ 193601 h 838771"/>
              <a:gd name="connsiteX111" fmla="*/ 33982 w 1149768"/>
              <a:gd name="connsiteY111" fmla="*/ 188535 h 838771"/>
              <a:gd name="connsiteX112" fmla="*/ 54721 w 1149768"/>
              <a:gd name="connsiteY112" fmla="*/ 169138 h 838771"/>
              <a:gd name="connsiteX113" fmla="*/ 39354 w 1149768"/>
              <a:gd name="connsiteY113" fmla="*/ 167038 h 838771"/>
              <a:gd name="connsiteX114" fmla="*/ 49349 w 1149768"/>
              <a:gd name="connsiteY114" fmla="*/ 155671 h 838771"/>
              <a:gd name="connsiteX115" fmla="*/ 42103 w 1149768"/>
              <a:gd name="connsiteY115" fmla="*/ 149123 h 838771"/>
              <a:gd name="connsiteX116" fmla="*/ 45476 w 1149768"/>
              <a:gd name="connsiteY116" fmla="*/ 129726 h 838771"/>
              <a:gd name="connsiteX117" fmla="*/ 31483 w 1149768"/>
              <a:gd name="connsiteY117" fmla="*/ 144058 h 838771"/>
              <a:gd name="connsiteX118" fmla="*/ 24487 w 1149768"/>
              <a:gd name="connsiteY118" fmla="*/ 141587 h 838771"/>
              <a:gd name="connsiteX119" fmla="*/ 28235 w 1149768"/>
              <a:gd name="connsiteY119" fmla="*/ 116012 h 838771"/>
              <a:gd name="connsiteX120" fmla="*/ 20489 w 1149768"/>
              <a:gd name="connsiteY120" fmla="*/ 112923 h 838771"/>
              <a:gd name="connsiteX121" fmla="*/ 20739 w 1149768"/>
              <a:gd name="connsiteY121" fmla="*/ 102669 h 838771"/>
              <a:gd name="connsiteX122" fmla="*/ 9120 w 1149768"/>
              <a:gd name="connsiteY122" fmla="*/ 107240 h 838771"/>
              <a:gd name="connsiteX123" fmla="*/ 0 w 1149768"/>
              <a:gd name="connsiteY123" fmla="*/ 88337 h 838771"/>
              <a:gd name="connsiteX124" fmla="*/ 8870 w 1149768"/>
              <a:gd name="connsiteY124" fmla="*/ 68075 h 838771"/>
              <a:gd name="connsiteX125" fmla="*/ 42977 w 1149768"/>
              <a:gd name="connsiteY125" fmla="*/ 54238 h 838771"/>
              <a:gd name="connsiteX126" fmla="*/ 54971 w 1149768"/>
              <a:gd name="connsiteY126" fmla="*/ 59180 h 838771"/>
              <a:gd name="connsiteX127" fmla="*/ 83956 w 1149768"/>
              <a:gd name="connsiteY127" fmla="*/ 54485 h 838771"/>
              <a:gd name="connsiteX128" fmla="*/ 97324 w 1149768"/>
              <a:gd name="connsiteY128" fmla="*/ 43613 h 838771"/>
              <a:gd name="connsiteX129" fmla="*/ 85830 w 1149768"/>
              <a:gd name="connsiteY129" fmla="*/ 36570 h 838771"/>
              <a:gd name="connsiteX130" fmla="*/ 83206 w 1149768"/>
              <a:gd name="connsiteY130" fmla="*/ 24339 h 838771"/>
              <a:gd name="connsiteX131" fmla="*/ 115689 w 1149768"/>
              <a:gd name="connsiteY131" fmla="*/ 4448 h 838771"/>
              <a:gd name="connsiteX132" fmla="*/ 120811 w 1149768"/>
              <a:gd name="connsiteY132" fmla="*/ 10378 h 838771"/>
              <a:gd name="connsiteX133" fmla="*/ 134304 w 1149768"/>
              <a:gd name="connsiteY133" fmla="*/ 247 h 838771"/>
              <a:gd name="connsiteX134" fmla="*/ 157417 w 1149768"/>
              <a:gd name="connsiteY134" fmla="*/ 4077 h 838771"/>
              <a:gd name="connsiteX135" fmla="*/ 177906 w 1149768"/>
              <a:gd name="connsiteY135" fmla="*/ 27304 h 838771"/>
              <a:gd name="connsiteX136" fmla="*/ 193898 w 1149768"/>
              <a:gd name="connsiteY136" fmla="*/ 12849 h 838771"/>
              <a:gd name="connsiteX137" fmla="*/ 212638 w 1149768"/>
              <a:gd name="connsiteY137" fmla="*/ 12108 h 838771"/>
              <a:gd name="connsiteX138" fmla="*/ 234501 w 1149768"/>
              <a:gd name="connsiteY138" fmla="*/ 20138 h 838771"/>
              <a:gd name="connsiteX139" fmla="*/ 257739 w 1149768"/>
              <a:gd name="connsiteY139" fmla="*/ 9513 h 838771"/>
              <a:gd name="connsiteX140" fmla="*/ 286599 w 1149768"/>
              <a:gd name="connsiteY140" fmla="*/ 0 h 838771"/>
              <a:gd name="connsiteX141" fmla="*/ 293220 w 1149768"/>
              <a:gd name="connsiteY141" fmla="*/ 8031 h 838771"/>
              <a:gd name="connsiteX142" fmla="*/ 317333 w 1149768"/>
              <a:gd name="connsiteY142" fmla="*/ 20015 h 838771"/>
              <a:gd name="connsiteX143" fmla="*/ 382923 w 1149768"/>
              <a:gd name="connsiteY143" fmla="*/ 27551 h 838771"/>
              <a:gd name="connsiteX144" fmla="*/ 413032 w 1149768"/>
              <a:gd name="connsiteY144" fmla="*/ 33111 h 838771"/>
              <a:gd name="connsiteX145" fmla="*/ 456634 w 1149768"/>
              <a:gd name="connsiteY145" fmla="*/ 12726 h 838771"/>
              <a:gd name="connsiteX146" fmla="*/ 489992 w 1149768"/>
              <a:gd name="connsiteY146" fmla="*/ 14085 h 838771"/>
              <a:gd name="connsiteX147" fmla="*/ 496863 w 1149768"/>
              <a:gd name="connsiteY147" fmla="*/ 28293 h 838771"/>
              <a:gd name="connsiteX148" fmla="*/ 529721 w 1149768"/>
              <a:gd name="connsiteY148" fmla="*/ 33111 h 838771"/>
              <a:gd name="connsiteX149" fmla="*/ 545712 w 1149768"/>
              <a:gd name="connsiteY149" fmla="*/ 15938 h 838771"/>
              <a:gd name="connsiteX150" fmla="*/ 561704 w 1149768"/>
              <a:gd name="connsiteY150" fmla="*/ 15196 h 838771"/>
              <a:gd name="connsiteX151" fmla="*/ 611552 w 1149768"/>
              <a:gd name="connsiteY151" fmla="*/ 41265 h 838771"/>
              <a:gd name="connsiteX152" fmla="*/ 620048 w 1149768"/>
              <a:gd name="connsiteY152" fmla="*/ 27798 h 838771"/>
              <a:gd name="connsiteX153" fmla="*/ 633166 w 1149768"/>
              <a:gd name="connsiteY153" fmla="*/ 25822 h 838771"/>
              <a:gd name="connsiteX154" fmla="*/ 640912 w 1149768"/>
              <a:gd name="connsiteY154" fmla="*/ 20756 h 838771"/>
              <a:gd name="connsiteX155" fmla="*/ 640912 w 1149768"/>
              <a:gd name="connsiteY155" fmla="*/ 20756 h 838771"/>
              <a:gd name="connsiteX156" fmla="*/ 1100794 w 1149768"/>
              <a:gd name="connsiteY156" fmla="*/ 398815 h 838771"/>
              <a:gd name="connsiteX157" fmla="*/ 1130654 w 1149768"/>
              <a:gd name="connsiteY157" fmla="*/ 400174 h 838771"/>
              <a:gd name="connsiteX158" fmla="*/ 1145521 w 1149768"/>
              <a:gd name="connsiteY158" fmla="*/ 407464 h 838771"/>
              <a:gd name="connsiteX159" fmla="*/ 1149768 w 1149768"/>
              <a:gd name="connsiteY159" fmla="*/ 398074 h 838771"/>
              <a:gd name="connsiteX160" fmla="*/ 1130404 w 1149768"/>
              <a:gd name="connsiteY160" fmla="*/ 379912 h 838771"/>
              <a:gd name="connsiteX161" fmla="*/ 1104168 w 1149768"/>
              <a:gd name="connsiteY161" fmla="*/ 386213 h 838771"/>
              <a:gd name="connsiteX162" fmla="*/ 1100794 w 1149768"/>
              <a:gd name="connsiteY162" fmla="*/ 398815 h 838771"/>
              <a:gd name="connsiteX163" fmla="*/ 1100794 w 1149768"/>
              <a:gd name="connsiteY163" fmla="*/ 398815 h 838771"/>
              <a:gd name="connsiteX164" fmla="*/ 1050571 w 1149768"/>
              <a:gd name="connsiteY164" fmla="*/ 461825 h 838771"/>
              <a:gd name="connsiteX165" fmla="*/ 1057442 w 1149768"/>
              <a:gd name="connsiteY165" fmla="*/ 437980 h 838771"/>
              <a:gd name="connsiteX166" fmla="*/ 1077182 w 1149768"/>
              <a:gd name="connsiteY166" fmla="*/ 418830 h 838771"/>
              <a:gd name="connsiteX167" fmla="*/ 1058692 w 1149768"/>
              <a:gd name="connsiteY167" fmla="*/ 418336 h 838771"/>
              <a:gd name="connsiteX168" fmla="*/ 1037328 w 1149768"/>
              <a:gd name="connsiteY168" fmla="*/ 415988 h 838771"/>
              <a:gd name="connsiteX169" fmla="*/ 1019962 w 1149768"/>
              <a:gd name="connsiteY169" fmla="*/ 428467 h 838771"/>
              <a:gd name="connsiteX170" fmla="*/ 1016714 w 1149768"/>
              <a:gd name="connsiteY170" fmla="*/ 444281 h 838771"/>
              <a:gd name="connsiteX171" fmla="*/ 1035454 w 1149768"/>
              <a:gd name="connsiteY171" fmla="*/ 449347 h 838771"/>
              <a:gd name="connsiteX172" fmla="*/ 1050571 w 1149768"/>
              <a:gd name="connsiteY172" fmla="*/ 461825 h 838771"/>
              <a:gd name="connsiteX173" fmla="*/ 1050571 w 1149768"/>
              <a:gd name="connsiteY173" fmla="*/ 461825 h 838771"/>
              <a:gd name="connsiteX174" fmla="*/ 941503 w 1149768"/>
              <a:gd name="connsiteY174" fmla="*/ 526688 h 838771"/>
              <a:gd name="connsiteX175" fmla="*/ 951373 w 1149768"/>
              <a:gd name="connsiteY175" fmla="*/ 511862 h 838771"/>
              <a:gd name="connsiteX176" fmla="*/ 960868 w 1149768"/>
              <a:gd name="connsiteY176" fmla="*/ 501608 h 838771"/>
              <a:gd name="connsiteX177" fmla="*/ 952997 w 1149768"/>
              <a:gd name="connsiteY177" fmla="*/ 490118 h 838771"/>
              <a:gd name="connsiteX178" fmla="*/ 929510 w 1149768"/>
              <a:gd name="connsiteY178" fmla="*/ 498272 h 838771"/>
              <a:gd name="connsiteX179" fmla="*/ 927511 w 1149768"/>
              <a:gd name="connsiteY179" fmla="*/ 514704 h 838771"/>
              <a:gd name="connsiteX180" fmla="*/ 941253 w 1149768"/>
              <a:gd name="connsiteY180" fmla="*/ 526564 h 838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149768" h="838771">
                <a:moveTo>
                  <a:pt x="640787" y="20509"/>
                </a:moveTo>
                <a:lnTo>
                  <a:pt x="656903" y="28416"/>
                </a:lnTo>
                <a:lnTo>
                  <a:pt x="659152" y="32864"/>
                </a:lnTo>
                <a:lnTo>
                  <a:pt x="670521" y="34347"/>
                </a:lnTo>
                <a:lnTo>
                  <a:pt x="674644" y="53126"/>
                </a:lnTo>
                <a:lnTo>
                  <a:pt x="672645" y="67581"/>
                </a:lnTo>
                <a:lnTo>
                  <a:pt x="699631" y="63133"/>
                </a:lnTo>
                <a:lnTo>
                  <a:pt x="736611" y="75982"/>
                </a:lnTo>
                <a:lnTo>
                  <a:pt x="754602" y="93526"/>
                </a:lnTo>
                <a:lnTo>
                  <a:pt x="772717" y="84260"/>
                </a:lnTo>
                <a:lnTo>
                  <a:pt x="794081" y="104275"/>
                </a:lnTo>
                <a:lnTo>
                  <a:pt x="819193" y="102545"/>
                </a:lnTo>
                <a:lnTo>
                  <a:pt x="832061" y="108599"/>
                </a:lnTo>
                <a:lnTo>
                  <a:pt x="847178" y="91550"/>
                </a:lnTo>
                <a:lnTo>
                  <a:pt x="888781" y="88461"/>
                </a:lnTo>
                <a:lnTo>
                  <a:pt x="904898" y="96244"/>
                </a:lnTo>
                <a:lnTo>
                  <a:pt x="930009" y="92538"/>
                </a:lnTo>
                <a:lnTo>
                  <a:pt x="957120" y="105758"/>
                </a:lnTo>
                <a:lnTo>
                  <a:pt x="999972" y="99951"/>
                </a:lnTo>
                <a:lnTo>
                  <a:pt x="1031206" y="117001"/>
                </a:lnTo>
                <a:lnTo>
                  <a:pt x="1042950" y="120336"/>
                </a:lnTo>
                <a:lnTo>
                  <a:pt x="1044449" y="130097"/>
                </a:lnTo>
                <a:lnTo>
                  <a:pt x="1030331" y="140351"/>
                </a:lnTo>
                <a:lnTo>
                  <a:pt x="1036453" y="169015"/>
                </a:lnTo>
                <a:lnTo>
                  <a:pt x="1035079" y="191500"/>
                </a:lnTo>
                <a:lnTo>
                  <a:pt x="1026458" y="209044"/>
                </a:lnTo>
                <a:lnTo>
                  <a:pt x="992726" y="231036"/>
                </a:lnTo>
                <a:cubicBezTo>
                  <a:pt x="992726" y="231036"/>
                  <a:pt x="979733" y="250433"/>
                  <a:pt x="977984" y="251174"/>
                </a:cubicBezTo>
                <a:cubicBezTo>
                  <a:pt x="976360" y="251916"/>
                  <a:pt x="949499" y="264024"/>
                  <a:pt x="949499" y="264024"/>
                </a:cubicBezTo>
                <a:lnTo>
                  <a:pt x="914143" y="263776"/>
                </a:lnTo>
                <a:lnTo>
                  <a:pt x="892029" y="280826"/>
                </a:lnTo>
                <a:lnTo>
                  <a:pt x="871790" y="292687"/>
                </a:lnTo>
                <a:lnTo>
                  <a:pt x="881910" y="300470"/>
                </a:lnTo>
                <a:lnTo>
                  <a:pt x="878287" y="321844"/>
                </a:lnTo>
                <a:lnTo>
                  <a:pt x="865793" y="330246"/>
                </a:lnTo>
                <a:lnTo>
                  <a:pt x="863544" y="328269"/>
                </a:lnTo>
                <a:lnTo>
                  <a:pt x="866668" y="325304"/>
                </a:lnTo>
                <a:lnTo>
                  <a:pt x="856798" y="322339"/>
                </a:lnTo>
                <a:lnTo>
                  <a:pt x="832311" y="368052"/>
                </a:lnTo>
                <a:lnTo>
                  <a:pt x="813946" y="377812"/>
                </a:lnTo>
                <a:lnTo>
                  <a:pt x="781088" y="437609"/>
                </a:lnTo>
                <a:lnTo>
                  <a:pt x="771218" y="451076"/>
                </a:lnTo>
                <a:lnTo>
                  <a:pt x="787585" y="476527"/>
                </a:lnTo>
                <a:lnTo>
                  <a:pt x="792457" y="494195"/>
                </a:lnTo>
                <a:lnTo>
                  <a:pt x="806699" y="501113"/>
                </a:lnTo>
                <a:lnTo>
                  <a:pt x="830937" y="531012"/>
                </a:lnTo>
                <a:lnTo>
                  <a:pt x="811697" y="551027"/>
                </a:lnTo>
                <a:lnTo>
                  <a:pt x="781463" y="559923"/>
                </a:lnTo>
                <a:lnTo>
                  <a:pt x="783087" y="581173"/>
                </a:lnTo>
                <a:lnTo>
                  <a:pt x="755726" y="622932"/>
                </a:lnTo>
                <a:lnTo>
                  <a:pt x="753353" y="649866"/>
                </a:lnTo>
                <a:lnTo>
                  <a:pt x="761348" y="657032"/>
                </a:lnTo>
                <a:lnTo>
                  <a:pt x="754227" y="669016"/>
                </a:lnTo>
                <a:lnTo>
                  <a:pt x="723119" y="671734"/>
                </a:lnTo>
                <a:lnTo>
                  <a:pt x="668772" y="700150"/>
                </a:lnTo>
                <a:lnTo>
                  <a:pt x="669522" y="718683"/>
                </a:lnTo>
                <a:lnTo>
                  <a:pt x="649532" y="753894"/>
                </a:lnTo>
                <a:lnTo>
                  <a:pt x="629668" y="745863"/>
                </a:lnTo>
                <a:lnTo>
                  <a:pt x="611677" y="731532"/>
                </a:lnTo>
                <a:lnTo>
                  <a:pt x="603307" y="747717"/>
                </a:lnTo>
                <a:lnTo>
                  <a:pt x="589314" y="760689"/>
                </a:lnTo>
                <a:lnTo>
                  <a:pt x="573572" y="749693"/>
                </a:lnTo>
                <a:lnTo>
                  <a:pt x="557581" y="749693"/>
                </a:lnTo>
                <a:cubicBezTo>
                  <a:pt x="557581" y="749693"/>
                  <a:pt x="551709" y="757477"/>
                  <a:pt x="551709" y="757477"/>
                </a:cubicBezTo>
                <a:lnTo>
                  <a:pt x="526597" y="755747"/>
                </a:lnTo>
                <a:lnTo>
                  <a:pt x="488617" y="747099"/>
                </a:lnTo>
                <a:lnTo>
                  <a:pt x="473750" y="755994"/>
                </a:lnTo>
                <a:lnTo>
                  <a:pt x="441142" y="761554"/>
                </a:lnTo>
                <a:lnTo>
                  <a:pt x="413657" y="791082"/>
                </a:lnTo>
                <a:lnTo>
                  <a:pt x="379925" y="796642"/>
                </a:lnTo>
                <a:lnTo>
                  <a:pt x="367556" y="808503"/>
                </a:lnTo>
                <a:lnTo>
                  <a:pt x="367556" y="823205"/>
                </a:lnTo>
                <a:cubicBezTo>
                  <a:pt x="367556" y="823205"/>
                  <a:pt x="341195" y="838772"/>
                  <a:pt x="341195" y="838772"/>
                </a:cubicBezTo>
                <a:lnTo>
                  <a:pt x="311211" y="835189"/>
                </a:lnTo>
                <a:lnTo>
                  <a:pt x="279478" y="806773"/>
                </a:lnTo>
                <a:lnTo>
                  <a:pt x="259988" y="765755"/>
                </a:lnTo>
                <a:lnTo>
                  <a:pt x="263611" y="759824"/>
                </a:lnTo>
                <a:lnTo>
                  <a:pt x="224756" y="725849"/>
                </a:lnTo>
                <a:lnTo>
                  <a:pt x="197646" y="723872"/>
                </a:lnTo>
                <a:lnTo>
                  <a:pt x="182529" y="720536"/>
                </a:lnTo>
                <a:lnTo>
                  <a:pt x="180780" y="699286"/>
                </a:lnTo>
                <a:lnTo>
                  <a:pt x="166662" y="678900"/>
                </a:lnTo>
                <a:lnTo>
                  <a:pt x="186152" y="638747"/>
                </a:lnTo>
                <a:lnTo>
                  <a:pt x="207890" y="619473"/>
                </a:lnTo>
                <a:lnTo>
                  <a:pt x="209764" y="602300"/>
                </a:lnTo>
                <a:lnTo>
                  <a:pt x="189775" y="601806"/>
                </a:lnTo>
                <a:lnTo>
                  <a:pt x="175407" y="576231"/>
                </a:lnTo>
                <a:lnTo>
                  <a:pt x="203268" y="546209"/>
                </a:lnTo>
                <a:lnTo>
                  <a:pt x="200394" y="509638"/>
                </a:lnTo>
                <a:lnTo>
                  <a:pt x="178656" y="497407"/>
                </a:lnTo>
                <a:lnTo>
                  <a:pt x="152919" y="453918"/>
                </a:lnTo>
                <a:lnTo>
                  <a:pt x="175158" y="447740"/>
                </a:lnTo>
                <a:lnTo>
                  <a:pt x="191149" y="449717"/>
                </a:lnTo>
                <a:lnTo>
                  <a:pt x="213512" y="415988"/>
                </a:lnTo>
                <a:lnTo>
                  <a:pt x="196896" y="400915"/>
                </a:lnTo>
                <a:lnTo>
                  <a:pt x="215886" y="380406"/>
                </a:lnTo>
                <a:lnTo>
                  <a:pt x="215886" y="322709"/>
                </a:lnTo>
                <a:cubicBezTo>
                  <a:pt x="215886" y="322709"/>
                  <a:pt x="211014" y="299235"/>
                  <a:pt x="211014" y="299235"/>
                </a:cubicBezTo>
                <a:lnTo>
                  <a:pt x="243996" y="265012"/>
                </a:lnTo>
                <a:lnTo>
                  <a:pt x="257239" y="264394"/>
                </a:lnTo>
                <a:lnTo>
                  <a:pt x="261737" y="245862"/>
                </a:lnTo>
                <a:lnTo>
                  <a:pt x="241997" y="220411"/>
                </a:lnTo>
                <a:lnTo>
                  <a:pt x="238374" y="198296"/>
                </a:lnTo>
                <a:lnTo>
                  <a:pt x="194397" y="194960"/>
                </a:lnTo>
                <a:lnTo>
                  <a:pt x="177906" y="212751"/>
                </a:lnTo>
                <a:lnTo>
                  <a:pt x="127183" y="204473"/>
                </a:lnTo>
                <a:lnTo>
                  <a:pt x="97449" y="221523"/>
                </a:lnTo>
                <a:lnTo>
                  <a:pt x="88953" y="208797"/>
                </a:lnTo>
                <a:lnTo>
                  <a:pt x="90702" y="189029"/>
                </a:lnTo>
                <a:lnTo>
                  <a:pt x="75085" y="185570"/>
                </a:lnTo>
                <a:lnTo>
                  <a:pt x="34607" y="193601"/>
                </a:lnTo>
                <a:lnTo>
                  <a:pt x="33982" y="188535"/>
                </a:lnTo>
                <a:lnTo>
                  <a:pt x="54721" y="169138"/>
                </a:lnTo>
                <a:lnTo>
                  <a:pt x="39354" y="167038"/>
                </a:lnTo>
                <a:lnTo>
                  <a:pt x="49349" y="155671"/>
                </a:lnTo>
                <a:lnTo>
                  <a:pt x="42103" y="149123"/>
                </a:lnTo>
                <a:lnTo>
                  <a:pt x="45476" y="129726"/>
                </a:lnTo>
                <a:lnTo>
                  <a:pt x="31483" y="144058"/>
                </a:lnTo>
                <a:lnTo>
                  <a:pt x="24487" y="141587"/>
                </a:lnTo>
                <a:lnTo>
                  <a:pt x="28235" y="116012"/>
                </a:lnTo>
                <a:lnTo>
                  <a:pt x="20489" y="112923"/>
                </a:lnTo>
                <a:lnTo>
                  <a:pt x="20739" y="102669"/>
                </a:lnTo>
                <a:lnTo>
                  <a:pt x="9120" y="107240"/>
                </a:lnTo>
                <a:lnTo>
                  <a:pt x="0" y="88337"/>
                </a:lnTo>
                <a:lnTo>
                  <a:pt x="8870" y="68075"/>
                </a:lnTo>
                <a:lnTo>
                  <a:pt x="42977" y="54238"/>
                </a:lnTo>
                <a:lnTo>
                  <a:pt x="54971" y="59180"/>
                </a:lnTo>
                <a:lnTo>
                  <a:pt x="83956" y="54485"/>
                </a:lnTo>
                <a:lnTo>
                  <a:pt x="97324" y="43613"/>
                </a:lnTo>
                <a:lnTo>
                  <a:pt x="85830" y="36570"/>
                </a:lnTo>
                <a:lnTo>
                  <a:pt x="83206" y="24339"/>
                </a:lnTo>
                <a:lnTo>
                  <a:pt x="115689" y="4448"/>
                </a:lnTo>
                <a:lnTo>
                  <a:pt x="120811" y="10378"/>
                </a:lnTo>
                <a:lnTo>
                  <a:pt x="134304" y="247"/>
                </a:lnTo>
                <a:lnTo>
                  <a:pt x="157417" y="4077"/>
                </a:lnTo>
                <a:lnTo>
                  <a:pt x="177906" y="27304"/>
                </a:lnTo>
                <a:lnTo>
                  <a:pt x="193898" y="12849"/>
                </a:lnTo>
                <a:lnTo>
                  <a:pt x="212638" y="12108"/>
                </a:lnTo>
                <a:lnTo>
                  <a:pt x="234501" y="20138"/>
                </a:lnTo>
                <a:lnTo>
                  <a:pt x="257739" y="9513"/>
                </a:lnTo>
                <a:lnTo>
                  <a:pt x="286599" y="0"/>
                </a:lnTo>
                <a:lnTo>
                  <a:pt x="293220" y="8031"/>
                </a:lnTo>
                <a:lnTo>
                  <a:pt x="317333" y="20015"/>
                </a:lnTo>
                <a:lnTo>
                  <a:pt x="382923" y="27551"/>
                </a:lnTo>
                <a:lnTo>
                  <a:pt x="413032" y="33111"/>
                </a:lnTo>
                <a:lnTo>
                  <a:pt x="456634" y="12726"/>
                </a:lnTo>
                <a:lnTo>
                  <a:pt x="489992" y="14085"/>
                </a:lnTo>
                <a:lnTo>
                  <a:pt x="496863" y="28293"/>
                </a:lnTo>
                <a:lnTo>
                  <a:pt x="529721" y="33111"/>
                </a:lnTo>
                <a:lnTo>
                  <a:pt x="545712" y="15938"/>
                </a:lnTo>
                <a:lnTo>
                  <a:pt x="561704" y="15196"/>
                </a:lnTo>
                <a:lnTo>
                  <a:pt x="611552" y="41265"/>
                </a:lnTo>
                <a:lnTo>
                  <a:pt x="620048" y="27798"/>
                </a:lnTo>
                <a:lnTo>
                  <a:pt x="633166" y="25822"/>
                </a:lnTo>
                <a:lnTo>
                  <a:pt x="640912" y="20756"/>
                </a:lnTo>
                <a:lnTo>
                  <a:pt x="640912" y="20756"/>
                </a:lnTo>
                <a:close/>
                <a:moveTo>
                  <a:pt x="1100794" y="398815"/>
                </a:moveTo>
                <a:lnTo>
                  <a:pt x="1130654" y="400174"/>
                </a:lnTo>
                <a:lnTo>
                  <a:pt x="1145521" y="407464"/>
                </a:lnTo>
                <a:lnTo>
                  <a:pt x="1149768" y="398074"/>
                </a:lnTo>
                <a:lnTo>
                  <a:pt x="1130404" y="379912"/>
                </a:lnTo>
                <a:lnTo>
                  <a:pt x="1104168" y="386213"/>
                </a:lnTo>
                <a:lnTo>
                  <a:pt x="1100794" y="398815"/>
                </a:lnTo>
                <a:lnTo>
                  <a:pt x="1100794" y="398815"/>
                </a:lnTo>
                <a:close/>
                <a:moveTo>
                  <a:pt x="1050571" y="461825"/>
                </a:moveTo>
                <a:lnTo>
                  <a:pt x="1057442" y="437980"/>
                </a:lnTo>
                <a:lnTo>
                  <a:pt x="1077182" y="418830"/>
                </a:lnTo>
                <a:lnTo>
                  <a:pt x="1058692" y="418336"/>
                </a:lnTo>
                <a:lnTo>
                  <a:pt x="1037328" y="415988"/>
                </a:lnTo>
                <a:lnTo>
                  <a:pt x="1019962" y="428467"/>
                </a:lnTo>
                <a:lnTo>
                  <a:pt x="1016714" y="444281"/>
                </a:lnTo>
                <a:lnTo>
                  <a:pt x="1035454" y="449347"/>
                </a:lnTo>
                <a:lnTo>
                  <a:pt x="1050571" y="461825"/>
                </a:lnTo>
                <a:lnTo>
                  <a:pt x="1050571" y="461825"/>
                </a:lnTo>
                <a:close/>
                <a:moveTo>
                  <a:pt x="941503" y="526688"/>
                </a:moveTo>
                <a:lnTo>
                  <a:pt x="951373" y="511862"/>
                </a:lnTo>
                <a:lnTo>
                  <a:pt x="960868" y="501608"/>
                </a:lnTo>
                <a:lnTo>
                  <a:pt x="952997" y="490118"/>
                </a:lnTo>
                <a:lnTo>
                  <a:pt x="929510" y="498272"/>
                </a:lnTo>
                <a:lnTo>
                  <a:pt x="927511" y="514704"/>
                </a:lnTo>
                <a:lnTo>
                  <a:pt x="941253" y="52656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4" name="Graphic 159">
            <a:extLst>
              <a:ext uri="{FF2B5EF4-FFF2-40B4-BE49-F238E27FC236}">
                <a16:creationId xmlns:a16="http://schemas.microsoft.com/office/drawing/2014/main" id="{E93B3BC1-E51C-2162-6394-51A1099A0F29}"/>
              </a:ext>
            </a:extLst>
          </p:cNvPr>
          <p:cNvSpPr/>
          <p:nvPr/>
        </p:nvSpPr>
        <p:spPr>
          <a:xfrm rot="1141104">
            <a:off x="5285514" y="3443442"/>
            <a:ext cx="272356" cy="561899"/>
          </a:xfrm>
          <a:custGeom>
            <a:avLst/>
            <a:gdLst>
              <a:gd name="connsiteX0" fmla="*/ 193023 w 272356"/>
              <a:gd name="connsiteY0" fmla="*/ 535089 h 561899"/>
              <a:gd name="connsiteX1" fmla="*/ 191274 w 272356"/>
              <a:gd name="connsiteY1" fmla="*/ 513839 h 561899"/>
              <a:gd name="connsiteX2" fmla="*/ 177157 w 272356"/>
              <a:gd name="connsiteY2" fmla="*/ 493454 h 561899"/>
              <a:gd name="connsiteX3" fmla="*/ 196521 w 272356"/>
              <a:gd name="connsiteY3" fmla="*/ 453300 h 561899"/>
              <a:gd name="connsiteX4" fmla="*/ 218260 w 272356"/>
              <a:gd name="connsiteY4" fmla="*/ 433903 h 561899"/>
              <a:gd name="connsiteX5" fmla="*/ 220259 w 272356"/>
              <a:gd name="connsiteY5" fmla="*/ 416853 h 561899"/>
              <a:gd name="connsiteX6" fmla="*/ 200269 w 272356"/>
              <a:gd name="connsiteY6" fmla="*/ 416359 h 561899"/>
              <a:gd name="connsiteX7" fmla="*/ 185902 w 272356"/>
              <a:gd name="connsiteY7" fmla="*/ 390785 h 561899"/>
              <a:gd name="connsiteX8" fmla="*/ 213762 w 272356"/>
              <a:gd name="connsiteY8" fmla="*/ 360762 h 561899"/>
              <a:gd name="connsiteX9" fmla="*/ 210889 w 272356"/>
              <a:gd name="connsiteY9" fmla="*/ 324068 h 561899"/>
              <a:gd name="connsiteX10" fmla="*/ 189025 w 272356"/>
              <a:gd name="connsiteY10" fmla="*/ 311960 h 561899"/>
              <a:gd name="connsiteX11" fmla="*/ 163289 w 272356"/>
              <a:gd name="connsiteY11" fmla="*/ 268471 h 561899"/>
              <a:gd name="connsiteX12" fmla="*/ 185652 w 272356"/>
              <a:gd name="connsiteY12" fmla="*/ 262170 h 561899"/>
              <a:gd name="connsiteX13" fmla="*/ 201644 w 272356"/>
              <a:gd name="connsiteY13" fmla="*/ 264147 h 561899"/>
              <a:gd name="connsiteX14" fmla="*/ 224007 w 272356"/>
              <a:gd name="connsiteY14" fmla="*/ 230418 h 561899"/>
              <a:gd name="connsiteX15" fmla="*/ 207391 w 272356"/>
              <a:gd name="connsiteY15" fmla="*/ 215345 h 561899"/>
              <a:gd name="connsiteX16" fmla="*/ 226506 w 272356"/>
              <a:gd name="connsiteY16" fmla="*/ 194836 h 561899"/>
              <a:gd name="connsiteX17" fmla="*/ 226630 w 272356"/>
              <a:gd name="connsiteY17" fmla="*/ 137139 h 561899"/>
              <a:gd name="connsiteX18" fmla="*/ 221633 w 272356"/>
              <a:gd name="connsiteY18" fmla="*/ 113788 h 561899"/>
              <a:gd name="connsiteX19" fmla="*/ 254616 w 272356"/>
              <a:gd name="connsiteY19" fmla="*/ 79565 h 561899"/>
              <a:gd name="connsiteX20" fmla="*/ 267859 w 272356"/>
              <a:gd name="connsiteY20" fmla="*/ 78948 h 561899"/>
              <a:gd name="connsiteX21" fmla="*/ 272356 w 272356"/>
              <a:gd name="connsiteY21" fmla="*/ 60415 h 561899"/>
              <a:gd name="connsiteX22" fmla="*/ 252617 w 272356"/>
              <a:gd name="connsiteY22" fmla="*/ 35088 h 561899"/>
              <a:gd name="connsiteX23" fmla="*/ 248994 w 272356"/>
              <a:gd name="connsiteY23" fmla="*/ 12849 h 561899"/>
              <a:gd name="connsiteX24" fmla="*/ 205142 w 272356"/>
              <a:gd name="connsiteY24" fmla="*/ 9513 h 561899"/>
              <a:gd name="connsiteX25" fmla="*/ 188650 w 272356"/>
              <a:gd name="connsiteY25" fmla="*/ 27304 h 561899"/>
              <a:gd name="connsiteX26" fmla="*/ 137927 w 272356"/>
              <a:gd name="connsiteY26" fmla="*/ 18903 h 561899"/>
              <a:gd name="connsiteX27" fmla="*/ 108068 w 272356"/>
              <a:gd name="connsiteY27" fmla="*/ 35953 h 561899"/>
              <a:gd name="connsiteX28" fmla="*/ 99572 w 272356"/>
              <a:gd name="connsiteY28" fmla="*/ 23227 h 561899"/>
              <a:gd name="connsiteX29" fmla="*/ 101322 w 272356"/>
              <a:gd name="connsiteY29" fmla="*/ 3459 h 561899"/>
              <a:gd name="connsiteX30" fmla="*/ 85705 w 272356"/>
              <a:gd name="connsiteY30" fmla="*/ 0 h 561899"/>
              <a:gd name="connsiteX31" fmla="*/ 45351 w 272356"/>
              <a:gd name="connsiteY31" fmla="*/ 8031 h 561899"/>
              <a:gd name="connsiteX32" fmla="*/ 47850 w 272356"/>
              <a:gd name="connsiteY32" fmla="*/ 26810 h 561899"/>
              <a:gd name="connsiteX33" fmla="*/ 62967 w 272356"/>
              <a:gd name="connsiteY33" fmla="*/ 57203 h 561899"/>
              <a:gd name="connsiteX34" fmla="*/ 59219 w 272356"/>
              <a:gd name="connsiteY34" fmla="*/ 114406 h 561899"/>
              <a:gd name="connsiteX35" fmla="*/ 63092 w 272356"/>
              <a:gd name="connsiteY35" fmla="*/ 123178 h 561899"/>
              <a:gd name="connsiteX36" fmla="*/ 57220 w 272356"/>
              <a:gd name="connsiteY36" fmla="*/ 148876 h 561899"/>
              <a:gd name="connsiteX37" fmla="*/ 71088 w 272356"/>
              <a:gd name="connsiteY37" fmla="*/ 163331 h 561899"/>
              <a:gd name="connsiteX38" fmla="*/ 61967 w 272356"/>
              <a:gd name="connsiteY38" fmla="*/ 176798 h 561899"/>
              <a:gd name="connsiteX39" fmla="*/ 51848 w 272356"/>
              <a:gd name="connsiteY39" fmla="*/ 200643 h 561899"/>
              <a:gd name="connsiteX40" fmla="*/ 51723 w 272356"/>
              <a:gd name="connsiteY40" fmla="*/ 230171 h 561899"/>
              <a:gd name="connsiteX41" fmla="*/ 32233 w 272356"/>
              <a:gd name="connsiteY41" fmla="*/ 260564 h 561899"/>
              <a:gd name="connsiteX42" fmla="*/ 32983 w 272356"/>
              <a:gd name="connsiteY42" fmla="*/ 277737 h 561899"/>
              <a:gd name="connsiteX43" fmla="*/ 10245 w 272356"/>
              <a:gd name="connsiteY43" fmla="*/ 313072 h 561899"/>
              <a:gd name="connsiteX44" fmla="*/ 0 w 272356"/>
              <a:gd name="connsiteY44" fmla="*/ 366445 h 561899"/>
              <a:gd name="connsiteX45" fmla="*/ 1249 w 272356"/>
              <a:gd name="connsiteY45" fmla="*/ 379418 h 561899"/>
              <a:gd name="connsiteX46" fmla="*/ 19989 w 272356"/>
              <a:gd name="connsiteY46" fmla="*/ 378677 h 561899"/>
              <a:gd name="connsiteX47" fmla="*/ 28485 w 272356"/>
              <a:gd name="connsiteY47" fmla="*/ 365210 h 561899"/>
              <a:gd name="connsiteX48" fmla="*/ 46725 w 272356"/>
              <a:gd name="connsiteY48" fmla="*/ 352732 h 561899"/>
              <a:gd name="connsiteX49" fmla="*/ 44477 w 272356"/>
              <a:gd name="connsiteY49" fmla="*/ 364469 h 561899"/>
              <a:gd name="connsiteX50" fmla="*/ 49724 w 272356"/>
              <a:gd name="connsiteY50" fmla="*/ 373982 h 561899"/>
              <a:gd name="connsiteX51" fmla="*/ 23238 w 272356"/>
              <a:gd name="connsiteY51" fmla="*/ 388190 h 561899"/>
              <a:gd name="connsiteX52" fmla="*/ 22738 w 272356"/>
              <a:gd name="connsiteY52" fmla="*/ 407340 h 561899"/>
              <a:gd name="connsiteX53" fmla="*/ 31358 w 272356"/>
              <a:gd name="connsiteY53" fmla="*/ 415988 h 561899"/>
              <a:gd name="connsiteX54" fmla="*/ 44726 w 272356"/>
              <a:gd name="connsiteY54" fmla="*/ 402275 h 561899"/>
              <a:gd name="connsiteX55" fmla="*/ 68339 w 272356"/>
              <a:gd name="connsiteY55" fmla="*/ 402027 h 561899"/>
              <a:gd name="connsiteX56" fmla="*/ 59094 w 272356"/>
              <a:gd name="connsiteY56" fmla="*/ 414753 h 561899"/>
              <a:gd name="connsiteX57" fmla="*/ 66465 w 272356"/>
              <a:gd name="connsiteY57" fmla="*/ 438474 h 561899"/>
              <a:gd name="connsiteX58" fmla="*/ 58344 w 272356"/>
              <a:gd name="connsiteY58" fmla="*/ 460219 h 561899"/>
              <a:gd name="connsiteX59" fmla="*/ 61842 w 272356"/>
              <a:gd name="connsiteY59" fmla="*/ 508156 h 561899"/>
              <a:gd name="connsiteX60" fmla="*/ 54346 w 272356"/>
              <a:gd name="connsiteY60" fmla="*/ 542873 h 561899"/>
              <a:gd name="connsiteX61" fmla="*/ 47850 w 272356"/>
              <a:gd name="connsiteY61" fmla="*/ 553375 h 561899"/>
              <a:gd name="connsiteX62" fmla="*/ 54971 w 272356"/>
              <a:gd name="connsiteY62" fmla="*/ 558564 h 561899"/>
              <a:gd name="connsiteX63" fmla="*/ 81207 w 272356"/>
              <a:gd name="connsiteY63" fmla="*/ 538919 h 561899"/>
              <a:gd name="connsiteX64" fmla="*/ 120062 w 272356"/>
              <a:gd name="connsiteY64" fmla="*/ 552386 h 561899"/>
              <a:gd name="connsiteX65" fmla="*/ 137802 w 272356"/>
              <a:gd name="connsiteY65" fmla="*/ 561900 h 561899"/>
              <a:gd name="connsiteX66" fmla="*/ 164288 w 272356"/>
              <a:gd name="connsiteY66" fmla="*/ 545715 h 561899"/>
              <a:gd name="connsiteX67" fmla="*/ 188401 w 272356"/>
              <a:gd name="connsiteY67" fmla="*/ 542626 h 561899"/>
              <a:gd name="connsiteX68" fmla="*/ 192274 w 272356"/>
              <a:gd name="connsiteY68" fmla="*/ 534842 h 561899"/>
              <a:gd name="connsiteX69" fmla="*/ 193023 w 272356"/>
              <a:gd name="connsiteY69" fmla="*/ 535089 h 56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72356" h="561899">
                <a:moveTo>
                  <a:pt x="193023" y="535089"/>
                </a:moveTo>
                <a:lnTo>
                  <a:pt x="191274" y="513839"/>
                </a:lnTo>
                <a:lnTo>
                  <a:pt x="177157" y="493454"/>
                </a:lnTo>
                <a:lnTo>
                  <a:pt x="196521" y="453300"/>
                </a:lnTo>
                <a:lnTo>
                  <a:pt x="218260" y="433903"/>
                </a:lnTo>
                <a:lnTo>
                  <a:pt x="220259" y="416853"/>
                </a:lnTo>
                <a:lnTo>
                  <a:pt x="200269" y="416359"/>
                </a:lnTo>
                <a:lnTo>
                  <a:pt x="185902" y="390785"/>
                </a:lnTo>
                <a:lnTo>
                  <a:pt x="213762" y="360762"/>
                </a:lnTo>
                <a:lnTo>
                  <a:pt x="210889" y="324068"/>
                </a:lnTo>
                <a:lnTo>
                  <a:pt x="189025" y="311960"/>
                </a:lnTo>
                <a:lnTo>
                  <a:pt x="163289" y="268471"/>
                </a:lnTo>
                <a:lnTo>
                  <a:pt x="185652" y="262170"/>
                </a:lnTo>
                <a:lnTo>
                  <a:pt x="201644" y="264147"/>
                </a:lnTo>
                <a:lnTo>
                  <a:pt x="224007" y="230418"/>
                </a:lnTo>
                <a:lnTo>
                  <a:pt x="207391" y="215345"/>
                </a:lnTo>
                <a:lnTo>
                  <a:pt x="226506" y="194836"/>
                </a:lnTo>
                <a:lnTo>
                  <a:pt x="226630" y="137139"/>
                </a:lnTo>
                <a:lnTo>
                  <a:pt x="221633" y="113788"/>
                </a:lnTo>
                <a:lnTo>
                  <a:pt x="254616" y="79565"/>
                </a:lnTo>
                <a:lnTo>
                  <a:pt x="267859" y="78948"/>
                </a:lnTo>
                <a:lnTo>
                  <a:pt x="272356" y="60415"/>
                </a:lnTo>
                <a:lnTo>
                  <a:pt x="252617" y="35088"/>
                </a:lnTo>
                <a:lnTo>
                  <a:pt x="248994" y="12849"/>
                </a:lnTo>
                <a:lnTo>
                  <a:pt x="205142" y="9513"/>
                </a:lnTo>
                <a:lnTo>
                  <a:pt x="188650" y="27304"/>
                </a:lnTo>
                <a:lnTo>
                  <a:pt x="137927" y="18903"/>
                </a:lnTo>
                <a:lnTo>
                  <a:pt x="108068" y="35953"/>
                </a:lnTo>
                <a:lnTo>
                  <a:pt x="99572" y="23227"/>
                </a:lnTo>
                <a:lnTo>
                  <a:pt x="101322" y="3459"/>
                </a:lnTo>
                <a:lnTo>
                  <a:pt x="85705" y="0"/>
                </a:lnTo>
                <a:lnTo>
                  <a:pt x="45351" y="8031"/>
                </a:lnTo>
                <a:lnTo>
                  <a:pt x="47850" y="26810"/>
                </a:lnTo>
                <a:lnTo>
                  <a:pt x="62967" y="57203"/>
                </a:lnTo>
                <a:lnTo>
                  <a:pt x="59219" y="114406"/>
                </a:lnTo>
                <a:lnTo>
                  <a:pt x="63092" y="123178"/>
                </a:lnTo>
                <a:lnTo>
                  <a:pt x="57220" y="148876"/>
                </a:lnTo>
                <a:lnTo>
                  <a:pt x="71088" y="163331"/>
                </a:lnTo>
                <a:lnTo>
                  <a:pt x="61967" y="176798"/>
                </a:lnTo>
                <a:lnTo>
                  <a:pt x="51848" y="200643"/>
                </a:lnTo>
                <a:lnTo>
                  <a:pt x="51723" y="230171"/>
                </a:lnTo>
                <a:lnTo>
                  <a:pt x="32233" y="260564"/>
                </a:lnTo>
                <a:lnTo>
                  <a:pt x="32983" y="277737"/>
                </a:lnTo>
                <a:lnTo>
                  <a:pt x="10245" y="313072"/>
                </a:lnTo>
                <a:lnTo>
                  <a:pt x="0" y="366445"/>
                </a:lnTo>
                <a:lnTo>
                  <a:pt x="1249" y="379418"/>
                </a:lnTo>
                <a:lnTo>
                  <a:pt x="19989" y="378677"/>
                </a:lnTo>
                <a:lnTo>
                  <a:pt x="28485" y="365210"/>
                </a:lnTo>
                <a:lnTo>
                  <a:pt x="46725" y="352732"/>
                </a:lnTo>
                <a:lnTo>
                  <a:pt x="44477" y="364469"/>
                </a:lnTo>
                <a:lnTo>
                  <a:pt x="49724" y="373982"/>
                </a:lnTo>
                <a:lnTo>
                  <a:pt x="23238" y="388190"/>
                </a:lnTo>
                <a:lnTo>
                  <a:pt x="22738" y="407340"/>
                </a:lnTo>
                <a:lnTo>
                  <a:pt x="31358" y="415988"/>
                </a:lnTo>
                <a:lnTo>
                  <a:pt x="44726" y="402275"/>
                </a:lnTo>
                <a:lnTo>
                  <a:pt x="68339" y="402027"/>
                </a:lnTo>
                <a:lnTo>
                  <a:pt x="59094" y="414753"/>
                </a:lnTo>
                <a:lnTo>
                  <a:pt x="66465" y="438474"/>
                </a:lnTo>
                <a:lnTo>
                  <a:pt x="58344" y="460219"/>
                </a:lnTo>
                <a:lnTo>
                  <a:pt x="61842" y="508156"/>
                </a:lnTo>
                <a:lnTo>
                  <a:pt x="54346" y="542873"/>
                </a:lnTo>
                <a:lnTo>
                  <a:pt x="47850" y="553375"/>
                </a:lnTo>
                <a:lnTo>
                  <a:pt x="54971" y="558564"/>
                </a:lnTo>
                <a:lnTo>
                  <a:pt x="81207" y="538919"/>
                </a:lnTo>
                <a:lnTo>
                  <a:pt x="120062" y="552386"/>
                </a:lnTo>
                <a:lnTo>
                  <a:pt x="137802" y="561900"/>
                </a:lnTo>
                <a:lnTo>
                  <a:pt x="164288" y="545715"/>
                </a:lnTo>
                <a:lnTo>
                  <a:pt x="188401" y="542626"/>
                </a:lnTo>
                <a:lnTo>
                  <a:pt x="192274" y="534842"/>
                </a:lnTo>
                <a:lnTo>
                  <a:pt x="193023" y="535089"/>
                </a:lnTo>
                <a:close/>
              </a:path>
            </a:pathLst>
          </a:custGeom>
          <a:solidFill>
            <a:schemeClr val="bg2"/>
          </a:solidFill>
          <a:ln w="7112" cap="flat">
            <a:solidFill>
              <a:schemeClr val="accent4"/>
            </a:solidFill>
            <a:prstDash val="solid"/>
            <a:miter/>
          </a:ln>
        </p:spPr>
        <p:txBody>
          <a:bodyPr rtlCol="0" anchor="ctr"/>
          <a:lstStyle/>
          <a:p>
            <a:endParaRPr lang="en-GB"/>
          </a:p>
        </p:txBody>
      </p:sp>
      <p:sp>
        <p:nvSpPr>
          <p:cNvPr id="6" name="Graphic 128">
            <a:extLst>
              <a:ext uri="{FF2B5EF4-FFF2-40B4-BE49-F238E27FC236}">
                <a16:creationId xmlns:a16="http://schemas.microsoft.com/office/drawing/2014/main" id="{1F963A4F-15F0-4119-0E55-86D54F904880}"/>
              </a:ext>
            </a:extLst>
          </p:cNvPr>
          <p:cNvSpPr/>
          <p:nvPr/>
        </p:nvSpPr>
        <p:spPr>
          <a:xfrm rot="1141104">
            <a:off x="5928337" y="1529965"/>
            <a:ext cx="802950" cy="1176182"/>
          </a:xfrm>
          <a:custGeom>
            <a:avLst/>
            <a:gdLst>
              <a:gd name="connsiteX0" fmla="*/ 147047 w 802950"/>
              <a:gd name="connsiteY0" fmla="*/ 668645 h 1176182"/>
              <a:gd name="connsiteX1" fmla="*/ 126683 w 802950"/>
              <a:gd name="connsiteY1" fmla="*/ 656537 h 1176182"/>
              <a:gd name="connsiteX2" fmla="*/ 113315 w 802950"/>
              <a:gd name="connsiteY2" fmla="*/ 654437 h 1176182"/>
              <a:gd name="connsiteX3" fmla="*/ 94700 w 802950"/>
              <a:gd name="connsiteY3" fmla="*/ 621079 h 1176182"/>
              <a:gd name="connsiteX4" fmla="*/ 67589 w 802950"/>
              <a:gd name="connsiteY4" fmla="*/ 609094 h 1176182"/>
              <a:gd name="connsiteX5" fmla="*/ 57345 w 802950"/>
              <a:gd name="connsiteY5" fmla="*/ 617372 h 1176182"/>
              <a:gd name="connsiteX6" fmla="*/ 53097 w 802950"/>
              <a:gd name="connsiteY6" fmla="*/ 642452 h 1176182"/>
              <a:gd name="connsiteX7" fmla="*/ 39979 w 802950"/>
              <a:gd name="connsiteY7" fmla="*/ 645665 h 1176182"/>
              <a:gd name="connsiteX8" fmla="*/ 0 w 802950"/>
              <a:gd name="connsiteY8" fmla="*/ 611936 h 1176182"/>
              <a:gd name="connsiteX9" fmla="*/ 18115 w 802950"/>
              <a:gd name="connsiteY9" fmla="*/ 570424 h 1176182"/>
              <a:gd name="connsiteX10" fmla="*/ 36606 w 802950"/>
              <a:gd name="connsiteY10" fmla="*/ 567088 h 1176182"/>
              <a:gd name="connsiteX11" fmla="*/ 41228 w 802950"/>
              <a:gd name="connsiteY11" fmla="*/ 551150 h 1176182"/>
              <a:gd name="connsiteX12" fmla="*/ 53097 w 802950"/>
              <a:gd name="connsiteY12" fmla="*/ 544108 h 1176182"/>
              <a:gd name="connsiteX13" fmla="*/ 61592 w 802950"/>
              <a:gd name="connsiteY13" fmla="*/ 534471 h 1176182"/>
              <a:gd name="connsiteX14" fmla="*/ 78708 w 802950"/>
              <a:gd name="connsiteY14" fmla="*/ 530394 h 1176182"/>
              <a:gd name="connsiteX15" fmla="*/ 83956 w 802950"/>
              <a:gd name="connsiteY15" fmla="*/ 523846 h 1176182"/>
              <a:gd name="connsiteX16" fmla="*/ 94325 w 802950"/>
              <a:gd name="connsiteY16" fmla="*/ 522363 h 1176182"/>
              <a:gd name="connsiteX17" fmla="*/ 111191 w 802950"/>
              <a:gd name="connsiteY17" fmla="*/ 510379 h 1176182"/>
              <a:gd name="connsiteX18" fmla="*/ 139052 w 802950"/>
              <a:gd name="connsiteY18" fmla="*/ 511862 h 1176182"/>
              <a:gd name="connsiteX19" fmla="*/ 152919 w 802950"/>
              <a:gd name="connsiteY19" fmla="*/ 518533 h 1176182"/>
              <a:gd name="connsiteX20" fmla="*/ 155418 w 802950"/>
              <a:gd name="connsiteY20" fmla="*/ 535212 h 1176182"/>
              <a:gd name="connsiteX21" fmla="*/ 183778 w 802950"/>
              <a:gd name="connsiteY21" fmla="*/ 571659 h 1176182"/>
              <a:gd name="connsiteX22" fmla="*/ 170660 w 802950"/>
              <a:gd name="connsiteY22" fmla="*/ 582037 h 1176182"/>
              <a:gd name="connsiteX23" fmla="*/ 195397 w 802950"/>
              <a:gd name="connsiteY23" fmla="*/ 582284 h 1176182"/>
              <a:gd name="connsiteX24" fmla="*/ 202643 w 802950"/>
              <a:gd name="connsiteY24" fmla="*/ 621696 h 1176182"/>
              <a:gd name="connsiteX25" fmla="*/ 190899 w 802950"/>
              <a:gd name="connsiteY25" fmla="*/ 591180 h 1176182"/>
              <a:gd name="connsiteX26" fmla="*/ 180904 w 802950"/>
              <a:gd name="connsiteY26" fmla="*/ 593033 h 1176182"/>
              <a:gd name="connsiteX27" fmla="*/ 186526 w 802950"/>
              <a:gd name="connsiteY27" fmla="*/ 603288 h 1176182"/>
              <a:gd name="connsiteX28" fmla="*/ 181904 w 802950"/>
              <a:gd name="connsiteY28" fmla="*/ 617496 h 1176182"/>
              <a:gd name="connsiteX29" fmla="*/ 195522 w 802950"/>
              <a:gd name="connsiteY29" fmla="*/ 619596 h 1176182"/>
              <a:gd name="connsiteX30" fmla="*/ 193148 w 802950"/>
              <a:gd name="connsiteY30" fmla="*/ 634669 h 1176182"/>
              <a:gd name="connsiteX31" fmla="*/ 171409 w 802950"/>
              <a:gd name="connsiteY31" fmla="*/ 632939 h 1176182"/>
              <a:gd name="connsiteX32" fmla="*/ 170535 w 802950"/>
              <a:gd name="connsiteY32" fmla="*/ 645541 h 1176182"/>
              <a:gd name="connsiteX33" fmla="*/ 157042 w 802950"/>
              <a:gd name="connsiteY33" fmla="*/ 657402 h 1176182"/>
              <a:gd name="connsiteX34" fmla="*/ 148671 w 802950"/>
              <a:gd name="connsiteY34" fmla="*/ 655672 h 1176182"/>
              <a:gd name="connsiteX35" fmla="*/ 150670 w 802950"/>
              <a:gd name="connsiteY35" fmla="*/ 668892 h 1176182"/>
              <a:gd name="connsiteX36" fmla="*/ 147047 w 802950"/>
              <a:gd name="connsiteY36" fmla="*/ 668521 h 1176182"/>
              <a:gd name="connsiteX37" fmla="*/ 147047 w 802950"/>
              <a:gd name="connsiteY37" fmla="*/ 668521 h 1176182"/>
              <a:gd name="connsiteX38" fmla="*/ 730864 w 802950"/>
              <a:gd name="connsiteY38" fmla="*/ 961825 h 1176182"/>
              <a:gd name="connsiteX39" fmla="*/ 741983 w 802950"/>
              <a:gd name="connsiteY39" fmla="*/ 966891 h 1176182"/>
              <a:gd name="connsiteX40" fmla="*/ 751353 w 802950"/>
              <a:gd name="connsiteY40" fmla="*/ 964049 h 1176182"/>
              <a:gd name="connsiteX41" fmla="*/ 745731 w 802950"/>
              <a:gd name="connsiteY41" fmla="*/ 957872 h 1176182"/>
              <a:gd name="connsiteX42" fmla="*/ 737111 w 802950"/>
              <a:gd name="connsiteY42" fmla="*/ 958119 h 1176182"/>
              <a:gd name="connsiteX43" fmla="*/ 730864 w 802950"/>
              <a:gd name="connsiteY43" fmla="*/ 961949 h 1176182"/>
              <a:gd name="connsiteX44" fmla="*/ 730864 w 802950"/>
              <a:gd name="connsiteY44" fmla="*/ 961949 h 1176182"/>
              <a:gd name="connsiteX45" fmla="*/ 547336 w 802950"/>
              <a:gd name="connsiteY45" fmla="*/ 1073019 h 1176182"/>
              <a:gd name="connsiteX46" fmla="*/ 571073 w 802950"/>
              <a:gd name="connsiteY46" fmla="*/ 1059305 h 1176182"/>
              <a:gd name="connsiteX47" fmla="*/ 580318 w 802950"/>
              <a:gd name="connsiteY47" fmla="*/ 1065483 h 1176182"/>
              <a:gd name="connsiteX48" fmla="*/ 589314 w 802950"/>
              <a:gd name="connsiteY48" fmla="*/ 1064000 h 1176182"/>
              <a:gd name="connsiteX49" fmla="*/ 583817 w 802950"/>
              <a:gd name="connsiteY49" fmla="*/ 1074378 h 1176182"/>
              <a:gd name="connsiteX50" fmla="*/ 584066 w 802950"/>
              <a:gd name="connsiteY50" fmla="*/ 1080556 h 1176182"/>
              <a:gd name="connsiteX51" fmla="*/ 572073 w 802950"/>
              <a:gd name="connsiteY51" fmla="*/ 1083274 h 1176182"/>
              <a:gd name="connsiteX52" fmla="*/ 559205 w 802950"/>
              <a:gd name="connsiteY52" fmla="*/ 1074749 h 1176182"/>
              <a:gd name="connsiteX53" fmla="*/ 547336 w 802950"/>
              <a:gd name="connsiteY53" fmla="*/ 1072896 h 1176182"/>
              <a:gd name="connsiteX54" fmla="*/ 547336 w 802950"/>
              <a:gd name="connsiteY54" fmla="*/ 1072896 h 1176182"/>
              <a:gd name="connsiteX55" fmla="*/ 221883 w 802950"/>
              <a:gd name="connsiteY55" fmla="*/ 425378 h 1176182"/>
              <a:gd name="connsiteX56" fmla="*/ 221008 w 802950"/>
              <a:gd name="connsiteY56" fmla="*/ 437609 h 1176182"/>
              <a:gd name="connsiteX57" fmla="*/ 231503 w 802950"/>
              <a:gd name="connsiteY57" fmla="*/ 445516 h 1176182"/>
              <a:gd name="connsiteX58" fmla="*/ 229879 w 802950"/>
              <a:gd name="connsiteY58" fmla="*/ 432667 h 1176182"/>
              <a:gd name="connsiteX59" fmla="*/ 221883 w 802950"/>
              <a:gd name="connsiteY59" fmla="*/ 425378 h 1176182"/>
              <a:gd name="connsiteX60" fmla="*/ 221883 w 802950"/>
              <a:gd name="connsiteY60" fmla="*/ 425378 h 1176182"/>
              <a:gd name="connsiteX61" fmla="*/ 135553 w 802950"/>
              <a:gd name="connsiteY61" fmla="*/ 414382 h 1176182"/>
              <a:gd name="connsiteX62" fmla="*/ 140301 w 802950"/>
              <a:gd name="connsiteY62" fmla="*/ 397085 h 1176182"/>
              <a:gd name="connsiteX63" fmla="*/ 143174 w 802950"/>
              <a:gd name="connsiteY63" fmla="*/ 406104 h 1176182"/>
              <a:gd name="connsiteX64" fmla="*/ 135553 w 802950"/>
              <a:gd name="connsiteY64" fmla="*/ 414505 h 1176182"/>
              <a:gd name="connsiteX65" fmla="*/ 135553 w 802950"/>
              <a:gd name="connsiteY65" fmla="*/ 414505 h 1176182"/>
              <a:gd name="connsiteX66" fmla="*/ 82082 w 802950"/>
              <a:gd name="connsiteY66" fmla="*/ 360268 h 1176182"/>
              <a:gd name="connsiteX67" fmla="*/ 82831 w 802950"/>
              <a:gd name="connsiteY67" fmla="*/ 347295 h 1176182"/>
              <a:gd name="connsiteX68" fmla="*/ 97449 w 802950"/>
              <a:gd name="connsiteY68" fmla="*/ 347666 h 1176182"/>
              <a:gd name="connsiteX69" fmla="*/ 81957 w 802950"/>
              <a:gd name="connsiteY69" fmla="*/ 360268 h 1176182"/>
              <a:gd name="connsiteX70" fmla="*/ 81957 w 802950"/>
              <a:gd name="connsiteY70" fmla="*/ 360268 h 1176182"/>
              <a:gd name="connsiteX71" fmla="*/ 103820 w 802950"/>
              <a:gd name="connsiteY71" fmla="*/ 341118 h 1176182"/>
              <a:gd name="connsiteX72" fmla="*/ 118562 w 802950"/>
              <a:gd name="connsiteY72" fmla="*/ 321597 h 1176182"/>
              <a:gd name="connsiteX73" fmla="*/ 115314 w 802950"/>
              <a:gd name="connsiteY73" fmla="*/ 335311 h 1176182"/>
              <a:gd name="connsiteX74" fmla="*/ 103695 w 802950"/>
              <a:gd name="connsiteY74" fmla="*/ 341118 h 1176182"/>
              <a:gd name="connsiteX75" fmla="*/ 103695 w 802950"/>
              <a:gd name="connsiteY75" fmla="*/ 341118 h 1176182"/>
              <a:gd name="connsiteX76" fmla="*/ 139426 w 802950"/>
              <a:gd name="connsiteY76" fmla="*/ 303806 h 1176182"/>
              <a:gd name="connsiteX77" fmla="*/ 147047 w 802950"/>
              <a:gd name="connsiteY77" fmla="*/ 295034 h 1176182"/>
              <a:gd name="connsiteX78" fmla="*/ 138427 w 802950"/>
              <a:gd name="connsiteY78" fmla="*/ 295405 h 1176182"/>
              <a:gd name="connsiteX79" fmla="*/ 139426 w 802950"/>
              <a:gd name="connsiteY79" fmla="*/ 303806 h 1176182"/>
              <a:gd name="connsiteX80" fmla="*/ 139426 w 802950"/>
              <a:gd name="connsiteY80" fmla="*/ 303806 h 1176182"/>
              <a:gd name="connsiteX81" fmla="*/ 121061 w 802950"/>
              <a:gd name="connsiteY81" fmla="*/ 280949 h 1176182"/>
              <a:gd name="connsiteX82" fmla="*/ 128932 w 802950"/>
              <a:gd name="connsiteY82" fmla="*/ 294910 h 1176182"/>
              <a:gd name="connsiteX83" fmla="*/ 134929 w 802950"/>
              <a:gd name="connsiteY83" fmla="*/ 288980 h 1176182"/>
              <a:gd name="connsiteX84" fmla="*/ 129681 w 802950"/>
              <a:gd name="connsiteY84" fmla="*/ 279096 h 1176182"/>
              <a:gd name="connsiteX85" fmla="*/ 121061 w 802950"/>
              <a:gd name="connsiteY85" fmla="*/ 280949 h 1176182"/>
              <a:gd name="connsiteX86" fmla="*/ 121061 w 802950"/>
              <a:gd name="connsiteY86" fmla="*/ 280949 h 1176182"/>
              <a:gd name="connsiteX87" fmla="*/ 347317 w 802950"/>
              <a:gd name="connsiteY87" fmla="*/ 1853 h 1176182"/>
              <a:gd name="connsiteX88" fmla="*/ 354937 w 802950"/>
              <a:gd name="connsiteY88" fmla="*/ 9143 h 1176182"/>
              <a:gd name="connsiteX89" fmla="*/ 355937 w 802950"/>
              <a:gd name="connsiteY89" fmla="*/ 0 h 1176182"/>
              <a:gd name="connsiteX90" fmla="*/ 347317 w 802950"/>
              <a:gd name="connsiteY90" fmla="*/ 1853 h 1176182"/>
              <a:gd name="connsiteX91" fmla="*/ 347317 w 802950"/>
              <a:gd name="connsiteY91" fmla="*/ 1853 h 1176182"/>
              <a:gd name="connsiteX92" fmla="*/ 329201 w 802950"/>
              <a:gd name="connsiteY92" fmla="*/ 9266 h 1176182"/>
              <a:gd name="connsiteX93" fmla="*/ 342694 w 802950"/>
              <a:gd name="connsiteY93" fmla="*/ 7536 h 1176182"/>
              <a:gd name="connsiteX94" fmla="*/ 353938 w 802950"/>
              <a:gd name="connsiteY94" fmla="*/ 17544 h 1176182"/>
              <a:gd name="connsiteX95" fmla="*/ 347691 w 802950"/>
              <a:gd name="connsiteY95" fmla="*/ 25451 h 1176182"/>
              <a:gd name="connsiteX96" fmla="*/ 367431 w 802950"/>
              <a:gd name="connsiteY96" fmla="*/ 22856 h 1176182"/>
              <a:gd name="connsiteX97" fmla="*/ 367681 w 802950"/>
              <a:gd name="connsiteY97" fmla="*/ 36447 h 1176182"/>
              <a:gd name="connsiteX98" fmla="*/ 358061 w 802950"/>
              <a:gd name="connsiteY98" fmla="*/ 31011 h 1176182"/>
              <a:gd name="connsiteX99" fmla="*/ 341195 w 802950"/>
              <a:gd name="connsiteY99" fmla="*/ 33852 h 1176182"/>
              <a:gd name="connsiteX100" fmla="*/ 339571 w 802950"/>
              <a:gd name="connsiteY100" fmla="*/ 21003 h 1176182"/>
              <a:gd name="connsiteX101" fmla="*/ 336197 w 802950"/>
              <a:gd name="connsiteY101" fmla="*/ 31999 h 1176182"/>
              <a:gd name="connsiteX102" fmla="*/ 330076 w 802950"/>
              <a:gd name="connsiteY102" fmla="*/ 25698 h 1176182"/>
              <a:gd name="connsiteX103" fmla="*/ 329326 w 802950"/>
              <a:gd name="connsiteY103" fmla="*/ 9390 h 1176182"/>
              <a:gd name="connsiteX104" fmla="*/ 329326 w 802950"/>
              <a:gd name="connsiteY104" fmla="*/ 9390 h 1176182"/>
              <a:gd name="connsiteX105" fmla="*/ 329201 w 802950"/>
              <a:gd name="connsiteY105" fmla="*/ 39288 h 1176182"/>
              <a:gd name="connsiteX106" fmla="*/ 339945 w 802950"/>
              <a:gd name="connsiteY106" fmla="*/ 54485 h 1176182"/>
              <a:gd name="connsiteX107" fmla="*/ 343444 w 802950"/>
              <a:gd name="connsiteY107" fmla="*/ 45960 h 1176182"/>
              <a:gd name="connsiteX108" fmla="*/ 337197 w 802950"/>
              <a:gd name="connsiteY108" fmla="*/ 37188 h 1176182"/>
              <a:gd name="connsiteX109" fmla="*/ 329326 w 802950"/>
              <a:gd name="connsiteY109" fmla="*/ 39288 h 1176182"/>
              <a:gd name="connsiteX110" fmla="*/ 329326 w 802950"/>
              <a:gd name="connsiteY110" fmla="*/ 39288 h 1176182"/>
              <a:gd name="connsiteX111" fmla="*/ 71837 w 802950"/>
              <a:gd name="connsiteY111" fmla="*/ 159625 h 1176182"/>
              <a:gd name="connsiteX112" fmla="*/ 79583 w 802950"/>
              <a:gd name="connsiteY112" fmla="*/ 152953 h 1176182"/>
              <a:gd name="connsiteX113" fmla="*/ 69463 w 802950"/>
              <a:gd name="connsiteY113" fmla="*/ 143316 h 1176182"/>
              <a:gd name="connsiteX114" fmla="*/ 78958 w 802950"/>
              <a:gd name="connsiteY114" fmla="*/ 130344 h 1176182"/>
              <a:gd name="connsiteX115" fmla="*/ 98448 w 802950"/>
              <a:gd name="connsiteY115" fmla="*/ 138127 h 1176182"/>
              <a:gd name="connsiteX116" fmla="*/ 93326 w 802950"/>
              <a:gd name="connsiteY116" fmla="*/ 124784 h 1176182"/>
              <a:gd name="connsiteX117" fmla="*/ 133055 w 802950"/>
              <a:gd name="connsiteY117" fmla="*/ 94268 h 1176182"/>
              <a:gd name="connsiteX118" fmla="*/ 136928 w 802950"/>
              <a:gd name="connsiteY118" fmla="*/ 117495 h 1176182"/>
              <a:gd name="connsiteX119" fmla="*/ 121936 w 802950"/>
              <a:gd name="connsiteY119" fmla="*/ 132444 h 1176182"/>
              <a:gd name="connsiteX120" fmla="*/ 117313 w 802950"/>
              <a:gd name="connsiteY120" fmla="*/ 145911 h 1176182"/>
              <a:gd name="connsiteX121" fmla="*/ 123060 w 802950"/>
              <a:gd name="connsiteY121" fmla="*/ 149864 h 1176182"/>
              <a:gd name="connsiteX122" fmla="*/ 112316 w 802950"/>
              <a:gd name="connsiteY122" fmla="*/ 166420 h 1176182"/>
              <a:gd name="connsiteX123" fmla="*/ 96199 w 802950"/>
              <a:gd name="connsiteY123" fmla="*/ 162961 h 1176182"/>
              <a:gd name="connsiteX124" fmla="*/ 80707 w 802950"/>
              <a:gd name="connsiteY124" fmla="*/ 166173 h 1176182"/>
              <a:gd name="connsiteX125" fmla="*/ 72087 w 802950"/>
              <a:gd name="connsiteY125" fmla="*/ 159625 h 1176182"/>
              <a:gd name="connsiteX126" fmla="*/ 72087 w 802950"/>
              <a:gd name="connsiteY126" fmla="*/ 159625 h 1176182"/>
              <a:gd name="connsiteX127" fmla="*/ 71837 w 802950"/>
              <a:gd name="connsiteY127" fmla="*/ 185446 h 1176182"/>
              <a:gd name="connsiteX128" fmla="*/ 83706 w 802950"/>
              <a:gd name="connsiteY128" fmla="*/ 193601 h 1176182"/>
              <a:gd name="connsiteX129" fmla="*/ 103071 w 802950"/>
              <a:gd name="connsiteY129" fmla="*/ 175192 h 1176182"/>
              <a:gd name="connsiteX130" fmla="*/ 88578 w 802950"/>
              <a:gd name="connsiteY130" fmla="*/ 169879 h 1176182"/>
              <a:gd name="connsiteX131" fmla="*/ 81082 w 802950"/>
              <a:gd name="connsiteY131" fmla="*/ 174080 h 1176182"/>
              <a:gd name="connsiteX132" fmla="*/ 77959 w 802950"/>
              <a:gd name="connsiteY132" fmla="*/ 181616 h 1176182"/>
              <a:gd name="connsiteX133" fmla="*/ 71837 w 802950"/>
              <a:gd name="connsiteY133" fmla="*/ 185446 h 1176182"/>
              <a:gd name="connsiteX134" fmla="*/ 71837 w 802950"/>
              <a:gd name="connsiteY134" fmla="*/ 185446 h 1176182"/>
              <a:gd name="connsiteX135" fmla="*/ 68964 w 802950"/>
              <a:gd name="connsiteY135" fmla="*/ 214233 h 1176182"/>
              <a:gd name="connsiteX136" fmla="*/ 53097 w 802950"/>
              <a:gd name="connsiteY136" fmla="*/ 218804 h 1176182"/>
              <a:gd name="connsiteX137" fmla="*/ 40104 w 802950"/>
              <a:gd name="connsiteY137" fmla="*/ 206820 h 1176182"/>
              <a:gd name="connsiteX138" fmla="*/ 46850 w 802950"/>
              <a:gd name="connsiteY138" fmla="*/ 202620 h 1176182"/>
              <a:gd name="connsiteX139" fmla="*/ 69463 w 802950"/>
              <a:gd name="connsiteY139" fmla="*/ 203979 h 1176182"/>
              <a:gd name="connsiteX140" fmla="*/ 68839 w 802950"/>
              <a:gd name="connsiteY140" fmla="*/ 214110 h 1176182"/>
              <a:gd name="connsiteX141" fmla="*/ 68839 w 802950"/>
              <a:gd name="connsiteY141" fmla="*/ 214110 h 1176182"/>
              <a:gd name="connsiteX142" fmla="*/ 60843 w 802950"/>
              <a:gd name="connsiteY142" fmla="*/ 235236 h 1176182"/>
              <a:gd name="connsiteX143" fmla="*/ 49224 w 802950"/>
              <a:gd name="connsiteY143" fmla="*/ 231283 h 1176182"/>
              <a:gd name="connsiteX144" fmla="*/ 48974 w 802950"/>
              <a:gd name="connsiteY144" fmla="*/ 225723 h 1176182"/>
              <a:gd name="connsiteX145" fmla="*/ 65216 w 802950"/>
              <a:gd name="connsiteY145" fmla="*/ 222511 h 1176182"/>
              <a:gd name="connsiteX146" fmla="*/ 60968 w 802950"/>
              <a:gd name="connsiteY146" fmla="*/ 235236 h 1176182"/>
              <a:gd name="connsiteX147" fmla="*/ 60968 w 802950"/>
              <a:gd name="connsiteY147" fmla="*/ 235236 h 1176182"/>
              <a:gd name="connsiteX148" fmla="*/ 46475 w 802950"/>
              <a:gd name="connsiteY148" fmla="*/ 279961 h 1176182"/>
              <a:gd name="connsiteX149" fmla="*/ 51098 w 802950"/>
              <a:gd name="connsiteY149" fmla="*/ 290957 h 1176182"/>
              <a:gd name="connsiteX150" fmla="*/ 39354 w 802950"/>
              <a:gd name="connsiteY150" fmla="*/ 298864 h 1176182"/>
              <a:gd name="connsiteX151" fmla="*/ 39604 w 802950"/>
              <a:gd name="connsiteY151" fmla="*/ 289351 h 1176182"/>
              <a:gd name="connsiteX152" fmla="*/ 46475 w 802950"/>
              <a:gd name="connsiteY152" fmla="*/ 279961 h 1176182"/>
              <a:gd name="connsiteX153" fmla="*/ 46475 w 802950"/>
              <a:gd name="connsiteY153" fmla="*/ 279961 h 1176182"/>
              <a:gd name="connsiteX154" fmla="*/ 61842 w 802950"/>
              <a:gd name="connsiteY154" fmla="*/ 273289 h 1176182"/>
              <a:gd name="connsiteX155" fmla="*/ 57720 w 802950"/>
              <a:gd name="connsiteY155" fmla="*/ 258464 h 1176182"/>
              <a:gd name="connsiteX156" fmla="*/ 61842 w 802950"/>
              <a:gd name="connsiteY156" fmla="*/ 249815 h 1176182"/>
              <a:gd name="connsiteX157" fmla="*/ 59594 w 802950"/>
              <a:gd name="connsiteY157" fmla="*/ 239066 h 1176182"/>
              <a:gd name="connsiteX158" fmla="*/ 50099 w 802950"/>
              <a:gd name="connsiteY158" fmla="*/ 237707 h 1176182"/>
              <a:gd name="connsiteX159" fmla="*/ 51223 w 802950"/>
              <a:gd name="connsiteY159" fmla="*/ 248209 h 1176182"/>
              <a:gd name="connsiteX160" fmla="*/ 46850 w 802950"/>
              <a:gd name="connsiteY160" fmla="*/ 259575 h 1176182"/>
              <a:gd name="connsiteX161" fmla="*/ 50848 w 802950"/>
              <a:gd name="connsiteY161" fmla="*/ 271313 h 1176182"/>
              <a:gd name="connsiteX162" fmla="*/ 61717 w 802950"/>
              <a:gd name="connsiteY162" fmla="*/ 273166 h 1176182"/>
              <a:gd name="connsiteX163" fmla="*/ 61717 w 802950"/>
              <a:gd name="connsiteY163" fmla="*/ 273166 h 1176182"/>
              <a:gd name="connsiteX164" fmla="*/ 152544 w 802950"/>
              <a:gd name="connsiteY164" fmla="*/ 280208 h 1176182"/>
              <a:gd name="connsiteX165" fmla="*/ 150421 w 802950"/>
              <a:gd name="connsiteY165" fmla="*/ 262911 h 1176182"/>
              <a:gd name="connsiteX166" fmla="*/ 129307 w 802950"/>
              <a:gd name="connsiteY166" fmla="*/ 266000 h 1176182"/>
              <a:gd name="connsiteX167" fmla="*/ 116189 w 802950"/>
              <a:gd name="connsiteY167" fmla="*/ 244997 h 1176182"/>
              <a:gd name="connsiteX168" fmla="*/ 118313 w 802950"/>
              <a:gd name="connsiteY168" fmla="*/ 239314 h 1176182"/>
              <a:gd name="connsiteX169" fmla="*/ 111566 w 802950"/>
              <a:gd name="connsiteY169" fmla="*/ 234742 h 1176182"/>
              <a:gd name="connsiteX170" fmla="*/ 111191 w 802950"/>
              <a:gd name="connsiteY170" fmla="*/ 241414 h 1176182"/>
              <a:gd name="connsiteX171" fmla="*/ 93950 w 802950"/>
              <a:gd name="connsiteY171" fmla="*/ 230047 h 1176182"/>
              <a:gd name="connsiteX172" fmla="*/ 100572 w 802950"/>
              <a:gd name="connsiteY172" fmla="*/ 223129 h 1176182"/>
              <a:gd name="connsiteX173" fmla="*/ 107068 w 802950"/>
              <a:gd name="connsiteY173" fmla="*/ 226959 h 1176182"/>
              <a:gd name="connsiteX174" fmla="*/ 105319 w 802950"/>
              <a:gd name="connsiteY174" fmla="*/ 211268 h 1176182"/>
              <a:gd name="connsiteX175" fmla="*/ 125309 w 802950"/>
              <a:gd name="connsiteY175" fmla="*/ 223623 h 1176182"/>
              <a:gd name="connsiteX176" fmla="*/ 122310 w 802950"/>
              <a:gd name="connsiteY176" fmla="*/ 203484 h 1176182"/>
              <a:gd name="connsiteX177" fmla="*/ 131181 w 802950"/>
              <a:gd name="connsiteY177" fmla="*/ 198913 h 1176182"/>
              <a:gd name="connsiteX178" fmla="*/ 141300 w 802950"/>
              <a:gd name="connsiteY178" fmla="*/ 214233 h 1176182"/>
              <a:gd name="connsiteX179" fmla="*/ 140551 w 802950"/>
              <a:gd name="connsiteY179" fmla="*/ 244626 h 1176182"/>
              <a:gd name="connsiteX180" fmla="*/ 159291 w 802950"/>
              <a:gd name="connsiteY180" fmla="*/ 253522 h 1176182"/>
              <a:gd name="connsiteX181" fmla="*/ 169660 w 802950"/>
              <a:gd name="connsiteY181" fmla="*/ 250927 h 1176182"/>
              <a:gd name="connsiteX182" fmla="*/ 176407 w 802950"/>
              <a:gd name="connsiteY182" fmla="*/ 255498 h 1176182"/>
              <a:gd name="connsiteX183" fmla="*/ 164288 w 802950"/>
              <a:gd name="connsiteY183" fmla="*/ 263035 h 1176182"/>
              <a:gd name="connsiteX184" fmla="*/ 159791 w 802950"/>
              <a:gd name="connsiteY184" fmla="*/ 278973 h 1176182"/>
              <a:gd name="connsiteX185" fmla="*/ 152544 w 802950"/>
              <a:gd name="connsiteY185" fmla="*/ 280332 h 1176182"/>
              <a:gd name="connsiteX186" fmla="*/ 152544 w 802950"/>
              <a:gd name="connsiteY186" fmla="*/ 280332 h 1176182"/>
              <a:gd name="connsiteX187" fmla="*/ 128307 w 802950"/>
              <a:gd name="connsiteY187" fmla="*/ 378800 h 1176182"/>
              <a:gd name="connsiteX188" fmla="*/ 161665 w 802950"/>
              <a:gd name="connsiteY188" fmla="*/ 369904 h 1176182"/>
              <a:gd name="connsiteX189" fmla="*/ 163289 w 802950"/>
              <a:gd name="connsiteY189" fmla="*/ 375093 h 1176182"/>
              <a:gd name="connsiteX190" fmla="*/ 178781 w 802950"/>
              <a:gd name="connsiteY190" fmla="*/ 362491 h 1176182"/>
              <a:gd name="connsiteX191" fmla="*/ 171534 w 802950"/>
              <a:gd name="connsiteY191" fmla="*/ 348160 h 1176182"/>
              <a:gd name="connsiteX192" fmla="*/ 160040 w 802950"/>
              <a:gd name="connsiteY192" fmla="*/ 346924 h 1176182"/>
              <a:gd name="connsiteX193" fmla="*/ 144799 w 802950"/>
              <a:gd name="connsiteY193" fmla="*/ 331234 h 1176182"/>
              <a:gd name="connsiteX194" fmla="*/ 128682 w 802950"/>
              <a:gd name="connsiteY194" fmla="*/ 343589 h 1176182"/>
              <a:gd name="connsiteX195" fmla="*/ 152794 w 802950"/>
              <a:gd name="connsiteY195" fmla="*/ 353967 h 1176182"/>
              <a:gd name="connsiteX196" fmla="*/ 139926 w 802950"/>
              <a:gd name="connsiteY196" fmla="*/ 361503 h 1176182"/>
              <a:gd name="connsiteX197" fmla="*/ 143674 w 802950"/>
              <a:gd name="connsiteY197" fmla="*/ 366939 h 1176182"/>
              <a:gd name="connsiteX198" fmla="*/ 128557 w 802950"/>
              <a:gd name="connsiteY198" fmla="*/ 378800 h 1176182"/>
              <a:gd name="connsiteX199" fmla="*/ 128557 w 802950"/>
              <a:gd name="connsiteY199" fmla="*/ 378800 h 1176182"/>
              <a:gd name="connsiteX200" fmla="*/ 156667 w 802950"/>
              <a:gd name="connsiteY200" fmla="*/ 440698 h 1176182"/>
              <a:gd name="connsiteX201" fmla="*/ 149671 w 802950"/>
              <a:gd name="connsiteY201" fmla="*/ 424636 h 1176182"/>
              <a:gd name="connsiteX202" fmla="*/ 179655 w 802950"/>
              <a:gd name="connsiteY202" fmla="*/ 394614 h 1176182"/>
              <a:gd name="connsiteX203" fmla="*/ 167037 w 802950"/>
              <a:gd name="connsiteY203" fmla="*/ 425625 h 1176182"/>
              <a:gd name="connsiteX204" fmla="*/ 156542 w 802950"/>
              <a:gd name="connsiteY204" fmla="*/ 440821 h 1176182"/>
              <a:gd name="connsiteX205" fmla="*/ 156542 w 802950"/>
              <a:gd name="connsiteY205" fmla="*/ 440821 h 1176182"/>
              <a:gd name="connsiteX206" fmla="*/ 134429 w 802950"/>
              <a:gd name="connsiteY206" fmla="*/ 464419 h 1176182"/>
              <a:gd name="connsiteX207" fmla="*/ 152669 w 802950"/>
              <a:gd name="connsiteY207" fmla="*/ 452435 h 1176182"/>
              <a:gd name="connsiteX208" fmla="*/ 143799 w 802950"/>
              <a:gd name="connsiteY208" fmla="*/ 423524 h 1176182"/>
              <a:gd name="connsiteX209" fmla="*/ 118188 w 802950"/>
              <a:gd name="connsiteY209" fmla="*/ 435138 h 1176182"/>
              <a:gd name="connsiteX210" fmla="*/ 119562 w 802950"/>
              <a:gd name="connsiteY210" fmla="*/ 458118 h 1176182"/>
              <a:gd name="connsiteX211" fmla="*/ 135803 w 802950"/>
              <a:gd name="connsiteY211" fmla="*/ 446875 h 1176182"/>
              <a:gd name="connsiteX212" fmla="*/ 134429 w 802950"/>
              <a:gd name="connsiteY212" fmla="*/ 464419 h 1176182"/>
              <a:gd name="connsiteX213" fmla="*/ 134429 w 802950"/>
              <a:gd name="connsiteY213" fmla="*/ 464419 h 1176182"/>
              <a:gd name="connsiteX214" fmla="*/ 201643 w 802950"/>
              <a:gd name="connsiteY214" fmla="*/ 458118 h 1176182"/>
              <a:gd name="connsiteX215" fmla="*/ 207266 w 802950"/>
              <a:gd name="connsiteY215" fmla="*/ 484063 h 1176182"/>
              <a:gd name="connsiteX216" fmla="*/ 224881 w 802950"/>
              <a:gd name="connsiteY216" fmla="*/ 490241 h 1176182"/>
              <a:gd name="connsiteX217" fmla="*/ 229254 w 802950"/>
              <a:gd name="connsiteY217" fmla="*/ 472203 h 1176182"/>
              <a:gd name="connsiteX218" fmla="*/ 215636 w 802950"/>
              <a:gd name="connsiteY218" fmla="*/ 447369 h 1176182"/>
              <a:gd name="connsiteX219" fmla="*/ 201519 w 802950"/>
              <a:gd name="connsiteY219" fmla="*/ 458118 h 1176182"/>
              <a:gd name="connsiteX220" fmla="*/ 201519 w 802950"/>
              <a:gd name="connsiteY220" fmla="*/ 458118 h 1176182"/>
              <a:gd name="connsiteX221" fmla="*/ 275355 w 802950"/>
              <a:gd name="connsiteY221" fmla="*/ 754017 h 1176182"/>
              <a:gd name="connsiteX222" fmla="*/ 300841 w 802950"/>
              <a:gd name="connsiteY222" fmla="*/ 765383 h 1176182"/>
              <a:gd name="connsiteX223" fmla="*/ 321580 w 802950"/>
              <a:gd name="connsiteY223" fmla="*/ 747592 h 1176182"/>
              <a:gd name="connsiteX224" fmla="*/ 306088 w 802950"/>
              <a:gd name="connsiteY224" fmla="*/ 750063 h 1176182"/>
              <a:gd name="connsiteX225" fmla="*/ 298217 w 802950"/>
              <a:gd name="connsiteY225" fmla="*/ 735361 h 1176182"/>
              <a:gd name="connsiteX226" fmla="*/ 279228 w 802950"/>
              <a:gd name="connsiteY226" fmla="*/ 738697 h 1176182"/>
              <a:gd name="connsiteX227" fmla="*/ 275355 w 802950"/>
              <a:gd name="connsiteY227" fmla="*/ 753893 h 1176182"/>
              <a:gd name="connsiteX228" fmla="*/ 275355 w 802950"/>
              <a:gd name="connsiteY228" fmla="*/ 753893 h 1176182"/>
              <a:gd name="connsiteX229" fmla="*/ 253866 w 802950"/>
              <a:gd name="connsiteY229" fmla="*/ 658637 h 1176182"/>
              <a:gd name="connsiteX230" fmla="*/ 259738 w 802950"/>
              <a:gd name="connsiteY230" fmla="*/ 634916 h 1176182"/>
              <a:gd name="connsiteX231" fmla="*/ 288473 w 802950"/>
              <a:gd name="connsiteY231" fmla="*/ 608106 h 1176182"/>
              <a:gd name="connsiteX232" fmla="*/ 285974 w 802950"/>
              <a:gd name="connsiteY232" fmla="*/ 623550 h 1176182"/>
              <a:gd name="connsiteX233" fmla="*/ 289847 w 802950"/>
              <a:gd name="connsiteY233" fmla="*/ 632816 h 1176182"/>
              <a:gd name="connsiteX234" fmla="*/ 268983 w 802950"/>
              <a:gd name="connsiteY234" fmla="*/ 655425 h 1176182"/>
              <a:gd name="connsiteX235" fmla="*/ 253866 w 802950"/>
              <a:gd name="connsiteY235" fmla="*/ 658637 h 1176182"/>
              <a:gd name="connsiteX236" fmla="*/ 253866 w 802950"/>
              <a:gd name="connsiteY236" fmla="*/ 658637 h 1176182"/>
              <a:gd name="connsiteX237" fmla="*/ 241747 w 802950"/>
              <a:gd name="connsiteY237" fmla="*/ 1176182 h 1176182"/>
              <a:gd name="connsiteX238" fmla="*/ 251117 w 802950"/>
              <a:gd name="connsiteY238" fmla="*/ 1166669 h 1176182"/>
              <a:gd name="connsiteX239" fmla="*/ 246620 w 802950"/>
              <a:gd name="connsiteY239" fmla="*/ 1159874 h 1176182"/>
              <a:gd name="connsiteX240" fmla="*/ 255115 w 802950"/>
              <a:gd name="connsiteY240" fmla="*/ 1147642 h 1176182"/>
              <a:gd name="connsiteX241" fmla="*/ 259738 w 802950"/>
              <a:gd name="connsiteY241" fmla="*/ 1152955 h 1176182"/>
              <a:gd name="connsiteX242" fmla="*/ 270357 w 802950"/>
              <a:gd name="connsiteY242" fmla="*/ 1141959 h 1176182"/>
              <a:gd name="connsiteX243" fmla="*/ 277603 w 802950"/>
              <a:gd name="connsiteY243" fmla="*/ 1141589 h 1176182"/>
              <a:gd name="connsiteX244" fmla="*/ 282601 w 802950"/>
              <a:gd name="connsiteY244" fmla="*/ 1128122 h 1176182"/>
              <a:gd name="connsiteX245" fmla="*/ 299842 w 802950"/>
              <a:gd name="connsiteY245" fmla="*/ 1131828 h 1176182"/>
              <a:gd name="connsiteX246" fmla="*/ 312835 w 802950"/>
              <a:gd name="connsiteY246" fmla="*/ 1125280 h 1176182"/>
              <a:gd name="connsiteX247" fmla="*/ 323704 w 802950"/>
              <a:gd name="connsiteY247" fmla="*/ 1126516 h 1176182"/>
              <a:gd name="connsiteX248" fmla="*/ 331200 w 802950"/>
              <a:gd name="connsiteY248" fmla="*/ 1121944 h 1176182"/>
              <a:gd name="connsiteX249" fmla="*/ 339321 w 802950"/>
              <a:gd name="connsiteY249" fmla="*/ 1131705 h 1176182"/>
              <a:gd name="connsiteX250" fmla="*/ 348316 w 802950"/>
              <a:gd name="connsiteY250" fmla="*/ 1130593 h 1176182"/>
              <a:gd name="connsiteX251" fmla="*/ 361309 w 802950"/>
              <a:gd name="connsiteY251" fmla="*/ 1140477 h 1176182"/>
              <a:gd name="connsiteX252" fmla="*/ 375801 w 802950"/>
              <a:gd name="connsiteY252" fmla="*/ 1139118 h 1176182"/>
              <a:gd name="connsiteX253" fmla="*/ 372553 w 802950"/>
              <a:gd name="connsiteY253" fmla="*/ 1129852 h 1176182"/>
              <a:gd name="connsiteX254" fmla="*/ 383797 w 802950"/>
              <a:gd name="connsiteY254" fmla="*/ 1124168 h 1176182"/>
              <a:gd name="connsiteX255" fmla="*/ 386546 w 802950"/>
              <a:gd name="connsiteY255" fmla="*/ 1115273 h 1176182"/>
              <a:gd name="connsiteX256" fmla="*/ 382673 w 802950"/>
              <a:gd name="connsiteY256" fmla="*/ 1099706 h 1176182"/>
              <a:gd name="connsiteX257" fmla="*/ 392293 w 802950"/>
              <a:gd name="connsiteY257" fmla="*/ 1089451 h 1176182"/>
              <a:gd name="connsiteX258" fmla="*/ 400538 w 802950"/>
              <a:gd name="connsiteY258" fmla="*/ 1087969 h 1176182"/>
              <a:gd name="connsiteX259" fmla="*/ 403662 w 802950"/>
              <a:gd name="connsiteY259" fmla="*/ 1081544 h 1176182"/>
              <a:gd name="connsiteX260" fmla="*/ 435895 w 802950"/>
              <a:gd name="connsiteY260" fmla="*/ 1072648 h 1176182"/>
              <a:gd name="connsiteX261" fmla="*/ 453011 w 802950"/>
              <a:gd name="connsiteY261" fmla="*/ 1073266 h 1176182"/>
              <a:gd name="connsiteX262" fmla="*/ 473375 w 802950"/>
              <a:gd name="connsiteY262" fmla="*/ 1085868 h 1176182"/>
              <a:gd name="connsiteX263" fmla="*/ 480496 w 802950"/>
              <a:gd name="connsiteY263" fmla="*/ 1082779 h 1176182"/>
              <a:gd name="connsiteX264" fmla="*/ 501985 w 802950"/>
              <a:gd name="connsiteY264" fmla="*/ 1082779 h 1176182"/>
              <a:gd name="connsiteX265" fmla="*/ 513604 w 802950"/>
              <a:gd name="connsiteY265" fmla="*/ 1086486 h 1176182"/>
              <a:gd name="connsiteX266" fmla="*/ 518601 w 802950"/>
              <a:gd name="connsiteY266" fmla="*/ 1072648 h 1176182"/>
              <a:gd name="connsiteX267" fmla="*/ 537966 w 802950"/>
              <a:gd name="connsiteY267" fmla="*/ 1061900 h 1176182"/>
              <a:gd name="connsiteX268" fmla="*/ 551709 w 802950"/>
              <a:gd name="connsiteY268" fmla="*/ 1065112 h 1176182"/>
              <a:gd name="connsiteX269" fmla="*/ 570199 w 802950"/>
              <a:gd name="connsiteY269" fmla="*/ 1051645 h 1176182"/>
              <a:gd name="connsiteX270" fmla="*/ 583817 w 802950"/>
              <a:gd name="connsiteY270" fmla="*/ 1054116 h 1176182"/>
              <a:gd name="connsiteX271" fmla="*/ 590688 w 802950"/>
              <a:gd name="connsiteY271" fmla="*/ 1052757 h 1176182"/>
              <a:gd name="connsiteX272" fmla="*/ 599683 w 802950"/>
              <a:gd name="connsiteY272" fmla="*/ 1045344 h 1176182"/>
              <a:gd name="connsiteX273" fmla="*/ 602807 w 802950"/>
              <a:gd name="connsiteY273" fmla="*/ 1052139 h 1176182"/>
              <a:gd name="connsiteX274" fmla="*/ 614550 w 802950"/>
              <a:gd name="connsiteY274" fmla="*/ 1058193 h 1176182"/>
              <a:gd name="connsiteX275" fmla="*/ 627294 w 802950"/>
              <a:gd name="connsiteY275" fmla="*/ 1048804 h 1176182"/>
              <a:gd name="connsiteX276" fmla="*/ 657153 w 802950"/>
              <a:gd name="connsiteY276" fmla="*/ 1047074 h 1176182"/>
              <a:gd name="connsiteX277" fmla="*/ 675768 w 802950"/>
              <a:gd name="connsiteY277" fmla="*/ 1042379 h 1176182"/>
              <a:gd name="connsiteX278" fmla="*/ 694008 w 802950"/>
              <a:gd name="connsiteY278" fmla="*/ 1047445 h 1176182"/>
              <a:gd name="connsiteX279" fmla="*/ 703129 w 802950"/>
              <a:gd name="connsiteY279" fmla="*/ 1048804 h 1176182"/>
              <a:gd name="connsiteX280" fmla="*/ 716122 w 802950"/>
              <a:gd name="connsiteY280" fmla="*/ 1037314 h 1176182"/>
              <a:gd name="connsiteX281" fmla="*/ 730989 w 802950"/>
              <a:gd name="connsiteY281" fmla="*/ 1033854 h 1176182"/>
              <a:gd name="connsiteX282" fmla="*/ 743607 w 802950"/>
              <a:gd name="connsiteY282" fmla="*/ 1021005 h 1176182"/>
              <a:gd name="connsiteX283" fmla="*/ 752602 w 802950"/>
              <a:gd name="connsiteY283" fmla="*/ 1019893 h 1176182"/>
              <a:gd name="connsiteX284" fmla="*/ 762097 w 802950"/>
              <a:gd name="connsiteY284" fmla="*/ 1021499 h 1176182"/>
              <a:gd name="connsiteX285" fmla="*/ 759599 w 802950"/>
              <a:gd name="connsiteY285" fmla="*/ 1011492 h 1176182"/>
              <a:gd name="connsiteX286" fmla="*/ 780213 w 802950"/>
              <a:gd name="connsiteY286" fmla="*/ 996172 h 1176182"/>
              <a:gd name="connsiteX287" fmla="*/ 793331 w 802950"/>
              <a:gd name="connsiteY287" fmla="*/ 992713 h 1176182"/>
              <a:gd name="connsiteX288" fmla="*/ 793831 w 802950"/>
              <a:gd name="connsiteY288" fmla="*/ 979369 h 1176182"/>
              <a:gd name="connsiteX289" fmla="*/ 789583 w 802950"/>
              <a:gd name="connsiteY289" fmla="*/ 970103 h 1176182"/>
              <a:gd name="connsiteX290" fmla="*/ 793331 w 802950"/>
              <a:gd name="connsiteY290" fmla="*/ 959107 h 1176182"/>
              <a:gd name="connsiteX291" fmla="*/ 769344 w 802950"/>
              <a:gd name="connsiteY291" fmla="*/ 960961 h 1176182"/>
              <a:gd name="connsiteX292" fmla="*/ 752602 w 802950"/>
              <a:gd name="connsiteY292" fmla="*/ 968003 h 1176182"/>
              <a:gd name="connsiteX293" fmla="*/ 742858 w 802950"/>
              <a:gd name="connsiteY293" fmla="*/ 970103 h 1176182"/>
              <a:gd name="connsiteX294" fmla="*/ 726741 w 802950"/>
              <a:gd name="connsiteY294" fmla="*/ 965161 h 1176182"/>
              <a:gd name="connsiteX295" fmla="*/ 720744 w 802950"/>
              <a:gd name="connsiteY295" fmla="*/ 963926 h 1176182"/>
              <a:gd name="connsiteX296" fmla="*/ 725992 w 802950"/>
              <a:gd name="connsiteY296" fmla="*/ 958613 h 1176182"/>
              <a:gd name="connsiteX297" fmla="*/ 730864 w 802950"/>
              <a:gd name="connsiteY297" fmla="*/ 957748 h 1176182"/>
              <a:gd name="connsiteX298" fmla="*/ 732238 w 802950"/>
              <a:gd name="connsiteY298" fmla="*/ 954536 h 1176182"/>
              <a:gd name="connsiteX299" fmla="*/ 717621 w 802950"/>
              <a:gd name="connsiteY299" fmla="*/ 951571 h 1176182"/>
              <a:gd name="connsiteX300" fmla="*/ 705377 w 802950"/>
              <a:gd name="connsiteY300" fmla="*/ 956636 h 1176182"/>
              <a:gd name="connsiteX301" fmla="*/ 722243 w 802950"/>
              <a:gd name="connsiteY301" fmla="*/ 943911 h 1176182"/>
              <a:gd name="connsiteX302" fmla="*/ 733862 w 802950"/>
              <a:gd name="connsiteY302" fmla="*/ 944529 h 1176182"/>
              <a:gd name="connsiteX303" fmla="*/ 747730 w 802950"/>
              <a:gd name="connsiteY303" fmla="*/ 937239 h 1176182"/>
              <a:gd name="connsiteX304" fmla="*/ 743107 w 802950"/>
              <a:gd name="connsiteY304" fmla="*/ 925626 h 1176182"/>
              <a:gd name="connsiteX305" fmla="*/ 729240 w 802950"/>
              <a:gd name="connsiteY305" fmla="*/ 926243 h 1176182"/>
              <a:gd name="connsiteX306" fmla="*/ 739235 w 802950"/>
              <a:gd name="connsiteY306" fmla="*/ 916730 h 1176182"/>
              <a:gd name="connsiteX307" fmla="*/ 746606 w 802950"/>
              <a:gd name="connsiteY307" fmla="*/ 909070 h 1176182"/>
              <a:gd name="connsiteX308" fmla="*/ 755226 w 802950"/>
              <a:gd name="connsiteY308" fmla="*/ 915742 h 1176182"/>
              <a:gd name="connsiteX309" fmla="*/ 767719 w 802950"/>
              <a:gd name="connsiteY309" fmla="*/ 906105 h 1176182"/>
              <a:gd name="connsiteX310" fmla="*/ 772592 w 802950"/>
              <a:gd name="connsiteY310" fmla="*/ 897827 h 1176182"/>
              <a:gd name="connsiteX311" fmla="*/ 766220 w 802950"/>
              <a:gd name="connsiteY311" fmla="*/ 896715 h 1176182"/>
              <a:gd name="connsiteX312" fmla="*/ 770093 w 802950"/>
              <a:gd name="connsiteY312" fmla="*/ 890291 h 1176182"/>
              <a:gd name="connsiteX313" fmla="*/ 755101 w 802950"/>
              <a:gd name="connsiteY313" fmla="*/ 889179 h 1176182"/>
              <a:gd name="connsiteX314" fmla="*/ 760598 w 802950"/>
              <a:gd name="connsiteY314" fmla="*/ 879171 h 1176182"/>
              <a:gd name="connsiteX315" fmla="*/ 770093 w 802950"/>
              <a:gd name="connsiteY315" fmla="*/ 881148 h 1176182"/>
              <a:gd name="connsiteX316" fmla="*/ 773217 w 802950"/>
              <a:gd name="connsiteY316" fmla="*/ 887943 h 1176182"/>
              <a:gd name="connsiteX317" fmla="*/ 783336 w 802950"/>
              <a:gd name="connsiteY317" fmla="*/ 873488 h 1176182"/>
              <a:gd name="connsiteX318" fmla="*/ 793581 w 802950"/>
              <a:gd name="connsiteY318" fmla="*/ 868793 h 1176182"/>
              <a:gd name="connsiteX319" fmla="*/ 794205 w 802950"/>
              <a:gd name="connsiteY319" fmla="*/ 842478 h 1176182"/>
              <a:gd name="connsiteX320" fmla="*/ 802951 w 802950"/>
              <a:gd name="connsiteY320" fmla="*/ 817521 h 1176182"/>
              <a:gd name="connsiteX321" fmla="*/ 794830 w 802950"/>
              <a:gd name="connsiteY321" fmla="*/ 808131 h 1176182"/>
              <a:gd name="connsiteX322" fmla="*/ 789583 w 802950"/>
              <a:gd name="connsiteY322" fmla="*/ 785892 h 1176182"/>
              <a:gd name="connsiteX323" fmla="*/ 757975 w 802950"/>
              <a:gd name="connsiteY323" fmla="*/ 763530 h 1176182"/>
              <a:gd name="connsiteX324" fmla="*/ 715372 w 802950"/>
              <a:gd name="connsiteY324" fmla="*/ 763530 h 1176182"/>
              <a:gd name="connsiteX325" fmla="*/ 689011 w 802950"/>
              <a:gd name="connsiteY325" fmla="*/ 765383 h 1176182"/>
              <a:gd name="connsiteX326" fmla="*/ 687762 w 802950"/>
              <a:gd name="connsiteY326" fmla="*/ 785027 h 1176182"/>
              <a:gd name="connsiteX327" fmla="*/ 681265 w 802950"/>
              <a:gd name="connsiteY327" fmla="*/ 796517 h 1176182"/>
              <a:gd name="connsiteX328" fmla="*/ 666648 w 802950"/>
              <a:gd name="connsiteY328" fmla="*/ 781815 h 1176182"/>
              <a:gd name="connsiteX329" fmla="*/ 649782 w 802950"/>
              <a:gd name="connsiteY329" fmla="*/ 778356 h 1176182"/>
              <a:gd name="connsiteX330" fmla="*/ 675143 w 802950"/>
              <a:gd name="connsiteY330" fmla="*/ 751299 h 1176182"/>
              <a:gd name="connsiteX331" fmla="*/ 674394 w 802950"/>
              <a:gd name="connsiteY331" fmla="*/ 735237 h 1176182"/>
              <a:gd name="connsiteX332" fmla="*/ 652031 w 802950"/>
              <a:gd name="connsiteY332" fmla="*/ 702621 h 1176182"/>
              <a:gd name="connsiteX333" fmla="*/ 643660 w 802950"/>
              <a:gd name="connsiteY333" fmla="*/ 701632 h 1176182"/>
              <a:gd name="connsiteX334" fmla="*/ 624920 w 802950"/>
              <a:gd name="connsiteY334" fmla="*/ 691748 h 1176182"/>
              <a:gd name="connsiteX335" fmla="*/ 616799 w 802950"/>
              <a:gd name="connsiteY335" fmla="*/ 679270 h 1176182"/>
              <a:gd name="connsiteX336" fmla="*/ 607429 w 802950"/>
              <a:gd name="connsiteY336" fmla="*/ 681494 h 1176182"/>
              <a:gd name="connsiteX337" fmla="*/ 600933 w 802950"/>
              <a:gd name="connsiteY337" fmla="*/ 683841 h 1176182"/>
              <a:gd name="connsiteX338" fmla="*/ 589689 w 802950"/>
              <a:gd name="connsiteY338" fmla="*/ 680505 h 1176182"/>
              <a:gd name="connsiteX339" fmla="*/ 583067 w 802950"/>
              <a:gd name="connsiteY339" fmla="*/ 680876 h 1176182"/>
              <a:gd name="connsiteX340" fmla="*/ 595435 w 802950"/>
              <a:gd name="connsiteY340" fmla="*/ 677170 h 1176182"/>
              <a:gd name="connsiteX341" fmla="*/ 603556 w 802950"/>
              <a:gd name="connsiteY341" fmla="*/ 678899 h 1176182"/>
              <a:gd name="connsiteX342" fmla="*/ 616924 w 802950"/>
              <a:gd name="connsiteY342" fmla="*/ 675563 h 1176182"/>
              <a:gd name="connsiteX343" fmla="*/ 625420 w 802950"/>
              <a:gd name="connsiteY343" fmla="*/ 679023 h 1176182"/>
              <a:gd name="connsiteX344" fmla="*/ 633041 w 802950"/>
              <a:gd name="connsiteY344" fmla="*/ 686065 h 1176182"/>
              <a:gd name="connsiteX345" fmla="*/ 642286 w 802950"/>
              <a:gd name="connsiteY345" fmla="*/ 683841 h 1176182"/>
              <a:gd name="connsiteX346" fmla="*/ 651406 w 802950"/>
              <a:gd name="connsiteY346" fmla="*/ 685571 h 1176182"/>
              <a:gd name="connsiteX347" fmla="*/ 625420 w 802950"/>
              <a:gd name="connsiteY347" fmla="*/ 656413 h 1176182"/>
              <a:gd name="connsiteX348" fmla="*/ 613301 w 802950"/>
              <a:gd name="connsiteY348" fmla="*/ 642329 h 1176182"/>
              <a:gd name="connsiteX349" fmla="*/ 620047 w 802950"/>
              <a:gd name="connsiteY349" fmla="*/ 630468 h 1176182"/>
              <a:gd name="connsiteX350" fmla="*/ 626544 w 802950"/>
              <a:gd name="connsiteY350" fmla="*/ 627750 h 1176182"/>
              <a:gd name="connsiteX351" fmla="*/ 614176 w 802950"/>
              <a:gd name="connsiteY351" fmla="*/ 621696 h 1176182"/>
              <a:gd name="connsiteX352" fmla="*/ 608554 w 802950"/>
              <a:gd name="connsiteY352" fmla="*/ 612801 h 1176182"/>
              <a:gd name="connsiteX353" fmla="*/ 603306 w 802950"/>
              <a:gd name="connsiteY353" fmla="*/ 612430 h 1176182"/>
              <a:gd name="connsiteX354" fmla="*/ 587690 w 802950"/>
              <a:gd name="connsiteY354" fmla="*/ 586856 h 1176182"/>
              <a:gd name="connsiteX355" fmla="*/ 565576 w 802950"/>
              <a:gd name="connsiteY355" fmla="*/ 576601 h 1176182"/>
              <a:gd name="connsiteX356" fmla="*/ 534718 w 802950"/>
              <a:gd name="connsiteY356" fmla="*/ 571041 h 1176182"/>
              <a:gd name="connsiteX357" fmla="*/ 532844 w 802950"/>
              <a:gd name="connsiteY357" fmla="*/ 559181 h 1176182"/>
              <a:gd name="connsiteX358" fmla="*/ 525722 w 802950"/>
              <a:gd name="connsiteY358" fmla="*/ 555351 h 1176182"/>
              <a:gd name="connsiteX359" fmla="*/ 514478 w 802950"/>
              <a:gd name="connsiteY359" fmla="*/ 522857 h 1176182"/>
              <a:gd name="connsiteX360" fmla="*/ 502609 w 802950"/>
              <a:gd name="connsiteY360" fmla="*/ 505190 h 1176182"/>
              <a:gd name="connsiteX361" fmla="*/ 493115 w 802950"/>
              <a:gd name="connsiteY361" fmla="*/ 463554 h 1176182"/>
              <a:gd name="connsiteX362" fmla="*/ 483495 w 802950"/>
              <a:gd name="connsiteY362" fmla="*/ 449964 h 1176182"/>
              <a:gd name="connsiteX363" fmla="*/ 475124 w 802950"/>
              <a:gd name="connsiteY363" fmla="*/ 450334 h 1176182"/>
              <a:gd name="connsiteX364" fmla="*/ 447763 w 802950"/>
              <a:gd name="connsiteY364" fmla="*/ 413764 h 1176182"/>
              <a:gd name="connsiteX365" fmla="*/ 432272 w 802950"/>
              <a:gd name="connsiteY365" fmla="*/ 411046 h 1176182"/>
              <a:gd name="connsiteX366" fmla="*/ 420028 w 802950"/>
              <a:gd name="connsiteY366" fmla="*/ 401780 h 1176182"/>
              <a:gd name="connsiteX367" fmla="*/ 400164 w 802950"/>
              <a:gd name="connsiteY367" fmla="*/ 394985 h 1176182"/>
              <a:gd name="connsiteX368" fmla="*/ 392793 w 802950"/>
              <a:gd name="connsiteY368" fmla="*/ 402398 h 1176182"/>
              <a:gd name="connsiteX369" fmla="*/ 377925 w 802950"/>
              <a:gd name="connsiteY369" fmla="*/ 412899 h 1176182"/>
              <a:gd name="connsiteX370" fmla="*/ 356062 w 802950"/>
              <a:gd name="connsiteY370" fmla="*/ 406845 h 1176182"/>
              <a:gd name="connsiteX371" fmla="*/ 345817 w 802950"/>
              <a:gd name="connsiteY371" fmla="*/ 408699 h 1176182"/>
              <a:gd name="connsiteX372" fmla="*/ 328202 w 802950"/>
              <a:gd name="connsiteY372" fmla="*/ 403880 h 1176182"/>
              <a:gd name="connsiteX373" fmla="*/ 322580 w 802950"/>
              <a:gd name="connsiteY373" fmla="*/ 394738 h 1176182"/>
              <a:gd name="connsiteX374" fmla="*/ 333199 w 802950"/>
              <a:gd name="connsiteY374" fmla="*/ 399432 h 1176182"/>
              <a:gd name="connsiteX375" fmla="*/ 354063 w 802950"/>
              <a:gd name="connsiteY375" fmla="*/ 400174 h 1176182"/>
              <a:gd name="connsiteX376" fmla="*/ 371179 w 802950"/>
              <a:gd name="connsiteY376" fmla="*/ 393749 h 1176182"/>
              <a:gd name="connsiteX377" fmla="*/ 375801 w 802950"/>
              <a:gd name="connsiteY377" fmla="*/ 379912 h 1176182"/>
              <a:gd name="connsiteX378" fmla="*/ 393542 w 802950"/>
              <a:gd name="connsiteY378" fmla="*/ 379912 h 1176182"/>
              <a:gd name="connsiteX379" fmla="*/ 409034 w 802950"/>
              <a:gd name="connsiteY379" fmla="*/ 367186 h 1176182"/>
              <a:gd name="connsiteX380" fmla="*/ 392418 w 802950"/>
              <a:gd name="connsiteY380" fmla="*/ 360268 h 1176182"/>
              <a:gd name="connsiteX381" fmla="*/ 390919 w 802950"/>
              <a:gd name="connsiteY381" fmla="*/ 350878 h 1176182"/>
              <a:gd name="connsiteX382" fmla="*/ 384047 w 802950"/>
              <a:gd name="connsiteY382" fmla="*/ 345936 h 1176182"/>
              <a:gd name="connsiteX383" fmla="*/ 361934 w 802950"/>
              <a:gd name="connsiteY383" fmla="*/ 358909 h 1176182"/>
              <a:gd name="connsiteX384" fmla="*/ 357936 w 802950"/>
              <a:gd name="connsiteY384" fmla="*/ 354584 h 1176182"/>
              <a:gd name="connsiteX385" fmla="*/ 374677 w 802950"/>
              <a:gd name="connsiteY385" fmla="*/ 341241 h 1176182"/>
              <a:gd name="connsiteX386" fmla="*/ 395541 w 802950"/>
              <a:gd name="connsiteY386" fmla="*/ 341735 h 1176182"/>
              <a:gd name="connsiteX387" fmla="*/ 407285 w 802950"/>
              <a:gd name="connsiteY387" fmla="*/ 330739 h 1176182"/>
              <a:gd name="connsiteX388" fmla="*/ 408909 w 802950"/>
              <a:gd name="connsiteY388" fmla="*/ 321226 h 1176182"/>
              <a:gd name="connsiteX389" fmla="*/ 417030 w 802950"/>
              <a:gd name="connsiteY389" fmla="*/ 315543 h 1176182"/>
              <a:gd name="connsiteX390" fmla="*/ 428149 w 802950"/>
              <a:gd name="connsiteY390" fmla="*/ 291698 h 1176182"/>
              <a:gd name="connsiteX391" fmla="*/ 435270 w 802950"/>
              <a:gd name="connsiteY391" fmla="*/ 280455 h 1176182"/>
              <a:gd name="connsiteX392" fmla="*/ 433896 w 802950"/>
              <a:gd name="connsiteY392" fmla="*/ 272795 h 1176182"/>
              <a:gd name="connsiteX393" fmla="*/ 441892 w 802950"/>
              <a:gd name="connsiteY393" fmla="*/ 256734 h 1176182"/>
              <a:gd name="connsiteX394" fmla="*/ 438518 w 802950"/>
              <a:gd name="connsiteY394" fmla="*/ 251298 h 1176182"/>
              <a:gd name="connsiteX395" fmla="*/ 445265 w 802950"/>
              <a:gd name="connsiteY395" fmla="*/ 229306 h 1176182"/>
              <a:gd name="connsiteX396" fmla="*/ 459257 w 802950"/>
              <a:gd name="connsiteY396" fmla="*/ 216457 h 1176182"/>
              <a:gd name="connsiteX397" fmla="*/ 458633 w 802950"/>
              <a:gd name="connsiteY397" fmla="*/ 202496 h 1176182"/>
              <a:gd name="connsiteX398" fmla="*/ 436270 w 802950"/>
              <a:gd name="connsiteY398" fmla="*/ 183964 h 1176182"/>
              <a:gd name="connsiteX399" fmla="*/ 431897 w 802950"/>
              <a:gd name="connsiteY399" fmla="*/ 187670 h 1176182"/>
              <a:gd name="connsiteX400" fmla="*/ 395166 w 802950"/>
              <a:gd name="connsiteY400" fmla="*/ 190388 h 1176182"/>
              <a:gd name="connsiteX401" fmla="*/ 372428 w 802950"/>
              <a:gd name="connsiteY401" fmla="*/ 187300 h 1176182"/>
              <a:gd name="connsiteX402" fmla="*/ 366057 w 802950"/>
              <a:gd name="connsiteY402" fmla="*/ 192118 h 1176182"/>
              <a:gd name="connsiteX403" fmla="*/ 354937 w 802950"/>
              <a:gd name="connsiteY403" fmla="*/ 192612 h 1176182"/>
              <a:gd name="connsiteX404" fmla="*/ 340820 w 802950"/>
              <a:gd name="connsiteY404" fmla="*/ 188412 h 1176182"/>
              <a:gd name="connsiteX405" fmla="*/ 331075 w 802950"/>
              <a:gd name="connsiteY405" fmla="*/ 189276 h 1176182"/>
              <a:gd name="connsiteX406" fmla="*/ 329951 w 802950"/>
              <a:gd name="connsiteY406" fmla="*/ 194218 h 1176182"/>
              <a:gd name="connsiteX407" fmla="*/ 316208 w 802950"/>
              <a:gd name="connsiteY407" fmla="*/ 199037 h 1176182"/>
              <a:gd name="connsiteX408" fmla="*/ 301591 w 802950"/>
              <a:gd name="connsiteY408" fmla="*/ 207685 h 1176182"/>
              <a:gd name="connsiteX409" fmla="*/ 295719 w 802950"/>
              <a:gd name="connsiteY409" fmla="*/ 207685 h 1176182"/>
              <a:gd name="connsiteX410" fmla="*/ 285974 w 802950"/>
              <a:gd name="connsiteY410" fmla="*/ 216086 h 1176182"/>
              <a:gd name="connsiteX411" fmla="*/ 282726 w 802950"/>
              <a:gd name="connsiteY411" fmla="*/ 213121 h 1176182"/>
              <a:gd name="connsiteX412" fmla="*/ 295594 w 802950"/>
              <a:gd name="connsiteY412" fmla="*/ 197183 h 1176182"/>
              <a:gd name="connsiteX413" fmla="*/ 308837 w 802950"/>
              <a:gd name="connsiteY413" fmla="*/ 173833 h 1176182"/>
              <a:gd name="connsiteX414" fmla="*/ 298717 w 802950"/>
              <a:gd name="connsiteY414" fmla="*/ 179887 h 1176182"/>
              <a:gd name="connsiteX415" fmla="*/ 285724 w 802950"/>
              <a:gd name="connsiteY415" fmla="*/ 175562 h 1176182"/>
              <a:gd name="connsiteX416" fmla="*/ 293095 w 802950"/>
              <a:gd name="connsiteY416" fmla="*/ 170373 h 1176182"/>
              <a:gd name="connsiteX417" fmla="*/ 295469 w 802950"/>
              <a:gd name="connsiteY417" fmla="*/ 159748 h 1176182"/>
              <a:gd name="connsiteX418" fmla="*/ 330076 w 802950"/>
              <a:gd name="connsiteY418" fmla="*/ 131579 h 1176182"/>
              <a:gd name="connsiteX419" fmla="*/ 339696 w 802950"/>
              <a:gd name="connsiteY419" fmla="*/ 113665 h 1176182"/>
              <a:gd name="connsiteX420" fmla="*/ 351689 w 802950"/>
              <a:gd name="connsiteY420" fmla="*/ 108846 h 1176182"/>
              <a:gd name="connsiteX421" fmla="*/ 356936 w 802950"/>
              <a:gd name="connsiteY421" fmla="*/ 92909 h 1176182"/>
              <a:gd name="connsiteX422" fmla="*/ 350440 w 802950"/>
              <a:gd name="connsiteY422" fmla="*/ 86237 h 1176182"/>
              <a:gd name="connsiteX423" fmla="*/ 356812 w 802950"/>
              <a:gd name="connsiteY423" fmla="*/ 74747 h 1176182"/>
              <a:gd name="connsiteX424" fmla="*/ 355812 w 802950"/>
              <a:gd name="connsiteY424" fmla="*/ 67828 h 1176182"/>
              <a:gd name="connsiteX425" fmla="*/ 337697 w 802950"/>
              <a:gd name="connsiteY425" fmla="*/ 68693 h 1176182"/>
              <a:gd name="connsiteX426" fmla="*/ 330700 w 802950"/>
              <a:gd name="connsiteY426" fmla="*/ 76724 h 1176182"/>
              <a:gd name="connsiteX427" fmla="*/ 319081 w 802950"/>
              <a:gd name="connsiteY427" fmla="*/ 73758 h 1176182"/>
              <a:gd name="connsiteX428" fmla="*/ 302090 w 802950"/>
              <a:gd name="connsiteY428" fmla="*/ 82283 h 1176182"/>
              <a:gd name="connsiteX429" fmla="*/ 286099 w 802950"/>
              <a:gd name="connsiteY429" fmla="*/ 81295 h 1176182"/>
              <a:gd name="connsiteX430" fmla="*/ 272731 w 802950"/>
              <a:gd name="connsiteY430" fmla="*/ 87472 h 1176182"/>
              <a:gd name="connsiteX431" fmla="*/ 265110 w 802950"/>
              <a:gd name="connsiteY431" fmla="*/ 87843 h 1176182"/>
              <a:gd name="connsiteX432" fmla="*/ 257489 w 802950"/>
              <a:gd name="connsiteY432" fmla="*/ 95503 h 1176182"/>
              <a:gd name="connsiteX433" fmla="*/ 258863 w 802950"/>
              <a:gd name="connsiteY433" fmla="*/ 87472 h 1176182"/>
              <a:gd name="connsiteX434" fmla="*/ 251367 w 802950"/>
              <a:gd name="connsiteY434" fmla="*/ 84631 h 1176182"/>
              <a:gd name="connsiteX435" fmla="*/ 237000 w 802950"/>
              <a:gd name="connsiteY435" fmla="*/ 98221 h 1176182"/>
              <a:gd name="connsiteX436" fmla="*/ 240998 w 802950"/>
              <a:gd name="connsiteY436" fmla="*/ 86484 h 1176182"/>
              <a:gd name="connsiteX437" fmla="*/ 220134 w 802950"/>
              <a:gd name="connsiteY437" fmla="*/ 77959 h 1176182"/>
              <a:gd name="connsiteX438" fmla="*/ 217135 w 802950"/>
              <a:gd name="connsiteY438" fmla="*/ 90685 h 1176182"/>
              <a:gd name="connsiteX439" fmla="*/ 210514 w 802950"/>
              <a:gd name="connsiteY439" fmla="*/ 96244 h 1176182"/>
              <a:gd name="connsiteX440" fmla="*/ 213012 w 802950"/>
              <a:gd name="connsiteY440" fmla="*/ 107611 h 1176182"/>
              <a:gd name="connsiteX441" fmla="*/ 208890 w 802950"/>
              <a:gd name="connsiteY441" fmla="*/ 108105 h 1176182"/>
              <a:gd name="connsiteX442" fmla="*/ 210139 w 802950"/>
              <a:gd name="connsiteY442" fmla="*/ 122313 h 1176182"/>
              <a:gd name="connsiteX443" fmla="*/ 195397 w 802950"/>
              <a:gd name="connsiteY443" fmla="*/ 126143 h 1176182"/>
              <a:gd name="connsiteX444" fmla="*/ 203143 w 802950"/>
              <a:gd name="connsiteY444" fmla="*/ 138004 h 1176182"/>
              <a:gd name="connsiteX445" fmla="*/ 197396 w 802950"/>
              <a:gd name="connsiteY445" fmla="*/ 150482 h 1176182"/>
              <a:gd name="connsiteX446" fmla="*/ 190150 w 802950"/>
              <a:gd name="connsiteY446" fmla="*/ 151100 h 1176182"/>
              <a:gd name="connsiteX447" fmla="*/ 208515 w 802950"/>
              <a:gd name="connsiteY447" fmla="*/ 165926 h 1176182"/>
              <a:gd name="connsiteX448" fmla="*/ 215261 w 802950"/>
              <a:gd name="connsiteY448" fmla="*/ 176798 h 1176182"/>
              <a:gd name="connsiteX449" fmla="*/ 196896 w 802950"/>
              <a:gd name="connsiteY449" fmla="*/ 168520 h 1176182"/>
              <a:gd name="connsiteX450" fmla="*/ 190524 w 802950"/>
              <a:gd name="connsiteY450" fmla="*/ 174451 h 1176182"/>
              <a:gd name="connsiteX451" fmla="*/ 176907 w 802950"/>
              <a:gd name="connsiteY451" fmla="*/ 166296 h 1176182"/>
              <a:gd name="connsiteX452" fmla="*/ 176407 w 802950"/>
              <a:gd name="connsiteY452" fmla="*/ 172597 h 1176182"/>
              <a:gd name="connsiteX453" fmla="*/ 180280 w 802950"/>
              <a:gd name="connsiteY453" fmla="*/ 180752 h 1176182"/>
              <a:gd name="connsiteX454" fmla="*/ 176407 w 802950"/>
              <a:gd name="connsiteY454" fmla="*/ 187176 h 1176182"/>
              <a:gd name="connsiteX455" fmla="*/ 168911 w 802950"/>
              <a:gd name="connsiteY455" fmla="*/ 173956 h 1176182"/>
              <a:gd name="connsiteX456" fmla="*/ 163289 w 802950"/>
              <a:gd name="connsiteY456" fmla="*/ 188535 h 1176182"/>
              <a:gd name="connsiteX457" fmla="*/ 170535 w 802950"/>
              <a:gd name="connsiteY457" fmla="*/ 195824 h 1176182"/>
              <a:gd name="connsiteX458" fmla="*/ 165288 w 802950"/>
              <a:gd name="connsiteY458" fmla="*/ 203361 h 1176182"/>
              <a:gd name="connsiteX459" fmla="*/ 176532 w 802950"/>
              <a:gd name="connsiteY459" fmla="*/ 214974 h 1176182"/>
              <a:gd name="connsiteX460" fmla="*/ 186901 w 802950"/>
              <a:gd name="connsiteY460" fmla="*/ 214974 h 1176182"/>
              <a:gd name="connsiteX461" fmla="*/ 174908 w 802950"/>
              <a:gd name="connsiteY461" fmla="*/ 219916 h 1176182"/>
              <a:gd name="connsiteX462" fmla="*/ 162164 w 802950"/>
              <a:gd name="connsiteY462" fmla="*/ 213492 h 1176182"/>
              <a:gd name="connsiteX463" fmla="*/ 165787 w 802950"/>
              <a:gd name="connsiteY463" fmla="*/ 233260 h 1176182"/>
              <a:gd name="connsiteX464" fmla="*/ 165787 w 802950"/>
              <a:gd name="connsiteY464" fmla="*/ 239931 h 1176182"/>
              <a:gd name="connsiteX465" fmla="*/ 188400 w 802950"/>
              <a:gd name="connsiteY465" fmla="*/ 235360 h 1176182"/>
              <a:gd name="connsiteX466" fmla="*/ 173783 w 802950"/>
              <a:gd name="connsiteY466" fmla="*/ 243391 h 1176182"/>
              <a:gd name="connsiteX467" fmla="*/ 172284 w 802950"/>
              <a:gd name="connsiteY467" fmla="*/ 247591 h 1176182"/>
              <a:gd name="connsiteX468" fmla="*/ 177281 w 802950"/>
              <a:gd name="connsiteY468" fmla="*/ 250309 h 1176182"/>
              <a:gd name="connsiteX469" fmla="*/ 191524 w 802950"/>
              <a:gd name="connsiteY469" fmla="*/ 244503 h 1176182"/>
              <a:gd name="connsiteX470" fmla="*/ 188276 w 802950"/>
              <a:gd name="connsiteY470" fmla="*/ 248333 h 1176182"/>
              <a:gd name="connsiteX471" fmla="*/ 194522 w 802950"/>
              <a:gd name="connsiteY471" fmla="*/ 255375 h 1176182"/>
              <a:gd name="connsiteX472" fmla="*/ 183653 w 802950"/>
              <a:gd name="connsiteY472" fmla="*/ 251545 h 1176182"/>
              <a:gd name="connsiteX473" fmla="*/ 179405 w 802950"/>
              <a:gd name="connsiteY473" fmla="*/ 254510 h 1176182"/>
              <a:gd name="connsiteX474" fmla="*/ 176657 w 802950"/>
              <a:gd name="connsiteY474" fmla="*/ 264394 h 1176182"/>
              <a:gd name="connsiteX475" fmla="*/ 182654 w 802950"/>
              <a:gd name="connsiteY475" fmla="*/ 268224 h 1176182"/>
              <a:gd name="connsiteX476" fmla="*/ 174033 w 802950"/>
              <a:gd name="connsiteY476" fmla="*/ 270077 h 1176182"/>
              <a:gd name="connsiteX477" fmla="*/ 168911 w 802950"/>
              <a:gd name="connsiteY477" fmla="*/ 278602 h 1176182"/>
              <a:gd name="connsiteX478" fmla="*/ 179030 w 802950"/>
              <a:gd name="connsiteY478" fmla="*/ 281567 h 1176182"/>
              <a:gd name="connsiteX479" fmla="*/ 181654 w 802950"/>
              <a:gd name="connsiteY479" fmla="*/ 289104 h 1176182"/>
              <a:gd name="connsiteX480" fmla="*/ 165038 w 802950"/>
              <a:gd name="connsiteY480" fmla="*/ 283667 h 1176182"/>
              <a:gd name="connsiteX481" fmla="*/ 162414 w 802950"/>
              <a:gd name="connsiteY481" fmla="*/ 294540 h 1176182"/>
              <a:gd name="connsiteX482" fmla="*/ 169161 w 802950"/>
              <a:gd name="connsiteY482" fmla="*/ 298740 h 1176182"/>
              <a:gd name="connsiteX483" fmla="*/ 165662 w 802950"/>
              <a:gd name="connsiteY483" fmla="*/ 306030 h 1176182"/>
              <a:gd name="connsiteX484" fmla="*/ 158166 w 802950"/>
              <a:gd name="connsiteY484" fmla="*/ 311960 h 1176182"/>
              <a:gd name="connsiteX485" fmla="*/ 142175 w 802950"/>
              <a:gd name="connsiteY485" fmla="*/ 313072 h 1176182"/>
              <a:gd name="connsiteX486" fmla="*/ 135553 w 802950"/>
              <a:gd name="connsiteY486" fmla="*/ 320485 h 1176182"/>
              <a:gd name="connsiteX487" fmla="*/ 141800 w 802950"/>
              <a:gd name="connsiteY487" fmla="*/ 324068 h 1176182"/>
              <a:gd name="connsiteX488" fmla="*/ 155418 w 802950"/>
              <a:gd name="connsiteY488" fmla="*/ 322585 h 1176182"/>
              <a:gd name="connsiteX489" fmla="*/ 164663 w 802950"/>
              <a:gd name="connsiteY489" fmla="*/ 324933 h 1176182"/>
              <a:gd name="connsiteX490" fmla="*/ 162789 w 802950"/>
              <a:gd name="connsiteY490" fmla="*/ 329010 h 1176182"/>
              <a:gd name="connsiteX491" fmla="*/ 152295 w 802950"/>
              <a:gd name="connsiteY491" fmla="*/ 329504 h 1176182"/>
              <a:gd name="connsiteX492" fmla="*/ 167037 w 802950"/>
              <a:gd name="connsiteY492" fmla="*/ 342106 h 1176182"/>
              <a:gd name="connsiteX493" fmla="*/ 171534 w 802950"/>
              <a:gd name="connsiteY493" fmla="*/ 340129 h 1176182"/>
              <a:gd name="connsiteX494" fmla="*/ 179155 w 802950"/>
              <a:gd name="connsiteY494" fmla="*/ 347419 h 1176182"/>
              <a:gd name="connsiteX495" fmla="*/ 214637 w 802950"/>
              <a:gd name="connsiteY495" fmla="*/ 308748 h 1176182"/>
              <a:gd name="connsiteX496" fmla="*/ 209264 w 802950"/>
              <a:gd name="connsiteY496" fmla="*/ 320238 h 1176182"/>
              <a:gd name="connsiteX497" fmla="*/ 215011 w 802950"/>
              <a:gd name="connsiteY497" fmla="*/ 323450 h 1176182"/>
              <a:gd name="connsiteX498" fmla="*/ 204017 w 802950"/>
              <a:gd name="connsiteY498" fmla="*/ 327774 h 1176182"/>
              <a:gd name="connsiteX499" fmla="*/ 195897 w 802950"/>
              <a:gd name="connsiteY499" fmla="*/ 349519 h 1176182"/>
              <a:gd name="connsiteX500" fmla="*/ 197146 w 802950"/>
              <a:gd name="connsiteY500" fmla="*/ 354708 h 1176182"/>
              <a:gd name="connsiteX501" fmla="*/ 186651 w 802950"/>
              <a:gd name="connsiteY501" fmla="*/ 376823 h 1176182"/>
              <a:gd name="connsiteX502" fmla="*/ 191649 w 802950"/>
              <a:gd name="connsiteY502" fmla="*/ 379418 h 1176182"/>
              <a:gd name="connsiteX503" fmla="*/ 183028 w 802950"/>
              <a:gd name="connsiteY503" fmla="*/ 405610 h 1176182"/>
              <a:gd name="connsiteX504" fmla="*/ 186152 w 802950"/>
              <a:gd name="connsiteY504" fmla="*/ 422289 h 1176182"/>
              <a:gd name="connsiteX505" fmla="*/ 179655 w 802950"/>
              <a:gd name="connsiteY505" fmla="*/ 432420 h 1176182"/>
              <a:gd name="connsiteX506" fmla="*/ 185152 w 802950"/>
              <a:gd name="connsiteY506" fmla="*/ 440574 h 1176182"/>
              <a:gd name="connsiteX507" fmla="*/ 191649 w 802950"/>
              <a:gd name="connsiteY507" fmla="*/ 437115 h 1176182"/>
              <a:gd name="connsiteX508" fmla="*/ 180655 w 802950"/>
              <a:gd name="connsiteY508" fmla="*/ 456141 h 1176182"/>
              <a:gd name="connsiteX509" fmla="*/ 179780 w 802950"/>
              <a:gd name="connsiteY509" fmla="*/ 481963 h 1176182"/>
              <a:gd name="connsiteX510" fmla="*/ 171534 w 802950"/>
              <a:gd name="connsiteY510" fmla="*/ 490735 h 1176182"/>
              <a:gd name="connsiteX511" fmla="*/ 172409 w 802950"/>
              <a:gd name="connsiteY511" fmla="*/ 497036 h 1176182"/>
              <a:gd name="connsiteX512" fmla="*/ 191899 w 802950"/>
              <a:gd name="connsiteY512" fmla="*/ 496171 h 1176182"/>
              <a:gd name="connsiteX513" fmla="*/ 188525 w 802950"/>
              <a:gd name="connsiteY513" fmla="*/ 483075 h 1176182"/>
              <a:gd name="connsiteX514" fmla="*/ 196021 w 802950"/>
              <a:gd name="connsiteY514" fmla="*/ 463554 h 1176182"/>
              <a:gd name="connsiteX515" fmla="*/ 194772 w 802950"/>
              <a:gd name="connsiteY515" fmla="*/ 451817 h 1176182"/>
              <a:gd name="connsiteX516" fmla="*/ 204267 w 802950"/>
              <a:gd name="connsiteY516" fmla="*/ 439092 h 1176182"/>
              <a:gd name="connsiteX517" fmla="*/ 195272 w 802950"/>
              <a:gd name="connsiteY517" fmla="*/ 407340 h 1176182"/>
              <a:gd name="connsiteX518" fmla="*/ 202518 w 802950"/>
              <a:gd name="connsiteY518" fmla="*/ 406969 h 1176182"/>
              <a:gd name="connsiteX519" fmla="*/ 224257 w 802950"/>
              <a:gd name="connsiteY519" fmla="*/ 378676 h 1176182"/>
              <a:gd name="connsiteX520" fmla="*/ 208015 w 802950"/>
              <a:gd name="connsiteY520" fmla="*/ 405239 h 1176182"/>
              <a:gd name="connsiteX521" fmla="*/ 206766 w 802950"/>
              <a:gd name="connsiteY521" fmla="*/ 424142 h 1176182"/>
              <a:gd name="connsiteX522" fmla="*/ 213512 w 802950"/>
              <a:gd name="connsiteY522" fmla="*/ 428713 h 1176182"/>
              <a:gd name="connsiteX523" fmla="*/ 214387 w 802950"/>
              <a:gd name="connsiteY523" fmla="*/ 417471 h 1176182"/>
              <a:gd name="connsiteX524" fmla="*/ 225381 w 802950"/>
              <a:gd name="connsiteY524" fmla="*/ 407587 h 1176182"/>
              <a:gd name="connsiteX525" fmla="*/ 231378 w 802950"/>
              <a:gd name="connsiteY525" fmla="*/ 424760 h 1176182"/>
              <a:gd name="connsiteX526" fmla="*/ 239873 w 802950"/>
              <a:gd name="connsiteY526" fmla="*/ 403386 h 1176182"/>
              <a:gd name="connsiteX527" fmla="*/ 237125 w 802950"/>
              <a:gd name="connsiteY527" fmla="*/ 388807 h 1176182"/>
              <a:gd name="connsiteX528" fmla="*/ 244621 w 802950"/>
              <a:gd name="connsiteY528" fmla="*/ 384607 h 1176182"/>
              <a:gd name="connsiteX529" fmla="*/ 242247 w 802950"/>
              <a:gd name="connsiteY529" fmla="*/ 403633 h 1176182"/>
              <a:gd name="connsiteX530" fmla="*/ 262361 w 802950"/>
              <a:gd name="connsiteY530" fmla="*/ 417347 h 1176182"/>
              <a:gd name="connsiteX531" fmla="*/ 245495 w 802950"/>
              <a:gd name="connsiteY531" fmla="*/ 413641 h 1176182"/>
              <a:gd name="connsiteX532" fmla="*/ 240623 w 802950"/>
              <a:gd name="connsiteY532" fmla="*/ 437980 h 1176182"/>
              <a:gd name="connsiteX533" fmla="*/ 245245 w 802950"/>
              <a:gd name="connsiteY533" fmla="*/ 455647 h 1176182"/>
              <a:gd name="connsiteX534" fmla="*/ 255365 w 802950"/>
              <a:gd name="connsiteY534" fmla="*/ 457624 h 1176182"/>
              <a:gd name="connsiteX535" fmla="*/ 261987 w 802950"/>
              <a:gd name="connsiteY535" fmla="*/ 473067 h 1176182"/>
              <a:gd name="connsiteX536" fmla="*/ 247744 w 802950"/>
              <a:gd name="connsiteY536" fmla="*/ 488758 h 1176182"/>
              <a:gd name="connsiteX537" fmla="*/ 234376 w 802950"/>
              <a:gd name="connsiteY537" fmla="*/ 528541 h 1176182"/>
              <a:gd name="connsiteX538" fmla="*/ 238624 w 802950"/>
              <a:gd name="connsiteY538" fmla="*/ 545838 h 1176182"/>
              <a:gd name="connsiteX539" fmla="*/ 225006 w 802950"/>
              <a:gd name="connsiteY539" fmla="*/ 538054 h 1176182"/>
              <a:gd name="connsiteX540" fmla="*/ 226505 w 802950"/>
              <a:gd name="connsiteY540" fmla="*/ 556833 h 1176182"/>
              <a:gd name="connsiteX541" fmla="*/ 245620 w 802950"/>
              <a:gd name="connsiteY541" fmla="*/ 581172 h 1176182"/>
              <a:gd name="connsiteX542" fmla="*/ 238999 w 802950"/>
              <a:gd name="connsiteY542" fmla="*/ 558316 h 1176182"/>
              <a:gd name="connsiteX543" fmla="*/ 251367 w 802950"/>
              <a:gd name="connsiteY543" fmla="*/ 554239 h 1176182"/>
              <a:gd name="connsiteX544" fmla="*/ 284350 w 802950"/>
              <a:gd name="connsiteY544" fmla="*/ 575736 h 1176182"/>
              <a:gd name="connsiteX545" fmla="*/ 284350 w 802950"/>
              <a:gd name="connsiteY545" fmla="*/ 557575 h 1176182"/>
              <a:gd name="connsiteX546" fmla="*/ 270607 w 802950"/>
              <a:gd name="connsiteY546" fmla="*/ 547691 h 1176182"/>
              <a:gd name="connsiteX547" fmla="*/ 278853 w 802950"/>
              <a:gd name="connsiteY547" fmla="*/ 545220 h 1176182"/>
              <a:gd name="connsiteX548" fmla="*/ 305339 w 802950"/>
              <a:gd name="connsiteY548" fmla="*/ 560046 h 1176182"/>
              <a:gd name="connsiteX549" fmla="*/ 323329 w 802950"/>
              <a:gd name="connsiteY549" fmla="*/ 556339 h 1176182"/>
              <a:gd name="connsiteX550" fmla="*/ 322954 w 802950"/>
              <a:gd name="connsiteY550" fmla="*/ 548679 h 1176182"/>
              <a:gd name="connsiteX551" fmla="*/ 339696 w 802950"/>
              <a:gd name="connsiteY551" fmla="*/ 548679 h 1176182"/>
              <a:gd name="connsiteX552" fmla="*/ 343943 w 802950"/>
              <a:gd name="connsiteY552" fmla="*/ 532988 h 1176182"/>
              <a:gd name="connsiteX553" fmla="*/ 389294 w 802950"/>
              <a:gd name="connsiteY553" fmla="*/ 532988 h 1176182"/>
              <a:gd name="connsiteX554" fmla="*/ 359685 w 802950"/>
              <a:gd name="connsiteY554" fmla="*/ 542007 h 1176182"/>
              <a:gd name="connsiteX555" fmla="*/ 343818 w 802950"/>
              <a:gd name="connsiteY555" fmla="*/ 593898 h 1176182"/>
              <a:gd name="connsiteX556" fmla="*/ 367806 w 802950"/>
              <a:gd name="connsiteY556" fmla="*/ 632692 h 1176182"/>
              <a:gd name="connsiteX557" fmla="*/ 378675 w 802950"/>
              <a:gd name="connsiteY557" fmla="*/ 625897 h 1176182"/>
              <a:gd name="connsiteX558" fmla="*/ 379550 w 802950"/>
              <a:gd name="connsiteY558" fmla="*/ 646900 h 1176182"/>
              <a:gd name="connsiteX559" fmla="*/ 393417 w 802950"/>
              <a:gd name="connsiteY559" fmla="*/ 628739 h 1176182"/>
              <a:gd name="connsiteX560" fmla="*/ 411658 w 802950"/>
              <a:gd name="connsiteY560" fmla="*/ 630592 h 1176182"/>
              <a:gd name="connsiteX561" fmla="*/ 406410 w 802950"/>
              <a:gd name="connsiteY561" fmla="*/ 652583 h 1176182"/>
              <a:gd name="connsiteX562" fmla="*/ 412157 w 802950"/>
              <a:gd name="connsiteY562" fmla="*/ 655796 h 1176182"/>
              <a:gd name="connsiteX563" fmla="*/ 394791 w 802950"/>
              <a:gd name="connsiteY563" fmla="*/ 670498 h 1176182"/>
              <a:gd name="connsiteX564" fmla="*/ 401413 w 802950"/>
              <a:gd name="connsiteY564" fmla="*/ 694590 h 1176182"/>
              <a:gd name="connsiteX565" fmla="*/ 392543 w 802950"/>
              <a:gd name="connsiteY565" fmla="*/ 713493 h 1176182"/>
              <a:gd name="connsiteX566" fmla="*/ 404286 w 802950"/>
              <a:gd name="connsiteY566" fmla="*/ 727207 h 1176182"/>
              <a:gd name="connsiteX567" fmla="*/ 417904 w 802950"/>
              <a:gd name="connsiteY567" fmla="*/ 738079 h 1176182"/>
              <a:gd name="connsiteX568" fmla="*/ 428773 w 802950"/>
              <a:gd name="connsiteY568" fmla="*/ 738573 h 1176182"/>
              <a:gd name="connsiteX569" fmla="*/ 421652 w 802950"/>
              <a:gd name="connsiteY569" fmla="*/ 744133 h 1176182"/>
              <a:gd name="connsiteX570" fmla="*/ 409534 w 802950"/>
              <a:gd name="connsiteY570" fmla="*/ 745368 h 1176182"/>
              <a:gd name="connsiteX571" fmla="*/ 398539 w 802950"/>
              <a:gd name="connsiteY571" fmla="*/ 731160 h 1176182"/>
              <a:gd name="connsiteX572" fmla="*/ 388670 w 802950"/>
              <a:gd name="connsiteY572" fmla="*/ 735485 h 1176182"/>
              <a:gd name="connsiteX573" fmla="*/ 397665 w 802950"/>
              <a:gd name="connsiteY573" fmla="*/ 749446 h 1176182"/>
              <a:gd name="connsiteX574" fmla="*/ 406910 w 802950"/>
              <a:gd name="connsiteY574" fmla="*/ 754635 h 1176182"/>
              <a:gd name="connsiteX575" fmla="*/ 392543 w 802950"/>
              <a:gd name="connsiteY575" fmla="*/ 752164 h 1176182"/>
              <a:gd name="connsiteX576" fmla="*/ 380549 w 802950"/>
              <a:gd name="connsiteY576" fmla="*/ 741168 h 1176182"/>
              <a:gd name="connsiteX577" fmla="*/ 351814 w 802950"/>
              <a:gd name="connsiteY577" fmla="*/ 751546 h 1176182"/>
              <a:gd name="connsiteX578" fmla="*/ 338571 w 802950"/>
              <a:gd name="connsiteY578" fmla="*/ 750063 h 1176182"/>
              <a:gd name="connsiteX579" fmla="*/ 309087 w 802950"/>
              <a:gd name="connsiteY579" fmla="*/ 766125 h 1176182"/>
              <a:gd name="connsiteX580" fmla="*/ 294469 w 802950"/>
              <a:gd name="connsiteY580" fmla="*/ 788487 h 1176182"/>
              <a:gd name="connsiteX581" fmla="*/ 273231 w 802950"/>
              <a:gd name="connsiteY581" fmla="*/ 803066 h 1176182"/>
              <a:gd name="connsiteX582" fmla="*/ 264485 w 802950"/>
              <a:gd name="connsiteY582" fmla="*/ 816779 h 1176182"/>
              <a:gd name="connsiteX583" fmla="*/ 278228 w 802950"/>
              <a:gd name="connsiteY583" fmla="*/ 813691 h 1176182"/>
              <a:gd name="connsiteX584" fmla="*/ 285349 w 802950"/>
              <a:gd name="connsiteY584" fmla="*/ 815791 h 1176182"/>
              <a:gd name="connsiteX585" fmla="*/ 287098 w 802950"/>
              <a:gd name="connsiteY585" fmla="*/ 807637 h 1176182"/>
              <a:gd name="connsiteX586" fmla="*/ 317582 w 802950"/>
              <a:gd name="connsiteY586" fmla="*/ 798247 h 1176182"/>
              <a:gd name="connsiteX587" fmla="*/ 315458 w 802950"/>
              <a:gd name="connsiteY587" fmla="*/ 814432 h 1176182"/>
              <a:gd name="connsiteX588" fmla="*/ 326702 w 802950"/>
              <a:gd name="connsiteY588" fmla="*/ 825057 h 1176182"/>
              <a:gd name="connsiteX589" fmla="*/ 315583 w 802950"/>
              <a:gd name="connsiteY589" fmla="*/ 833953 h 1176182"/>
              <a:gd name="connsiteX590" fmla="*/ 322705 w 802950"/>
              <a:gd name="connsiteY590" fmla="*/ 845813 h 1176182"/>
              <a:gd name="connsiteX591" fmla="*/ 330076 w 802950"/>
              <a:gd name="connsiteY591" fmla="*/ 847172 h 1176182"/>
              <a:gd name="connsiteX592" fmla="*/ 311585 w 802950"/>
              <a:gd name="connsiteY592" fmla="*/ 886090 h 1176182"/>
              <a:gd name="connsiteX593" fmla="*/ 297218 w 802950"/>
              <a:gd name="connsiteY593" fmla="*/ 891650 h 1176182"/>
              <a:gd name="connsiteX594" fmla="*/ 283100 w 802950"/>
              <a:gd name="connsiteY594" fmla="*/ 903140 h 1176182"/>
              <a:gd name="connsiteX595" fmla="*/ 275854 w 802950"/>
              <a:gd name="connsiteY595" fmla="*/ 903758 h 1176182"/>
              <a:gd name="connsiteX596" fmla="*/ 257614 w 802950"/>
              <a:gd name="connsiteY596" fmla="*/ 916112 h 1176182"/>
              <a:gd name="connsiteX597" fmla="*/ 244121 w 802950"/>
              <a:gd name="connsiteY597" fmla="*/ 916730 h 1176182"/>
              <a:gd name="connsiteX598" fmla="*/ 222882 w 802950"/>
              <a:gd name="connsiteY598" fmla="*/ 931680 h 1176182"/>
              <a:gd name="connsiteX599" fmla="*/ 240373 w 802950"/>
              <a:gd name="connsiteY599" fmla="*/ 933286 h 1176182"/>
              <a:gd name="connsiteX600" fmla="*/ 241997 w 802950"/>
              <a:gd name="connsiteY600" fmla="*/ 945764 h 1176182"/>
              <a:gd name="connsiteX601" fmla="*/ 229754 w 802950"/>
              <a:gd name="connsiteY601" fmla="*/ 952312 h 1176182"/>
              <a:gd name="connsiteX602" fmla="*/ 252117 w 802950"/>
              <a:gd name="connsiteY602" fmla="*/ 955154 h 1176182"/>
              <a:gd name="connsiteX603" fmla="*/ 246870 w 802950"/>
              <a:gd name="connsiteY603" fmla="*/ 960590 h 1176182"/>
              <a:gd name="connsiteX604" fmla="*/ 255740 w 802950"/>
              <a:gd name="connsiteY604" fmla="*/ 965038 h 1176182"/>
              <a:gd name="connsiteX605" fmla="*/ 268108 w 802950"/>
              <a:gd name="connsiteY605" fmla="*/ 960961 h 1176182"/>
              <a:gd name="connsiteX606" fmla="*/ 282226 w 802950"/>
              <a:gd name="connsiteY606" fmla="*/ 951571 h 1176182"/>
              <a:gd name="connsiteX607" fmla="*/ 305464 w 802950"/>
              <a:gd name="connsiteY607" fmla="*/ 942799 h 1176182"/>
              <a:gd name="connsiteX608" fmla="*/ 308087 w 802950"/>
              <a:gd name="connsiteY608" fmla="*/ 953548 h 1176182"/>
              <a:gd name="connsiteX609" fmla="*/ 326952 w 802950"/>
              <a:gd name="connsiteY609" fmla="*/ 957131 h 1176182"/>
              <a:gd name="connsiteX610" fmla="*/ 311835 w 802950"/>
              <a:gd name="connsiteY610" fmla="*/ 962073 h 1176182"/>
              <a:gd name="connsiteX611" fmla="*/ 310461 w 802950"/>
              <a:gd name="connsiteY611" fmla="*/ 970844 h 1176182"/>
              <a:gd name="connsiteX612" fmla="*/ 336197 w 802950"/>
              <a:gd name="connsiteY612" fmla="*/ 970350 h 1176182"/>
              <a:gd name="connsiteX613" fmla="*/ 335948 w 802950"/>
              <a:gd name="connsiteY613" fmla="*/ 965408 h 1176182"/>
              <a:gd name="connsiteX614" fmla="*/ 348691 w 802950"/>
              <a:gd name="connsiteY614" fmla="*/ 961331 h 1176182"/>
              <a:gd name="connsiteX615" fmla="*/ 362558 w 802950"/>
              <a:gd name="connsiteY615" fmla="*/ 975663 h 1176182"/>
              <a:gd name="connsiteX616" fmla="*/ 374927 w 802950"/>
              <a:gd name="connsiteY616" fmla="*/ 989006 h 1176182"/>
              <a:gd name="connsiteX617" fmla="*/ 404411 w 802950"/>
              <a:gd name="connsiteY617" fmla="*/ 987276 h 1176182"/>
              <a:gd name="connsiteX618" fmla="*/ 410783 w 802950"/>
              <a:gd name="connsiteY618" fmla="*/ 975416 h 1176182"/>
              <a:gd name="connsiteX619" fmla="*/ 424401 w 802950"/>
              <a:gd name="connsiteY619" fmla="*/ 968868 h 1176182"/>
              <a:gd name="connsiteX620" fmla="*/ 443141 w 802950"/>
              <a:gd name="connsiteY620" fmla="*/ 960961 h 1176182"/>
              <a:gd name="connsiteX621" fmla="*/ 450012 w 802950"/>
              <a:gd name="connsiteY621" fmla="*/ 950212 h 1176182"/>
              <a:gd name="connsiteX622" fmla="*/ 465629 w 802950"/>
              <a:gd name="connsiteY622" fmla="*/ 942181 h 1176182"/>
              <a:gd name="connsiteX623" fmla="*/ 444890 w 802950"/>
              <a:gd name="connsiteY623" fmla="*/ 968250 h 1176182"/>
              <a:gd name="connsiteX624" fmla="*/ 423901 w 802950"/>
              <a:gd name="connsiteY624" fmla="*/ 989871 h 1176182"/>
              <a:gd name="connsiteX625" fmla="*/ 423901 w 802950"/>
              <a:gd name="connsiteY625" fmla="*/ 1014334 h 1176182"/>
              <a:gd name="connsiteX626" fmla="*/ 409034 w 802950"/>
              <a:gd name="connsiteY626" fmla="*/ 1014334 h 1176182"/>
              <a:gd name="connsiteX627" fmla="*/ 397415 w 802950"/>
              <a:gd name="connsiteY627" fmla="*/ 1019028 h 1176182"/>
              <a:gd name="connsiteX628" fmla="*/ 383547 w 802950"/>
              <a:gd name="connsiteY628" fmla="*/ 1012357 h 1176182"/>
              <a:gd name="connsiteX629" fmla="*/ 345193 w 802950"/>
              <a:gd name="connsiteY629" fmla="*/ 1010009 h 1176182"/>
              <a:gd name="connsiteX630" fmla="*/ 318457 w 802950"/>
              <a:gd name="connsiteY630" fmla="*/ 1018164 h 1176182"/>
              <a:gd name="connsiteX631" fmla="*/ 319456 w 802950"/>
              <a:gd name="connsiteY631" fmla="*/ 1031754 h 1176182"/>
              <a:gd name="connsiteX632" fmla="*/ 308462 w 802950"/>
              <a:gd name="connsiteY632" fmla="*/ 1043120 h 1176182"/>
              <a:gd name="connsiteX633" fmla="*/ 293470 w 802950"/>
              <a:gd name="connsiteY633" fmla="*/ 1043862 h 1176182"/>
              <a:gd name="connsiteX634" fmla="*/ 292346 w 802950"/>
              <a:gd name="connsiteY634" fmla="*/ 1074996 h 1176182"/>
              <a:gd name="connsiteX635" fmla="*/ 276979 w 802950"/>
              <a:gd name="connsiteY635" fmla="*/ 1090069 h 1176182"/>
              <a:gd name="connsiteX636" fmla="*/ 273231 w 802950"/>
              <a:gd name="connsiteY636" fmla="*/ 1098347 h 1176182"/>
              <a:gd name="connsiteX637" fmla="*/ 255615 w 802950"/>
              <a:gd name="connsiteY637" fmla="*/ 1102300 h 1176182"/>
              <a:gd name="connsiteX638" fmla="*/ 251867 w 802950"/>
              <a:gd name="connsiteY638" fmla="*/ 1120338 h 1176182"/>
              <a:gd name="connsiteX639" fmla="*/ 244246 w 802950"/>
              <a:gd name="connsiteY639" fmla="*/ 1120709 h 1176182"/>
              <a:gd name="connsiteX640" fmla="*/ 240498 w 802950"/>
              <a:gd name="connsiteY640" fmla="*/ 1130346 h 1176182"/>
              <a:gd name="connsiteX641" fmla="*/ 219634 w 802950"/>
              <a:gd name="connsiteY641" fmla="*/ 1146654 h 1176182"/>
              <a:gd name="connsiteX642" fmla="*/ 209764 w 802950"/>
              <a:gd name="connsiteY642" fmla="*/ 1143689 h 1176182"/>
              <a:gd name="connsiteX643" fmla="*/ 195272 w 802950"/>
              <a:gd name="connsiteY643" fmla="*/ 1154808 h 1176182"/>
              <a:gd name="connsiteX644" fmla="*/ 195897 w 802950"/>
              <a:gd name="connsiteY644" fmla="*/ 1168399 h 1176182"/>
              <a:gd name="connsiteX645" fmla="*/ 212263 w 802950"/>
              <a:gd name="connsiteY645" fmla="*/ 1168646 h 1176182"/>
              <a:gd name="connsiteX646" fmla="*/ 212263 w 802950"/>
              <a:gd name="connsiteY646" fmla="*/ 1156414 h 1176182"/>
              <a:gd name="connsiteX647" fmla="*/ 232377 w 802950"/>
              <a:gd name="connsiteY647" fmla="*/ 1160739 h 1176182"/>
              <a:gd name="connsiteX648" fmla="*/ 241123 w 802950"/>
              <a:gd name="connsiteY648" fmla="*/ 1174700 h 117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Lst>
            <a:rect l="l" t="t" r="r" b="b"/>
            <a:pathLst>
              <a:path w="802950" h="1176182">
                <a:moveTo>
                  <a:pt x="147047" y="668645"/>
                </a:moveTo>
                <a:lnTo>
                  <a:pt x="126683" y="656537"/>
                </a:lnTo>
                <a:lnTo>
                  <a:pt x="113315" y="654437"/>
                </a:lnTo>
                <a:lnTo>
                  <a:pt x="94700" y="621079"/>
                </a:lnTo>
                <a:lnTo>
                  <a:pt x="67589" y="609094"/>
                </a:lnTo>
                <a:lnTo>
                  <a:pt x="57345" y="617372"/>
                </a:lnTo>
                <a:lnTo>
                  <a:pt x="53097" y="642452"/>
                </a:lnTo>
                <a:lnTo>
                  <a:pt x="39979" y="645665"/>
                </a:lnTo>
                <a:lnTo>
                  <a:pt x="0" y="611936"/>
                </a:lnTo>
                <a:lnTo>
                  <a:pt x="18115" y="570424"/>
                </a:lnTo>
                <a:lnTo>
                  <a:pt x="36606" y="567088"/>
                </a:lnTo>
                <a:lnTo>
                  <a:pt x="41228" y="551150"/>
                </a:lnTo>
                <a:lnTo>
                  <a:pt x="53097" y="544108"/>
                </a:lnTo>
                <a:lnTo>
                  <a:pt x="61592" y="534471"/>
                </a:lnTo>
                <a:lnTo>
                  <a:pt x="78708" y="530394"/>
                </a:lnTo>
                <a:lnTo>
                  <a:pt x="83956" y="523846"/>
                </a:lnTo>
                <a:lnTo>
                  <a:pt x="94325" y="522363"/>
                </a:lnTo>
                <a:lnTo>
                  <a:pt x="111191" y="510379"/>
                </a:lnTo>
                <a:lnTo>
                  <a:pt x="139052" y="511862"/>
                </a:lnTo>
                <a:lnTo>
                  <a:pt x="152919" y="518533"/>
                </a:lnTo>
                <a:lnTo>
                  <a:pt x="155418" y="535212"/>
                </a:lnTo>
                <a:lnTo>
                  <a:pt x="183778" y="571659"/>
                </a:lnTo>
                <a:lnTo>
                  <a:pt x="170660" y="582037"/>
                </a:lnTo>
                <a:lnTo>
                  <a:pt x="195397" y="582284"/>
                </a:lnTo>
                <a:lnTo>
                  <a:pt x="202643" y="621696"/>
                </a:lnTo>
                <a:lnTo>
                  <a:pt x="190899" y="591180"/>
                </a:lnTo>
                <a:lnTo>
                  <a:pt x="180904" y="593033"/>
                </a:lnTo>
                <a:lnTo>
                  <a:pt x="186526" y="603288"/>
                </a:lnTo>
                <a:lnTo>
                  <a:pt x="181904" y="617496"/>
                </a:lnTo>
                <a:lnTo>
                  <a:pt x="195522" y="619596"/>
                </a:lnTo>
                <a:lnTo>
                  <a:pt x="193148" y="634669"/>
                </a:lnTo>
                <a:lnTo>
                  <a:pt x="171409" y="632939"/>
                </a:lnTo>
                <a:lnTo>
                  <a:pt x="170535" y="645541"/>
                </a:lnTo>
                <a:lnTo>
                  <a:pt x="157042" y="657402"/>
                </a:lnTo>
                <a:lnTo>
                  <a:pt x="148671" y="655672"/>
                </a:lnTo>
                <a:lnTo>
                  <a:pt x="150670" y="668892"/>
                </a:lnTo>
                <a:lnTo>
                  <a:pt x="147047" y="668521"/>
                </a:lnTo>
                <a:lnTo>
                  <a:pt x="147047" y="668521"/>
                </a:lnTo>
                <a:close/>
                <a:moveTo>
                  <a:pt x="730864" y="961825"/>
                </a:moveTo>
                <a:lnTo>
                  <a:pt x="741983" y="966891"/>
                </a:lnTo>
                <a:lnTo>
                  <a:pt x="751353" y="964049"/>
                </a:lnTo>
                <a:lnTo>
                  <a:pt x="745731" y="957872"/>
                </a:lnTo>
                <a:lnTo>
                  <a:pt x="737111" y="958119"/>
                </a:lnTo>
                <a:lnTo>
                  <a:pt x="730864" y="961949"/>
                </a:lnTo>
                <a:lnTo>
                  <a:pt x="730864" y="961949"/>
                </a:lnTo>
                <a:close/>
                <a:moveTo>
                  <a:pt x="547336" y="1073019"/>
                </a:moveTo>
                <a:lnTo>
                  <a:pt x="571073" y="1059305"/>
                </a:lnTo>
                <a:lnTo>
                  <a:pt x="580318" y="1065483"/>
                </a:lnTo>
                <a:lnTo>
                  <a:pt x="589314" y="1064000"/>
                </a:lnTo>
                <a:lnTo>
                  <a:pt x="583817" y="1074378"/>
                </a:lnTo>
                <a:lnTo>
                  <a:pt x="584066" y="1080556"/>
                </a:lnTo>
                <a:lnTo>
                  <a:pt x="572073" y="1083274"/>
                </a:lnTo>
                <a:lnTo>
                  <a:pt x="559205" y="1074749"/>
                </a:lnTo>
                <a:lnTo>
                  <a:pt x="547336" y="1072896"/>
                </a:lnTo>
                <a:lnTo>
                  <a:pt x="547336" y="1072896"/>
                </a:lnTo>
                <a:close/>
                <a:moveTo>
                  <a:pt x="221883" y="425378"/>
                </a:moveTo>
                <a:lnTo>
                  <a:pt x="221008" y="437609"/>
                </a:lnTo>
                <a:lnTo>
                  <a:pt x="231503" y="445516"/>
                </a:lnTo>
                <a:lnTo>
                  <a:pt x="229879" y="432667"/>
                </a:lnTo>
                <a:lnTo>
                  <a:pt x="221883" y="425378"/>
                </a:lnTo>
                <a:lnTo>
                  <a:pt x="221883" y="425378"/>
                </a:lnTo>
                <a:close/>
                <a:moveTo>
                  <a:pt x="135553" y="414382"/>
                </a:moveTo>
                <a:lnTo>
                  <a:pt x="140301" y="397085"/>
                </a:lnTo>
                <a:lnTo>
                  <a:pt x="143174" y="406104"/>
                </a:lnTo>
                <a:lnTo>
                  <a:pt x="135553" y="414505"/>
                </a:lnTo>
                <a:lnTo>
                  <a:pt x="135553" y="414505"/>
                </a:lnTo>
                <a:close/>
                <a:moveTo>
                  <a:pt x="82082" y="360268"/>
                </a:moveTo>
                <a:lnTo>
                  <a:pt x="82831" y="347295"/>
                </a:lnTo>
                <a:lnTo>
                  <a:pt x="97449" y="347666"/>
                </a:lnTo>
                <a:lnTo>
                  <a:pt x="81957" y="360268"/>
                </a:lnTo>
                <a:lnTo>
                  <a:pt x="81957" y="360268"/>
                </a:lnTo>
                <a:close/>
                <a:moveTo>
                  <a:pt x="103820" y="341118"/>
                </a:moveTo>
                <a:lnTo>
                  <a:pt x="118562" y="321597"/>
                </a:lnTo>
                <a:lnTo>
                  <a:pt x="115314" y="335311"/>
                </a:lnTo>
                <a:lnTo>
                  <a:pt x="103695" y="341118"/>
                </a:lnTo>
                <a:lnTo>
                  <a:pt x="103695" y="341118"/>
                </a:lnTo>
                <a:close/>
                <a:moveTo>
                  <a:pt x="139426" y="303806"/>
                </a:moveTo>
                <a:lnTo>
                  <a:pt x="147047" y="295034"/>
                </a:lnTo>
                <a:lnTo>
                  <a:pt x="138427" y="295405"/>
                </a:lnTo>
                <a:lnTo>
                  <a:pt x="139426" y="303806"/>
                </a:lnTo>
                <a:lnTo>
                  <a:pt x="139426" y="303806"/>
                </a:lnTo>
                <a:close/>
                <a:moveTo>
                  <a:pt x="121061" y="280949"/>
                </a:moveTo>
                <a:lnTo>
                  <a:pt x="128932" y="294910"/>
                </a:lnTo>
                <a:lnTo>
                  <a:pt x="134929" y="288980"/>
                </a:lnTo>
                <a:lnTo>
                  <a:pt x="129681" y="279096"/>
                </a:lnTo>
                <a:lnTo>
                  <a:pt x="121061" y="280949"/>
                </a:lnTo>
                <a:lnTo>
                  <a:pt x="121061" y="280949"/>
                </a:lnTo>
                <a:close/>
                <a:moveTo>
                  <a:pt x="347317" y="1853"/>
                </a:moveTo>
                <a:lnTo>
                  <a:pt x="354937" y="9143"/>
                </a:lnTo>
                <a:lnTo>
                  <a:pt x="355937" y="0"/>
                </a:lnTo>
                <a:lnTo>
                  <a:pt x="347317" y="1853"/>
                </a:lnTo>
                <a:lnTo>
                  <a:pt x="347317" y="1853"/>
                </a:lnTo>
                <a:close/>
                <a:moveTo>
                  <a:pt x="329201" y="9266"/>
                </a:moveTo>
                <a:lnTo>
                  <a:pt x="342694" y="7536"/>
                </a:lnTo>
                <a:lnTo>
                  <a:pt x="353938" y="17544"/>
                </a:lnTo>
                <a:lnTo>
                  <a:pt x="347691" y="25451"/>
                </a:lnTo>
                <a:lnTo>
                  <a:pt x="367431" y="22856"/>
                </a:lnTo>
                <a:lnTo>
                  <a:pt x="367681" y="36447"/>
                </a:lnTo>
                <a:lnTo>
                  <a:pt x="358061" y="31011"/>
                </a:lnTo>
                <a:lnTo>
                  <a:pt x="341195" y="33852"/>
                </a:lnTo>
                <a:lnTo>
                  <a:pt x="339571" y="21003"/>
                </a:lnTo>
                <a:lnTo>
                  <a:pt x="336197" y="31999"/>
                </a:lnTo>
                <a:lnTo>
                  <a:pt x="330076" y="25698"/>
                </a:lnTo>
                <a:lnTo>
                  <a:pt x="329326" y="9390"/>
                </a:lnTo>
                <a:lnTo>
                  <a:pt x="329326" y="9390"/>
                </a:lnTo>
                <a:close/>
                <a:moveTo>
                  <a:pt x="329201" y="39288"/>
                </a:moveTo>
                <a:lnTo>
                  <a:pt x="339945" y="54485"/>
                </a:lnTo>
                <a:lnTo>
                  <a:pt x="343444" y="45960"/>
                </a:lnTo>
                <a:lnTo>
                  <a:pt x="337197" y="37188"/>
                </a:lnTo>
                <a:lnTo>
                  <a:pt x="329326" y="39288"/>
                </a:lnTo>
                <a:lnTo>
                  <a:pt x="329326" y="39288"/>
                </a:lnTo>
                <a:close/>
                <a:moveTo>
                  <a:pt x="71837" y="159625"/>
                </a:moveTo>
                <a:lnTo>
                  <a:pt x="79583" y="152953"/>
                </a:lnTo>
                <a:lnTo>
                  <a:pt x="69463" y="143316"/>
                </a:lnTo>
                <a:lnTo>
                  <a:pt x="78958" y="130344"/>
                </a:lnTo>
                <a:lnTo>
                  <a:pt x="98448" y="138127"/>
                </a:lnTo>
                <a:lnTo>
                  <a:pt x="93326" y="124784"/>
                </a:lnTo>
                <a:lnTo>
                  <a:pt x="133055" y="94268"/>
                </a:lnTo>
                <a:lnTo>
                  <a:pt x="136928" y="117495"/>
                </a:lnTo>
                <a:lnTo>
                  <a:pt x="121936" y="132444"/>
                </a:lnTo>
                <a:lnTo>
                  <a:pt x="117313" y="145911"/>
                </a:lnTo>
                <a:lnTo>
                  <a:pt x="123060" y="149864"/>
                </a:lnTo>
                <a:lnTo>
                  <a:pt x="112316" y="166420"/>
                </a:lnTo>
                <a:lnTo>
                  <a:pt x="96199" y="162961"/>
                </a:lnTo>
                <a:lnTo>
                  <a:pt x="80707" y="166173"/>
                </a:lnTo>
                <a:lnTo>
                  <a:pt x="72087" y="159625"/>
                </a:lnTo>
                <a:lnTo>
                  <a:pt x="72087" y="159625"/>
                </a:lnTo>
                <a:close/>
                <a:moveTo>
                  <a:pt x="71837" y="185446"/>
                </a:moveTo>
                <a:lnTo>
                  <a:pt x="83706" y="193601"/>
                </a:lnTo>
                <a:lnTo>
                  <a:pt x="103071" y="175192"/>
                </a:lnTo>
                <a:lnTo>
                  <a:pt x="88578" y="169879"/>
                </a:lnTo>
                <a:lnTo>
                  <a:pt x="81082" y="174080"/>
                </a:lnTo>
                <a:lnTo>
                  <a:pt x="77959" y="181616"/>
                </a:lnTo>
                <a:lnTo>
                  <a:pt x="71837" y="185446"/>
                </a:lnTo>
                <a:lnTo>
                  <a:pt x="71837" y="185446"/>
                </a:lnTo>
                <a:close/>
                <a:moveTo>
                  <a:pt x="68964" y="214233"/>
                </a:moveTo>
                <a:lnTo>
                  <a:pt x="53097" y="218804"/>
                </a:lnTo>
                <a:lnTo>
                  <a:pt x="40104" y="206820"/>
                </a:lnTo>
                <a:lnTo>
                  <a:pt x="46850" y="202620"/>
                </a:lnTo>
                <a:lnTo>
                  <a:pt x="69463" y="203979"/>
                </a:lnTo>
                <a:lnTo>
                  <a:pt x="68839" y="214110"/>
                </a:lnTo>
                <a:lnTo>
                  <a:pt x="68839" y="214110"/>
                </a:lnTo>
                <a:close/>
                <a:moveTo>
                  <a:pt x="60843" y="235236"/>
                </a:moveTo>
                <a:lnTo>
                  <a:pt x="49224" y="231283"/>
                </a:lnTo>
                <a:lnTo>
                  <a:pt x="48974" y="225723"/>
                </a:lnTo>
                <a:lnTo>
                  <a:pt x="65216" y="222511"/>
                </a:lnTo>
                <a:lnTo>
                  <a:pt x="60968" y="235236"/>
                </a:lnTo>
                <a:lnTo>
                  <a:pt x="60968" y="235236"/>
                </a:lnTo>
                <a:close/>
                <a:moveTo>
                  <a:pt x="46475" y="279961"/>
                </a:moveTo>
                <a:lnTo>
                  <a:pt x="51098" y="290957"/>
                </a:lnTo>
                <a:lnTo>
                  <a:pt x="39354" y="298864"/>
                </a:lnTo>
                <a:lnTo>
                  <a:pt x="39604" y="289351"/>
                </a:lnTo>
                <a:lnTo>
                  <a:pt x="46475" y="279961"/>
                </a:lnTo>
                <a:lnTo>
                  <a:pt x="46475" y="279961"/>
                </a:lnTo>
                <a:close/>
                <a:moveTo>
                  <a:pt x="61842" y="273289"/>
                </a:moveTo>
                <a:lnTo>
                  <a:pt x="57720" y="258464"/>
                </a:lnTo>
                <a:lnTo>
                  <a:pt x="61842" y="249815"/>
                </a:lnTo>
                <a:lnTo>
                  <a:pt x="59594" y="239066"/>
                </a:lnTo>
                <a:lnTo>
                  <a:pt x="50099" y="237707"/>
                </a:lnTo>
                <a:lnTo>
                  <a:pt x="51223" y="248209"/>
                </a:lnTo>
                <a:lnTo>
                  <a:pt x="46850" y="259575"/>
                </a:lnTo>
                <a:lnTo>
                  <a:pt x="50848" y="271313"/>
                </a:lnTo>
                <a:lnTo>
                  <a:pt x="61717" y="273166"/>
                </a:lnTo>
                <a:lnTo>
                  <a:pt x="61717" y="273166"/>
                </a:lnTo>
                <a:close/>
                <a:moveTo>
                  <a:pt x="152544" y="280208"/>
                </a:moveTo>
                <a:lnTo>
                  <a:pt x="150421" y="262911"/>
                </a:lnTo>
                <a:lnTo>
                  <a:pt x="129307" y="266000"/>
                </a:lnTo>
                <a:lnTo>
                  <a:pt x="116189" y="244997"/>
                </a:lnTo>
                <a:lnTo>
                  <a:pt x="118313" y="239314"/>
                </a:lnTo>
                <a:lnTo>
                  <a:pt x="111566" y="234742"/>
                </a:lnTo>
                <a:lnTo>
                  <a:pt x="111191" y="241414"/>
                </a:lnTo>
                <a:lnTo>
                  <a:pt x="93950" y="230047"/>
                </a:lnTo>
                <a:lnTo>
                  <a:pt x="100572" y="223129"/>
                </a:lnTo>
                <a:lnTo>
                  <a:pt x="107068" y="226959"/>
                </a:lnTo>
                <a:lnTo>
                  <a:pt x="105319" y="211268"/>
                </a:lnTo>
                <a:lnTo>
                  <a:pt x="125309" y="223623"/>
                </a:lnTo>
                <a:lnTo>
                  <a:pt x="122310" y="203484"/>
                </a:lnTo>
                <a:lnTo>
                  <a:pt x="131181" y="198913"/>
                </a:lnTo>
                <a:lnTo>
                  <a:pt x="141300" y="214233"/>
                </a:lnTo>
                <a:lnTo>
                  <a:pt x="140551" y="244626"/>
                </a:lnTo>
                <a:lnTo>
                  <a:pt x="159291" y="253522"/>
                </a:lnTo>
                <a:lnTo>
                  <a:pt x="169660" y="250927"/>
                </a:lnTo>
                <a:lnTo>
                  <a:pt x="176407" y="255498"/>
                </a:lnTo>
                <a:lnTo>
                  <a:pt x="164288" y="263035"/>
                </a:lnTo>
                <a:lnTo>
                  <a:pt x="159791" y="278973"/>
                </a:lnTo>
                <a:lnTo>
                  <a:pt x="152544" y="280332"/>
                </a:lnTo>
                <a:lnTo>
                  <a:pt x="152544" y="280332"/>
                </a:lnTo>
                <a:close/>
                <a:moveTo>
                  <a:pt x="128307" y="378800"/>
                </a:moveTo>
                <a:lnTo>
                  <a:pt x="161665" y="369904"/>
                </a:lnTo>
                <a:lnTo>
                  <a:pt x="163289" y="375093"/>
                </a:lnTo>
                <a:lnTo>
                  <a:pt x="178781" y="362491"/>
                </a:lnTo>
                <a:lnTo>
                  <a:pt x="171534" y="348160"/>
                </a:lnTo>
                <a:lnTo>
                  <a:pt x="160040" y="346924"/>
                </a:lnTo>
                <a:lnTo>
                  <a:pt x="144799" y="331234"/>
                </a:lnTo>
                <a:lnTo>
                  <a:pt x="128682" y="343589"/>
                </a:lnTo>
                <a:lnTo>
                  <a:pt x="152794" y="353967"/>
                </a:lnTo>
                <a:lnTo>
                  <a:pt x="139926" y="361503"/>
                </a:lnTo>
                <a:lnTo>
                  <a:pt x="143674" y="366939"/>
                </a:lnTo>
                <a:lnTo>
                  <a:pt x="128557" y="378800"/>
                </a:lnTo>
                <a:lnTo>
                  <a:pt x="128557" y="378800"/>
                </a:lnTo>
                <a:close/>
                <a:moveTo>
                  <a:pt x="156667" y="440698"/>
                </a:moveTo>
                <a:lnTo>
                  <a:pt x="149671" y="424636"/>
                </a:lnTo>
                <a:lnTo>
                  <a:pt x="179655" y="394614"/>
                </a:lnTo>
                <a:lnTo>
                  <a:pt x="167037" y="425625"/>
                </a:lnTo>
                <a:lnTo>
                  <a:pt x="156542" y="440821"/>
                </a:lnTo>
                <a:lnTo>
                  <a:pt x="156542" y="440821"/>
                </a:lnTo>
                <a:close/>
                <a:moveTo>
                  <a:pt x="134429" y="464419"/>
                </a:moveTo>
                <a:lnTo>
                  <a:pt x="152669" y="452435"/>
                </a:lnTo>
                <a:lnTo>
                  <a:pt x="143799" y="423524"/>
                </a:lnTo>
                <a:lnTo>
                  <a:pt x="118188" y="435138"/>
                </a:lnTo>
                <a:lnTo>
                  <a:pt x="119562" y="458118"/>
                </a:lnTo>
                <a:lnTo>
                  <a:pt x="135803" y="446875"/>
                </a:lnTo>
                <a:lnTo>
                  <a:pt x="134429" y="464419"/>
                </a:lnTo>
                <a:lnTo>
                  <a:pt x="134429" y="464419"/>
                </a:lnTo>
                <a:close/>
                <a:moveTo>
                  <a:pt x="201643" y="458118"/>
                </a:moveTo>
                <a:lnTo>
                  <a:pt x="207266" y="484063"/>
                </a:lnTo>
                <a:lnTo>
                  <a:pt x="224881" y="490241"/>
                </a:lnTo>
                <a:lnTo>
                  <a:pt x="229254" y="472203"/>
                </a:lnTo>
                <a:lnTo>
                  <a:pt x="215636" y="447369"/>
                </a:lnTo>
                <a:lnTo>
                  <a:pt x="201519" y="458118"/>
                </a:lnTo>
                <a:lnTo>
                  <a:pt x="201519" y="458118"/>
                </a:lnTo>
                <a:close/>
                <a:moveTo>
                  <a:pt x="275355" y="754017"/>
                </a:moveTo>
                <a:lnTo>
                  <a:pt x="300841" y="765383"/>
                </a:lnTo>
                <a:lnTo>
                  <a:pt x="321580" y="747592"/>
                </a:lnTo>
                <a:lnTo>
                  <a:pt x="306088" y="750063"/>
                </a:lnTo>
                <a:lnTo>
                  <a:pt x="298217" y="735361"/>
                </a:lnTo>
                <a:lnTo>
                  <a:pt x="279228" y="738697"/>
                </a:lnTo>
                <a:cubicBezTo>
                  <a:pt x="279228" y="738697"/>
                  <a:pt x="274980" y="753152"/>
                  <a:pt x="275355" y="753893"/>
                </a:cubicBezTo>
                <a:lnTo>
                  <a:pt x="275355" y="753893"/>
                </a:lnTo>
                <a:close/>
                <a:moveTo>
                  <a:pt x="253866" y="658637"/>
                </a:moveTo>
                <a:lnTo>
                  <a:pt x="259738" y="634916"/>
                </a:lnTo>
                <a:lnTo>
                  <a:pt x="288473" y="608106"/>
                </a:lnTo>
                <a:lnTo>
                  <a:pt x="285974" y="623550"/>
                </a:lnTo>
                <a:lnTo>
                  <a:pt x="289847" y="632816"/>
                </a:lnTo>
                <a:lnTo>
                  <a:pt x="268983" y="655425"/>
                </a:lnTo>
                <a:lnTo>
                  <a:pt x="253866" y="658637"/>
                </a:lnTo>
                <a:lnTo>
                  <a:pt x="253866" y="658637"/>
                </a:lnTo>
                <a:close/>
                <a:moveTo>
                  <a:pt x="241747" y="1176182"/>
                </a:moveTo>
                <a:lnTo>
                  <a:pt x="251117" y="1166669"/>
                </a:lnTo>
                <a:lnTo>
                  <a:pt x="246620" y="1159874"/>
                </a:lnTo>
                <a:lnTo>
                  <a:pt x="255115" y="1147642"/>
                </a:lnTo>
                <a:lnTo>
                  <a:pt x="259738" y="1152955"/>
                </a:lnTo>
                <a:lnTo>
                  <a:pt x="270357" y="1141959"/>
                </a:lnTo>
                <a:lnTo>
                  <a:pt x="277603" y="1141589"/>
                </a:lnTo>
                <a:lnTo>
                  <a:pt x="282601" y="1128122"/>
                </a:lnTo>
                <a:lnTo>
                  <a:pt x="299842" y="1131828"/>
                </a:lnTo>
                <a:lnTo>
                  <a:pt x="312835" y="1125280"/>
                </a:lnTo>
                <a:lnTo>
                  <a:pt x="323704" y="1126516"/>
                </a:lnTo>
                <a:lnTo>
                  <a:pt x="331200" y="1121944"/>
                </a:lnTo>
                <a:lnTo>
                  <a:pt x="339321" y="1131705"/>
                </a:lnTo>
                <a:lnTo>
                  <a:pt x="348316" y="1130593"/>
                </a:lnTo>
                <a:lnTo>
                  <a:pt x="361309" y="1140477"/>
                </a:lnTo>
                <a:lnTo>
                  <a:pt x="375801" y="1139118"/>
                </a:lnTo>
                <a:lnTo>
                  <a:pt x="372553" y="1129852"/>
                </a:lnTo>
                <a:lnTo>
                  <a:pt x="383797" y="1124168"/>
                </a:lnTo>
                <a:lnTo>
                  <a:pt x="386546" y="1115273"/>
                </a:lnTo>
                <a:lnTo>
                  <a:pt x="382673" y="1099706"/>
                </a:lnTo>
                <a:lnTo>
                  <a:pt x="392293" y="1089451"/>
                </a:lnTo>
                <a:lnTo>
                  <a:pt x="400538" y="1087969"/>
                </a:lnTo>
                <a:lnTo>
                  <a:pt x="403662" y="1081544"/>
                </a:lnTo>
                <a:lnTo>
                  <a:pt x="435895" y="1072648"/>
                </a:lnTo>
                <a:lnTo>
                  <a:pt x="453011" y="1073266"/>
                </a:lnTo>
                <a:lnTo>
                  <a:pt x="473375" y="1085868"/>
                </a:lnTo>
                <a:lnTo>
                  <a:pt x="480496" y="1082779"/>
                </a:lnTo>
                <a:lnTo>
                  <a:pt x="501985" y="1082779"/>
                </a:lnTo>
                <a:cubicBezTo>
                  <a:pt x="501985" y="1082779"/>
                  <a:pt x="513604" y="1086486"/>
                  <a:pt x="513604" y="1086486"/>
                </a:cubicBezTo>
                <a:lnTo>
                  <a:pt x="518601" y="1072648"/>
                </a:lnTo>
                <a:lnTo>
                  <a:pt x="537966" y="1061900"/>
                </a:lnTo>
                <a:lnTo>
                  <a:pt x="551709" y="1065112"/>
                </a:lnTo>
                <a:lnTo>
                  <a:pt x="570199" y="1051645"/>
                </a:lnTo>
                <a:lnTo>
                  <a:pt x="583817" y="1054116"/>
                </a:lnTo>
                <a:lnTo>
                  <a:pt x="590688" y="1052757"/>
                </a:lnTo>
                <a:lnTo>
                  <a:pt x="599683" y="1045344"/>
                </a:lnTo>
                <a:lnTo>
                  <a:pt x="602807" y="1052139"/>
                </a:lnTo>
                <a:lnTo>
                  <a:pt x="614550" y="1058193"/>
                </a:lnTo>
                <a:lnTo>
                  <a:pt x="627294" y="1048804"/>
                </a:lnTo>
                <a:lnTo>
                  <a:pt x="657153" y="1047074"/>
                </a:lnTo>
                <a:lnTo>
                  <a:pt x="675768" y="1042379"/>
                </a:lnTo>
                <a:lnTo>
                  <a:pt x="694008" y="1047445"/>
                </a:lnTo>
                <a:lnTo>
                  <a:pt x="703129" y="1048804"/>
                </a:lnTo>
                <a:lnTo>
                  <a:pt x="716122" y="1037314"/>
                </a:lnTo>
                <a:lnTo>
                  <a:pt x="730989" y="1033854"/>
                </a:lnTo>
                <a:lnTo>
                  <a:pt x="743607" y="1021005"/>
                </a:lnTo>
                <a:lnTo>
                  <a:pt x="752602" y="1019893"/>
                </a:lnTo>
                <a:lnTo>
                  <a:pt x="762097" y="1021499"/>
                </a:lnTo>
                <a:lnTo>
                  <a:pt x="759599" y="1011492"/>
                </a:lnTo>
                <a:lnTo>
                  <a:pt x="780213" y="996172"/>
                </a:lnTo>
                <a:lnTo>
                  <a:pt x="793331" y="992713"/>
                </a:lnTo>
                <a:lnTo>
                  <a:pt x="793831" y="979369"/>
                </a:lnTo>
                <a:lnTo>
                  <a:pt x="789583" y="970103"/>
                </a:lnTo>
                <a:lnTo>
                  <a:pt x="793331" y="959107"/>
                </a:lnTo>
                <a:lnTo>
                  <a:pt x="769344" y="960961"/>
                </a:lnTo>
                <a:lnTo>
                  <a:pt x="752602" y="968003"/>
                </a:lnTo>
                <a:lnTo>
                  <a:pt x="742858" y="970103"/>
                </a:lnTo>
                <a:lnTo>
                  <a:pt x="726741" y="965161"/>
                </a:lnTo>
                <a:lnTo>
                  <a:pt x="720744" y="963926"/>
                </a:lnTo>
                <a:lnTo>
                  <a:pt x="725992" y="958613"/>
                </a:lnTo>
                <a:lnTo>
                  <a:pt x="730864" y="957748"/>
                </a:lnTo>
                <a:lnTo>
                  <a:pt x="732238" y="954536"/>
                </a:lnTo>
                <a:lnTo>
                  <a:pt x="717621" y="951571"/>
                </a:lnTo>
                <a:lnTo>
                  <a:pt x="705377" y="956636"/>
                </a:lnTo>
                <a:lnTo>
                  <a:pt x="722243" y="943911"/>
                </a:lnTo>
                <a:lnTo>
                  <a:pt x="733862" y="944529"/>
                </a:lnTo>
                <a:lnTo>
                  <a:pt x="747730" y="937239"/>
                </a:lnTo>
                <a:lnTo>
                  <a:pt x="743107" y="925626"/>
                </a:lnTo>
                <a:lnTo>
                  <a:pt x="729240" y="926243"/>
                </a:lnTo>
                <a:lnTo>
                  <a:pt x="739235" y="916730"/>
                </a:lnTo>
                <a:lnTo>
                  <a:pt x="746606" y="909070"/>
                </a:lnTo>
                <a:lnTo>
                  <a:pt x="755226" y="915742"/>
                </a:lnTo>
                <a:lnTo>
                  <a:pt x="767719" y="906105"/>
                </a:lnTo>
                <a:lnTo>
                  <a:pt x="772592" y="897827"/>
                </a:lnTo>
                <a:lnTo>
                  <a:pt x="766220" y="896715"/>
                </a:lnTo>
                <a:lnTo>
                  <a:pt x="770093" y="890291"/>
                </a:lnTo>
                <a:lnTo>
                  <a:pt x="755101" y="889179"/>
                </a:lnTo>
                <a:lnTo>
                  <a:pt x="760598" y="879171"/>
                </a:lnTo>
                <a:lnTo>
                  <a:pt x="770093" y="881148"/>
                </a:lnTo>
                <a:lnTo>
                  <a:pt x="773217" y="887943"/>
                </a:lnTo>
                <a:lnTo>
                  <a:pt x="783336" y="873488"/>
                </a:lnTo>
                <a:lnTo>
                  <a:pt x="793581" y="868793"/>
                </a:lnTo>
                <a:lnTo>
                  <a:pt x="794205" y="842478"/>
                </a:lnTo>
                <a:lnTo>
                  <a:pt x="802951" y="817521"/>
                </a:lnTo>
                <a:lnTo>
                  <a:pt x="794830" y="808131"/>
                </a:lnTo>
                <a:lnTo>
                  <a:pt x="789583" y="785892"/>
                </a:lnTo>
                <a:lnTo>
                  <a:pt x="757975" y="763530"/>
                </a:lnTo>
                <a:lnTo>
                  <a:pt x="715372" y="763530"/>
                </a:lnTo>
                <a:cubicBezTo>
                  <a:pt x="715372" y="763530"/>
                  <a:pt x="689011" y="765383"/>
                  <a:pt x="689011" y="765383"/>
                </a:cubicBezTo>
                <a:lnTo>
                  <a:pt x="687762" y="785027"/>
                </a:lnTo>
                <a:lnTo>
                  <a:pt x="681265" y="796517"/>
                </a:lnTo>
                <a:lnTo>
                  <a:pt x="666648" y="781815"/>
                </a:lnTo>
                <a:lnTo>
                  <a:pt x="649782" y="778356"/>
                </a:lnTo>
                <a:lnTo>
                  <a:pt x="675143" y="751299"/>
                </a:lnTo>
                <a:lnTo>
                  <a:pt x="674394" y="735237"/>
                </a:lnTo>
                <a:lnTo>
                  <a:pt x="652031" y="702621"/>
                </a:lnTo>
                <a:lnTo>
                  <a:pt x="643660" y="701632"/>
                </a:lnTo>
                <a:lnTo>
                  <a:pt x="624920" y="691748"/>
                </a:lnTo>
                <a:lnTo>
                  <a:pt x="616799" y="679270"/>
                </a:lnTo>
                <a:lnTo>
                  <a:pt x="607429" y="681494"/>
                </a:lnTo>
                <a:lnTo>
                  <a:pt x="600933" y="683841"/>
                </a:lnTo>
                <a:lnTo>
                  <a:pt x="589689" y="680505"/>
                </a:lnTo>
                <a:lnTo>
                  <a:pt x="583067" y="680876"/>
                </a:lnTo>
                <a:lnTo>
                  <a:pt x="595435" y="677170"/>
                </a:lnTo>
                <a:lnTo>
                  <a:pt x="603556" y="678899"/>
                </a:lnTo>
                <a:lnTo>
                  <a:pt x="616924" y="675563"/>
                </a:lnTo>
                <a:lnTo>
                  <a:pt x="625420" y="679023"/>
                </a:lnTo>
                <a:lnTo>
                  <a:pt x="633041" y="686065"/>
                </a:lnTo>
                <a:lnTo>
                  <a:pt x="642286" y="683841"/>
                </a:lnTo>
                <a:lnTo>
                  <a:pt x="651406" y="685571"/>
                </a:lnTo>
                <a:lnTo>
                  <a:pt x="625420" y="656413"/>
                </a:lnTo>
                <a:lnTo>
                  <a:pt x="613301" y="642329"/>
                </a:lnTo>
                <a:lnTo>
                  <a:pt x="620047" y="630468"/>
                </a:lnTo>
                <a:lnTo>
                  <a:pt x="626544" y="627750"/>
                </a:lnTo>
                <a:lnTo>
                  <a:pt x="614176" y="621696"/>
                </a:lnTo>
                <a:lnTo>
                  <a:pt x="608554" y="612801"/>
                </a:lnTo>
                <a:lnTo>
                  <a:pt x="603306" y="612430"/>
                </a:lnTo>
                <a:lnTo>
                  <a:pt x="587690" y="586856"/>
                </a:lnTo>
                <a:lnTo>
                  <a:pt x="565576" y="576601"/>
                </a:lnTo>
                <a:lnTo>
                  <a:pt x="534718" y="571041"/>
                </a:lnTo>
                <a:lnTo>
                  <a:pt x="532844" y="559181"/>
                </a:lnTo>
                <a:lnTo>
                  <a:pt x="525722" y="555351"/>
                </a:lnTo>
                <a:lnTo>
                  <a:pt x="514478" y="522857"/>
                </a:lnTo>
                <a:lnTo>
                  <a:pt x="502609" y="505190"/>
                </a:lnTo>
                <a:lnTo>
                  <a:pt x="493115" y="463554"/>
                </a:lnTo>
                <a:lnTo>
                  <a:pt x="483495" y="449964"/>
                </a:lnTo>
                <a:lnTo>
                  <a:pt x="475124" y="450334"/>
                </a:lnTo>
                <a:lnTo>
                  <a:pt x="447763" y="413764"/>
                </a:lnTo>
                <a:lnTo>
                  <a:pt x="432272" y="411046"/>
                </a:lnTo>
                <a:lnTo>
                  <a:pt x="420028" y="401780"/>
                </a:lnTo>
                <a:lnTo>
                  <a:pt x="400164" y="394985"/>
                </a:lnTo>
                <a:lnTo>
                  <a:pt x="392793" y="402398"/>
                </a:lnTo>
                <a:lnTo>
                  <a:pt x="377925" y="412899"/>
                </a:lnTo>
                <a:lnTo>
                  <a:pt x="356062" y="406845"/>
                </a:lnTo>
                <a:lnTo>
                  <a:pt x="345817" y="408699"/>
                </a:lnTo>
                <a:lnTo>
                  <a:pt x="328202" y="403880"/>
                </a:lnTo>
                <a:lnTo>
                  <a:pt x="322580" y="394738"/>
                </a:lnTo>
                <a:lnTo>
                  <a:pt x="333199" y="399432"/>
                </a:lnTo>
                <a:lnTo>
                  <a:pt x="354063" y="400174"/>
                </a:lnTo>
                <a:lnTo>
                  <a:pt x="371179" y="393749"/>
                </a:lnTo>
                <a:lnTo>
                  <a:pt x="375801" y="379912"/>
                </a:lnTo>
                <a:lnTo>
                  <a:pt x="393542" y="379912"/>
                </a:lnTo>
                <a:cubicBezTo>
                  <a:pt x="393542" y="379912"/>
                  <a:pt x="409034" y="367186"/>
                  <a:pt x="409034" y="367186"/>
                </a:cubicBezTo>
                <a:lnTo>
                  <a:pt x="392418" y="360268"/>
                </a:lnTo>
                <a:lnTo>
                  <a:pt x="390919" y="350878"/>
                </a:lnTo>
                <a:lnTo>
                  <a:pt x="384047" y="345936"/>
                </a:lnTo>
                <a:lnTo>
                  <a:pt x="361934" y="358909"/>
                </a:lnTo>
                <a:lnTo>
                  <a:pt x="357936" y="354584"/>
                </a:lnTo>
                <a:lnTo>
                  <a:pt x="374677" y="341241"/>
                </a:lnTo>
                <a:lnTo>
                  <a:pt x="395541" y="341735"/>
                </a:lnTo>
                <a:lnTo>
                  <a:pt x="407285" y="330739"/>
                </a:lnTo>
                <a:lnTo>
                  <a:pt x="408909" y="321226"/>
                </a:lnTo>
                <a:lnTo>
                  <a:pt x="417030" y="315543"/>
                </a:lnTo>
                <a:lnTo>
                  <a:pt x="428149" y="291698"/>
                </a:lnTo>
                <a:lnTo>
                  <a:pt x="435270" y="280455"/>
                </a:lnTo>
                <a:lnTo>
                  <a:pt x="433896" y="272795"/>
                </a:lnTo>
                <a:lnTo>
                  <a:pt x="441892" y="256734"/>
                </a:lnTo>
                <a:lnTo>
                  <a:pt x="438518" y="251298"/>
                </a:lnTo>
                <a:lnTo>
                  <a:pt x="445265" y="229306"/>
                </a:lnTo>
                <a:lnTo>
                  <a:pt x="459257" y="216457"/>
                </a:lnTo>
                <a:lnTo>
                  <a:pt x="458633" y="202496"/>
                </a:lnTo>
                <a:lnTo>
                  <a:pt x="436270" y="183964"/>
                </a:lnTo>
                <a:lnTo>
                  <a:pt x="431897" y="187670"/>
                </a:lnTo>
                <a:lnTo>
                  <a:pt x="395166" y="190388"/>
                </a:lnTo>
                <a:lnTo>
                  <a:pt x="372428" y="187300"/>
                </a:lnTo>
                <a:lnTo>
                  <a:pt x="366057" y="192118"/>
                </a:lnTo>
                <a:lnTo>
                  <a:pt x="354937" y="192612"/>
                </a:lnTo>
                <a:lnTo>
                  <a:pt x="340820" y="188412"/>
                </a:lnTo>
                <a:lnTo>
                  <a:pt x="331075" y="189276"/>
                </a:lnTo>
                <a:lnTo>
                  <a:pt x="329951" y="194218"/>
                </a:lnTo>
                <a:lnTo>
                  <a:pt x="316208" y="199037"/>
                </a:lnTo>
                <a:lnTo>
                  <a:pt x="301591" y="207685"/>
                </a:lnTo>
                <a:lnTo>
                  <a:pt x="295719" y="207685"/>
                </a:lnTo>
                <a:cubicBezTo>
                  <a:pt x="295719" y="207685"/>
                  <a:pt x="285974" y="216086"/>
                  <a:pt x="285974" y="216086"/>
                </a:cubicBezTo>
                <a:lnTo>
                  <a:pt x="282726" y="213121"/>
                </a:lnTo>
                <a:lnTo>
                  <a:pt x="295594" y="197183"/>
                </a:lnTo>
                <a:lnTo>
                  <a:pt x="308837" y="173833"/>
                </a:lnTo>
                <a:lnTo>
                  <a:pt x="298717" y="179887"/>
                </a:lnTo>
                <a:lnTo>
                  <a:pt x="285724" y="175562"/>
                </a:lnTo>
                <a:lnTo>
                  <a:pt x="293095" y="170373"/>
                </a:lnTo>
                <a:lnTo>
                  <a:pt x="295469" y="159748"/>
                </a:lnTo>
                <a:lnTo>
                  <a:pt x="330076" y="131579"/>
                </a:lnTo>
                <a:lnTo>
                  <a:pt x="339696" y="113665"/>
                </a:lnTo>
                <a:lnTo>
                  <a:pt x="351689" y="108846"/>
                </a:lnTo>
                <a:lnTo>
                  <a:pt x="356936" y="92909"/>
                </a:lnTo>
                <a:lnTo>
                  <a:pt x="350440" y="86237"/>
                </a:lnTo>
                <a:lnTo>
                  <a:pt x="356812" y="74747"/>
                </a:lnTo>
                <a:lnTo>
                  <a:pt x="355812" y="67828"/>
                </a:lnTo>
                <a:lnTo>
                  <a:pt x="337697" y="68693"/>
                </a:lnTo>
                <a:lnTo>
                  <a:pt x="330700" y="76724"/>
                </a:lnTo>
                <a:lnTo>
                  <a:pt x="319081" y="73758"/>
                </a:lnTo>
                <a:lnTo>
                  <a:pt x="302090" y="82283"/>
                </a:lnTo>
                <a:lnTo>
                  <a:pt x="286099" y="81295"/>
                </a:lnTo>
                <a:lnTo>
                  <a:pt x="272731" y="87472"/>
                </a:lnTo>
                <a:lnTo>
                  <a:pt x="265110" y="87843"/>
                </a:lnTo>
                <a:lnTo>
                  <a:pt x="257489" y="95503"/>
                </a:lnTo>
                <a:lnTo>
                  <a:pt x="258863" y="87472"/>
                </a:lnTo>
                <a:lnTo>
                  <a:pt x="251367" y="84631"/>
                </a:lnTo>
                <a:lnTo>
                  <a:pt x="237000" y="98221"/>
                </a:lnTo>
                <a:lnTo>
                  <a:pt x="240998" y="86484"/>
                </a:lnTo>
                <a:lnTo>
                  <a:pt x="220134" y="77959"/>
                </a:lnTo>
                <a:lnTo>
                  <a:pt x="217135" y="90685"/>
                </a:lnTo>
                <a:lnTo>
                  <a:pt x="210514" y="96244"/>
                </a:lnTo>
                <a:lnTo>
                  <a:pt x="213012" y="107611"/>
                </a:lnTo>
                <a:lnTo>
                  <a:pt x="208890" y="108105"/>
                </a:lnTo>
                <a:lnTo>
                  <a:pt x="210139" y="122313"/>
                </a:lnTo>
                <a:lnTo>
                  <a:pt x="195397" y="126143"/>
                </a:lnTo>
                <a:lnTo>
                  <a:pt x="203143" y="138004"/>
                </a:lnTo>
                <a:lnTo>
                  <a:pt x="197396" y="150482"/>
                </a:lnTo>
                <a:lnTo>
                  <a:pt x="190150" y="151100"/>
                </a:lnTo>
                <a:lnTo>
                  <a:pt x="208515" y="165926"/>
                </a:lnTo>
                <a:lnTo>
                  <a:pt x="215261" y="176798"/>
                </a:lnTo>
                <a:lnTo>
                  <a:pt x="196896" y="168520"/>
                </a:lnTo>
                <a:lnTo>
                  <a:pt x="190524" y="174451"/>
                </a:lnTo>
                <a:lnTo>
                  <a:pt x="176907" y="166296"/>
                </a:lnTo>
                <a:lnTo>
                  <a:pt x="176407" y="172597"/>
                </a:lnTo>
                <a:lnTo>
                  <a:pt x="180280" y="180752"/>
                </a:lnTo>
                <a:lnTo>
                  <a:pt x="176407" y="187176"/>
                </a:lnTo>
                <a:lnTo>
                  <a:pt x="168911" y="173956"/>
                </a:lnTo>
                <a:lnTo>
                  <a:pt x="163289" y="188535"/>
                </a:lnTo>
                <a:lnTo>
                  <a:pt x="170535" y="195824"/>
                </a:lnTo>
                <a:lnTo>
                  <a:pt x="165288" y="203361"/>
                </a:lnTo>
                <a:lnTo>
                  <a:pt x="176532" y="214974"/>
                </a:lnTo>
                <a:lnTo>
                  <a:pt x="186901" y="214974"/>
                </a:lnTo>
                <a:cubicBezTo>
                  <a:pt x="186901" y="214974"/>
                  <a:pt x="174908" y="219916"/>
                  <a:pt x="174908" y="219916"/>
                </a:cubicBezTo>
                <a:lnTo>
                  <a:pt x="162164" y="213492"/>
                </a:lnTo>
                <a:lnTo>
                  <a:pt x="165787" y="233260"/>
                </a:lnTo>
                <a:lnTo>
                  <a:pt x="165787" y="239931"/>
                </a:lnTo>
                <a:cubicBezTo>
                  <a:pt x="165787" y="239931"/>
                  <a:pt x="188400" y="235360"/>
                  <a:pt x="188400" y="235360"/>
                </a:cubicBezTo>
                <a:lnTo>
                  <a:pt x="173783" y="243391"/>
                </a:lnTo>
                <a:lnTo>
                  <a:pt x="172284" y="247591"/>
                </a:lnTo>
                <a:lnTo>
                  <a:pt x="177281" y="250309"/>
                </a:lnTo>
                <a:lnTo>
                  <a:pt x="191524" y="244503"/>
                </a:lnTo>
                <a:lnTo>
                  <a:pt x="188276" y="248333"/>
                </a:lnTo>
                <a:lnTo>
                  <a:pt x="194522" y="255375"/>
                </a:lnTo>
                <a:lnTo>
                  <a:pt x="183653" y="251545"/>
                </a:lnTo>
                <a:lnTo>
                  <a:pt x="179405" y="254510"/>
                </a:lnTo>
                <a:lnTo>
                  <a:pt x="176657" y="264394"/>
                </a:lnTo>
                <a:lnTo>
                  <a:pt x="182654" y="268224"/>
                </a:lnTo>
                <a:lnTo>
                  <a:pt x="174033" y="270077"/>
                </a:lnTo>
                <a:lnTo>
                  <a:pt x="168911" y="278602"/>
                </a:lnTo>
                <a:lnTo>
                  <a:pt x="179030" y="281567"/>
                </a:lnTo>
                <a:lnTo>
                  <a:pt x="181654" y="289104"/>
                </a:lnTo>
                <a:lnTo>
                  <a:pt x="165038" y="283667"/>
                </a:lnTo>
                <a:lnTo>
                  <a:pt x="162414" y="294540"/>
                </a:lnTo>
                <a:lnTo>
                  <a:pt x="169161" y="298740"/>
                </a:lnTo>
                <a:lnTo>
                  <a:pt x="165662" y="306030"/>
                </a:lnTo>
                <a:lnTo>
                  <a:pt x="158166" y="311960"/>
                </a:lnTo>
                <a:lnTo>
                  <a:pt x="142175" y="313072"/>
                </a:lnTo>
                <a:lnTo>
                  <a:pt x="135553" y="320485"/>
                </a:lnTo>
                <a:lnTo>
                  <a:pt x="141800" y="324068"/>
                </a:lnTo>
                <a:lnTo>
                  <a:pt x="155418" y="322585"/>
                </a:lnTo>
                <a:lnTo>
                  <a:pt x="164663" y="324933"/>
                </a:lnTo>
                <a:lnTo>
                  <a:pt x="162789" y="329010"/>
                </a:lnTo>
                <a:lnTo>
                  <a:pt x="152295" y="329504"/>
                </a:lnTo>
                <a:lnTo>
                  <a:pt x="167037" y="342106"/>
                </a:lnTo>
                <a:lnTo>
                  <a:pt x="171534" y="340129"/>
                </a:lnTo>
                <a:lnTo>
                  <a:pt x="179155" y="347419"/>
                </a:lnTo>
                <a:lnTo>
                  <a:pt x="214637" y="308748"/>
                </a:lnTo>
                <a:lnTo>
                  <a:pt x="209264" y="320238"/>
                </a:lnTo>
                <a:lnTo>
                  <a:pt x="215011" y="323450"/>
                </a:lnTo>
                <a:lnTo>
                  <a:pt x="204017" y="327774"/>
                </a:lnTo>
                <a:lnTo>
                  <a:pt x="195897" y="349519"/>
                </a:lnTo>
                <a:lnTo>
                  <a:pt x="197146" y="354708"/>
                </a:lnTo>
                <a:lnTo>
                  <a:pt x="186651" y="376823"/>
                </a:lnTo>
                <a:lnTo>
                  <a:pt x="191649" y="379418"/>
                </a:lnTo>
                <a:lnTo>
                  <a:pt x="183028" y="405610"/>
                </a:lnTo>
                <a:lnTo>
                  <a:pt x="186152" y="422289"/>
                </a:lnTo>
                <a:lnTo>
                  <a:pt x="179655" y="432420"/>
                </a:lnTo>
                <a:lnTo>
                  <a:pt x="185152" y="440574"/>
                </a:lnTo>
                <a:lnTo>
                  <a:pt x="191649" y="437115"/>
                </a:lnTo>
                <a:lnTo>
                  <a:pt x="180655" y="456141"/>
                </a:lnTo>
                <a:lnTo>
                  <a:pt x="179780" y="481963"/>
                </a:lnTo>
                <a:lnTo>
                  <a:pt x="171534" y="490735"/>
                </a:lnTo>
                <a:lnTo>
                  <a:pt x="172409" y="497036"/>
                </a:lnTo>
                <a:lnTo>
                  <a:pt x="191899" y="496171"/>
                </a:lnTo>
                <a:lnTo>
                  <a:pt x="188525" y="483075"/>
                </a:lnTo>
                <a:lnTo>
                  <a:pt x="196021" y="463554"/>
                </a:lnTo>
                <a:lnTo>
                  <a:pt x="194772" y="451817"/>
                </a:lnTo>
                <a:lnTo>
                  <a:pt x="204267" y="439092"/>
                </a:lnTo>
                <a:lnTo>
                  <a:pt x="195272" y="407340"/>
                </a:lnTo>
                <a:lnTo>
                  <a:pt x="202518" y="406969"/>
                </a:lnTo>
                <a:lnTo>
                  <a:pt x="224257" y="378676"/>
                </a:lnTo>
                <a:lnTo>
                  <a:pt x="208015" y="405239"/>
                </a:lnTo>
                <a:lnTo>
                  <a:pt x="206766" y="424142"/>
                </a:lnTo>
                <a:lnTo>
                  <a:pt x="213512" y="428713"/>
                </a:lnTo>
                <a:lnTo>
                  <a:pt x="214387" y="417471"/>
                </a:lnTo>
                <a:lnTo>
                  <a:pt x="225381" y="407587"/>
                </a:lnTo>
                <a:lnTo>
                  <a:pt x="231378" y="424760"/>
                </a:lnTo>
                <a:lnTo>
                  <a:pt x="239873" y="403386"/>
                </a:lnTo>
                <a:lnTo>
                  <a:pt x="237125" y="388807"/>
                </a:lnTo>
                <a:lnTo>
                  <a:pt x="244621" y="384607"/>
                </a:lnTo>
                <a:lnTo>
                  <a:pt x="242247" y="403633"/>
                </a:lnTo>
                <a:lnTo>
                  <a:pt x="262361" y="417347"/>
                </a:lnTo>
                <a:lnTo>
                  <a:pt x="245495" y="413641"/>
                </a:lnTo>
                <a:lnTo>
                  <a:pt x="240623" y="437980"/>
                </a:lnTo>
                <a:lnTo>
                  <a:pt x="245245" y="455647"/>
                </a:lnTo>
                <a:lnTo>
                  <a:pt x="255365" y="457624"/>
                </a:lnTo>
                <a:lnTo>
                  <a:pt x="261987" y="473067"/>
                </a:lnTo>
                <a:lnTo>
                  <a:pt x="247744" y="488758"/>
                </a:lnTo>
                <a:lnTo>
                  <a:pt x="234376" y="528541"/>
                </a:lnTo>
                <a:lnTo>
                  <a:pt x="238624" y="545838"/>
                </a:lnTo>
                <a:lnTo>
                  <a:pt x="225006" y="538054"/>
                </a:lnTo>
                <a:lnTo>
                  <a:pt x="226505" y="556833"/>
                </a:lnTo>
                <a:lnTo>
                  <a:pt x="245620" y="581172"/>
                </a:lnTo>
                <a:lnTo>
                  <a:pt x="238999" y="558316"/>
                </a:lnTo>
                <a:lnTo>
                  <a:pt x="251367" y="554239"/>
                </a:lnTo>
                <a:lnTo>
                  <a:pt x="284350" y="575736"/>
                </a:lnTo>
                <a:lnTo>
                  <a:pt x="284350" y="557575"/>
                </a:lnTo>
                <a:cubicBezTo>
                  <a:pt x="284350" y="557575"/>
                  <a:pt x="270607" y="547691"/>
                  <a:pt x="270607" y="547691"/>
                </a:cubicBezTo>
                <a:lnTo>
                  <a:pt x="278853" y="545220"/>
                </a:lnTo>
                <a:lnTo>
                  <a:pt x="305339" y="560046"/>
                </a:lnTo>
                <a:lnTo>
                  <a:pt x="323329" y="556339"/>
                </a:lnTo>
                <a:lnTo>
                  <a:pt x="322954" y="548679"/>
                </a:lnTo>
                <a:lnTo>
                  <a:pt x="339696" y="548679"/>
                </a:lnTo>
                <a:cubicBezTo>
                  <a:pt x="339696" y="548679"/>
                  <a:pt x="343943" y="532988"/>
                  <a:pt x="343943" y="532988"/>
                </a:cubicBezTo>
                <a:lnTo>
                  <a:pt x="389294" y="532988"/>
                </a:lnTo>
                <a:cubicBezTo>
                  <a:pt x="389294" y="532988"/>
                  <a:pt x="359685" y="542007"/>
                  <a:pt x="359685" y="542007"/>
                </a:cubicBezTo>
                <a:lnTo>
                  <a:pt x="343818" y="593898"/>
                </a:lnTo>
                <a:lnTo>
                  <a:pt x="367806" y="632692"/>
                </a:lnTo>
                <a:lnTo>
                  <a:pt x="378675" y="625897"/>
                </a:lnTo>
                <a:lnTo>
                  <a:pt x="379550" y="646900"/>
                </a:lnTo>
                <a:lnTo>
                  <a:pt x="393417" y="628739"/>
                </a:lnTo>
                <a:lnTo>
                  <a:pt x="411658" y="630592"/>
                </a:lnTo>
                <a:lnTo>
                  <a:pt x="406410" y="652583"/>
                </a:lnTo>
                <a:lnTo>
                  <a:pt x="412157" y="655796"/>
                </a:lnTo>
                <a:lnTo>
                  <a:pt x="394791" y="670498"/>
                </a:lnTo>
                <a:lnTo>
                  <a:pt x="401413" y="694590"/>
                </a:lnTo>
                <a:lnTo>
                  <a:pt x="392543" y="713493"/>
                </a:lnTo>
                <a:lnTo>
                  <a:pt x="404286" y="727207"/>
                </a:lnTo>
                <a:lnTo>
                  <a:pt x="417904" y="738079"/>
                </a:lnTo>
                <a:lnTo>
                  <a:pt x="428773" y="738573"/>
                </a:lnTo>
                <a:lnTo>
                  <a:pt x="421652" y="744133"/>
                </a:lnTo>
                <a:lnTo>
                  <a:pt x="409534" y="745368"/>
                </a:lnTo>
                <a:lnTo>
                  <a:pt x="398539" y="731160"/>
                </a:lnTo>
                <a:lnTo>
                  <a:pt x="388670" y="735485"/>
                </a:lnTo>
                <a:lnTo>
                  <a:pt x="397665" y="749446"/>
                </a:lnTo>
                <a:lnTo>
                  <a:pt x="406910" y="754635"/>
                </a:lnTo>
                <a:lnTo>
                  <a:pt x="392543" y="752164"/>
                </a:lnTo>
                <a:lnTo>
                  <a:pt x="380549" y="741168"/>
                </a:lnTo>
                <a:lnTo>
                  <a:pt x="351814" y="751546"/>
                </a:lnTo>
                <a:lnTo>
                  <a:pt x="338571" y="750063"/>
                </a:lnTo>
                <a:lnTo>
                  <a:pt x="309087" y="766125"/>
                </a:lnTo>
                <a:lnTo>
                  <a:pt x="294469" y="788487"/>
                </a:lnTo>
                <a:lnTo>
                  <a:pt x="273231" y="803066"/>
                </a:lnTo>
                <a:lnTo>
                  <a:pt x="264485" y="816779"/>
                </a:lnTo>
                <a:lnTo>
                  <a:pt x="278228" y="813691"/>
                </a:lnTo>
                <a:lnTo>
                  <a:pt x="285349" y="815791"/>
                </a:lnTo>
                <a:lnTo>
                  <a:pt x="287098" y="807637"/>
                </a:lnTo>
                <a:lnTo>
                  <a:pt x="317582" y="798247"/>
                </a:lnTo>
                <a:lnTo>
                  <a:pt x="315458" y="814432"/>
                </a:lnTo>
                <a:lnTo>
                  <a:pt x="326702" y="825057"/>
                </a:lnTo>
                <a:lnTo>
                  <a:pt x="315583" y="833953"/>
                </a:lnTo>
                <a:lnTo>
                  <a:pt x="322705" y="845813"/>
                </a:lnTo>
                <a:lnTo>
                  <a:pt x="330076" y="847172"/>
                </a:lnTo>
                <a:lnTo>
                  <a:pt x="311585" y="886090"/>
                </a:lnTo>
                <a:lnTo>
                  <a:pt x="297218" y="891650"/>
                </a:lnTo>
                <a:lnTo>
                  <a:pt x="283100" y="903140"/>
                </a:lnTo>
                <a:lnTo>
                  <a:pt x="275854" y="903758"/>
                </a:lnTo>
                <a:lnTo>
                  <a:pt x="257614" y="916112"/>
                </a:lnTo>
                <a:lnTo>
                  <a:pt x="244121" y="916730"/>
                </a:lnTo>
                <a:lnTo>
                  <a:pt x="222882" y="931680"/>
                </a:lnTo>
                <a:lnTo>
                  <a:pt x="240373" y="933286"/>
                </a:lnTo>
                <a:lnTo>
                  <a:pt x="241997" y="945764"/>
                </a:lnTo>
                <a:lnTo>
                  <a:pt x="229754" y="952312"/>
                </a:lnTo>
                <a:lnTo>
                  <a:pt x="252117" y="955154"/>
                </a:lnTo>
                <a:lnTo>
                  <a:pt x="246870" y="960590"/>
                </a:lnTo>
                <a:lnTo>
                  <a:pt x="255740" y="965038"/>
                </a:lnTo>
                <a:lnTo>
                  <a:pt x="268108" y="960961"/>
                </a:lnTo>
                <a:lnTo>
                  <a:pt x="282226" y="951571"/>
                </a:lnTo>
                <a:lnTo>
                  <a:pt x="305464" y="942799"/>
                </a:lnTo>
                <a:lnTo>
                  <a:pt x="308087" y="953548"/>
                </a:lnTo>
                <a:lnTo>
                  <a:pt x="326952" y="957131"/>
                </a:lnTo>
                <a:lnTo>
                  <a:pt x="311835" y="962073"/>
                </a:lnTo>
                <a:lnTo>
                  <a:pt x="310461" y="970844"/>
                </a:lnTo>
                <a:lnTo>
                  <a:pt x="336197" y="970350"/>
                </a:lnTo>
                <a:lnTo>
                  <a:pt x="335948" y="965408"/>
                </a:lnTo>
                <a:lnTo>
                  <a:pt x="348691" y="961331"/>
                </a:lnTo>
                <a:lnTo>
                  <a:pt x="362558" y="975663"/>
                </a:lnTo>
                <a:lnTo>
                  <a:pt x="374927" y="989006"/>
                </a:lnTo>
                <a:lnTo>
                  <a:pt x="404411" y="987276"/>
                </a:lnTo>
                <a:lnTo>
                  <a:pt x="410783" y="975416"/>
                </a:lnTo>
                <a:lnTo>
                  <a:pt x="424401" y="968868"/>
                </a:lnTo>
                <a:lnTo>
                  <a:pt x="443141" y="960961"/>
                </a:lnTo>
                <a:lnTo>
                  <a:pt x="450012" y="950212"/>
                </a:lnTo>
                <a:lnTo>
                  <a:pt x="465629" y="942181"/>
                </a:lnTo>
                <a:lnTo>
                  <a:pt x="444890" y="968250"/>
                </a:lnTo>
                <a:lnTo>
                  <a:pt x="423901" y="989871"/>
                </a:lnTo>
                <a:lnTo>
                  <a:pt x="423901" y="1014334"/>
                </a:lnTo>
                <a:cubicBezTo>
                  <a:pt x="423901" y="1014334"/>
                  <a:pt x="409034" y="1014334"/>
                  <a:pt x="409034" y="1014334"/>
                </a:cubicBezTo>
                <a:lnTo>
                  <a:pt x="397415" y="1019028"/>
                </a:lnTo>
                <a:lnTo>
                  <a:pt x="383547" y="1012357"/>
                </a:lnTo>
                <a:lnTo>
                  <a:pt x="345193" y="1010009"/>
                </a:lnTo>
                <a:lnTo>
                  <a:pt x="318457" y="1018164"/>
                </a:lnTo>
                <a:lnTo>
                  <a:pt x="319456" y="1031754"/>
                </a:lnTo>
                <a:lnTo>
                  <a:pt x="308462" y="1043120"/>
                </a:lnTo>
                <a:lnTo>
                  <a:pt x="293470" y="1043862"/>
                </a:lnTo>
                <a:lnTo>
                  <a:pt x="292346" y="1074996"/>
                </a:lnTo>
                <a:lnTo>
                  <a:pt x="276979" y="1090069"/>
                </a:lnTo>
                <a:lnTo>
                  <a:pt x="273231" y="1098347"/>
                </a:lnTo>
                <a:lnTo>
                  <a:pt x="255615" y="1102300"/>
                </a:lnTo>
                <a:lnTo>
                  <a:pt x="251867" y="1120338"/>
                </a:lnTo>
                <a:lnTo>
                  <a:pt x="244246" y="1120709"/>
                </a:lnTo>
                <a:lnTo>
                  <a:pt x="240498" y="1130346"/>
                </a:lnTo>
                <a:lnTo>
                  <a:pt x="219634" y="1146654"/>
                </a:lnTo>
                <a:lnTo>
                  <a:pt x="209764" y="1143689"/>
                </a:lnTo>
                <a:lnTo>
                  <a:pt x="195272" y="1154808"/>
                </a:lnTo>
                <a:lnTo>
                  <a:pt x="195897" y="1168399"/>
                </a:lnTo>
                <a:lnTo>
                  <a:pt x="212263" y="1168646"/>
                </a:lnTo>
                <a:lnTo>
                  <a:pt x="212263" y="1156414"/>
                </a:lnTo>
                <a:cubicBezTo>
                  <a:pt x="212263" y="1156414"/>
                  <a:pt x="232377" y="1160739"/>
                  <a:pt x="232377" y="1160739"/>
                </a:cubicBezTo>
                <a:lnTo>
                  <a:pt x="241123" y="1174700"/>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7" name="Graphic 129">
            <a:extLst>
              <a:ext uri="{FF2B5EF4-FFF2-40B4-BE49-F238E27FC236}">
                <a16:creationId xmlns:a16="http://schemas.microsoft.com/office/drawing/2014/main" id="{2D4114CF-6F37-21F7-83BC-517BFCD2EBAE}"/>
              </a:ext>
            </a:extLst>
          </p:cNvPr>
          <p:cNvSpPr/>
          <p:nvPr/>
        </p:nvSpPr>
        <p:spPr>
          <a:xfrm rot="1141104">
            <a:off x="5698130" y="1876553"/>
            <a:ext cx="365932" cy="489869"/>
          </a:xfrm>
          <a:custGeom>
            <a:avLst/>
            <a:gdLst>
              <a:gd name="connsiteX0" fmla="*/ 97074 w 365932"/>
              <a:gd name="connsiteY0" fmla="*/ 489870 h 489869"/>
              <a:gd name="connsiteX1" fmla="*/ 127558 w 365932"/>
              <a:gd name="connsiteY1" fmla="*/ 484928 h 489869"/>
              <a:gd name="connsiteX2" fmla="*/ 156418 w 365932"/>
              <a:gd name="connsiteY2" fmla="*/ 475291 h 489869"/>
              <a:gd name="connsiteX3" fmla="*/ 178781 w 365932"/>
              <a:gd name="connsiteY3" fmla="*/ 458736 h 489869"/>
              <a:gd name="connsiteX4" fmla="*/ 170286 w 365932"/>
              <a:gd name="connsiteY4" fmla="*/ 441686 h 489869"/>
              <a:gd name="connsiteX5" fmla="*/ 187776 w 365932"/>
              <a:gd name="connsiteY5" fmla="*/ 442180 h 489869"/>
              <a:gd name="connsiteX6" fmla="*/ 183404 w 365932"/>
              <a:gd name="connsiteY6" fmla="*/ 452929 h 489869"/>
              <a:gd name="connsiteX7" fmla="*/ 201519 w 365932"/>
              <a:gd name="connsiteY7" fmla="*/ 452064 h 489869"/>
              <a:gd name="connsiteX8" fmla="*/ 217386 w 365932"/>
              <a:gd name="connsiteY8" fmla="*/ 433902 h 489869"/>
              <a:gd name="connsiteX9" fmla="*/ 230004 w 365932"/>
              <a:gd name="connsiteY9" fmla="*/ 434026 h 489869"/>
              <a:gd name="connsiteX10" fmla="*/ 233377 w 365932"/>
              <a:gd name="connsiteY10" fmla="*/ 416976 h 489869"/>
              <a:gd name="connsiteX11" fmla="*/ 284725 w 365932"/>
              <a:gd name="connsiteY11" fmla="*/ 409069 h 489869"/>
              <a:gd name="connsiteX12" fmla="*/ 288348 w 365932"/>
              <a:gd name="connsiteY12" fmla="*/ 397579 h 489869"/>
              <a:gd name="connsiteX13" fmla="*/ 296594 w 365932"/>
              <a:gd name="connsiteY13" fmla="*/ 410552 h 489869"/>
              <a:gd name="connsiteX14" fmla="*/ 307214 w 365932"/>
              <a:gd name="connsiteY14" fmla="*/ 399556 h 489869"/>
              <a:gd name="connsiteX15" fmla="*/ 317833 w 365932"/>
              <a:gd name="connsiteY15" fmla="*/ 403262 h 489869"/>
              <a:gd name="connsiteX16" fmla="*/ 344319 w 365932"/>
              <a:gd name="connsiteY16" fmla="*/ 402027 h 489869"/>
              <a:gd name="connsiteX17" fmla="*/ 325204 w 365932"/>
              <a:gd name="connsiteY17" fmla="*/ 379788 h 489869"/>
              <a:gd name="connsiteX18" fmla="*/ 338197 w 365932"/>
              <a:gd name="connsiteY18" fmla="*/ 373611 h 489869"/>
              <a:gd name="connsiteX19" fmla="*/ 351440 w 365932"/>
              <a:gd name="connsiteY19" fmla="*/ 356190 h 489869"/>
              <a:gd name="connsiteX20" fmla="*/ 347942 w 365932"/>
              <a:gd name="connsiteY20" fmla="*/ 341612 h 489869"/>
              <a:gd name="connsiteX21" fmla="*/ 361935 w 365932"/>
              <a:gd name="connsiteY21" fmla="*/ 324809 h 489869"/>
              <a:gd name="connsiteX22" fmla="*/ 365933 w 365932"/>
              <a:gd name="connsiteY22" fmla="*/ 306400 h 489869"/>
              <a:gd name="connsiteX23" fmla="*/ 357187 w 365932"/>
              <a:gd name="connsiteY23" fmla="*/ 266247 h 489869"/>
              <a:gd name="connsiteX24" fmla="*/ 345818 w 365932"/>
              <a:gd name="connsiteY24" fmla="*/ 259823 h 489869"/>
              <a:gd name="connsiteX25" fmla="*/ 358686 w 365932"/>
              <a:gd name="connsiteY25" fmla="*/ 250804 h 489869"/>
              <a:gd name="connsiteX26" fmla="*/ 357812 w 365932"/>
              <a:gd name="connsiteY26" fmla="*/ 232642 h 489869"/>
              <a:gd name="connsiteX27" fmla="*/ 345319 w 365932"/>
              <a:gd name="connsiteY27" fmla="*/ 214974 h 489869"/>
              <a:gd name="connsiteX28" fmla="*/ 347942 w 365932"/>
              <a:gd name="connsiteY28" fmla="*/ 196566 h 489869"/>
              <a:gd name="connsiteX29" fmla="*/ 333575 w 365932"/>
              <a:gd name="connsiteY29" fmla="*/ 187423 h 489869"/>
              <a:gd name="connsiteX30" fmla="*/ 340071 w 365932"/>
              <a:gd name="connsiteY30" fmla="*/ 176674 h 489869"/>
              <a:gd name="connsiteX31" fmla="*/ 351190 w 365932"/>
              <a:gd name="connsiteY31" fmla="*/ 177786 h 489869"/>
              <a:gd name="connsiteX32" fmla="*/ 330826 w 365932"/>
              <a:gd name="connsiteY32" fmla="*/ 165555 h 489869"/>
              <a:gd name="connsiteX33" fmla="*/ 317458 w 365932"/>
              <a:gd name="connsiteY33" fmla="*/ 163578 h 489869"/>
              <a:gd name="connsiteX34" fmla="*/ 298718 w 365932"/>
              <a:gd name="connsiteY34" fmla="*/ 130220 h 489869"/>
              <a:gd name="connsiteX35" fmla="*/ 271732 w 365932"/>
              <a:gd name="connsiteY35" fmla="*/ 118236 h 489869"/>
              <a:gd name="connsiteX36" fmla="*/ 261488 w 365932"/>
              <a:gd name="connsiteY36" fmla="*/ 126514 h 489869"/>
              <a:gd name="connsiteX37" fmla="*/ 257240 w 365932"/>
              <a:gd name="connsiteY37" fmla="*/ 151718 h 489869"/>
              <a:gd name="connsiteX38" fmla="*/ 244122 w 365932"/>
              <a:gd name="connsiteY38" fmla="*/ 154806 h 489869"/>
              <a:gd name="connsiteX39" fmla="*/ 204143 w 365932"/>
              <a:gd name="connsiteY39" fmla="*/ 121078 h 489869"/>
              <a:gd name="connsiteX40" fmla="*/ 222258 w 365932"/>
              <a:gd name="connsiteY40" fmla="*/ 79689 h 489869"/>
              <a:gd name="connsiteX41" fmla="*/ 240748 w 365932"/>
              <a:gd name="connsiteY41" fmla="*/ 76229 h 489869"/>
              <a:gd name="connsiteX42" fmla="*/ 245371 w 365932"/>
              <a:gd name="connsiteY42" fmla="*/ 60292 h 489869"/>
              <a:gd name="connsiteX43" fmla="*/ 257240 w 365932"/>
              <a:gd name="connsiteY43" fmla="*/ 53249 h 489869"/>
              <a:gd name="connsiteX44" fmla="*/ 265610 w 365932"/>
              <a:gd name="connsiteY44" fmla="*/ 43736 h 489869"/>
              <a:gd name="connsiteX45" fmla="*/ 257240 w 365932"/>
              <a:gd name="connsiteY45" fmla="*/ 45713 h 489869"/>
              <a:gd name="connsiteX46" fmla="*/ 275105 w 365932"/>
              <a:gd name="connsiteY46" fmla="*/ 30516 h 489869"/>
              <a:gd name="connsiteX47" fmla="*/ 290972 w 365932"/>
              <a:gd name="connsiteY47" fmla="*/ 20756 h 489869"/>
              <a:gd name="connsiteX48" fmla="*/ 271108 w 365932"/>
              <a:gd name="connsiteY48" fmla="*/ 11243 h 489869"/>
              <a:gd name="connsiteX49" fmla="*/ 256990 w 365932"/>
              <a:gd name="connsiteY49" fmla="*/ 0 h 489869"/>
              <a:gd name="connsiteX50" fmla="*/ 263861 w 365932"/>
              <a:gd name="connsiteY50" fmla="*/ 12231 h 489869"/>
              <a:gd name="connsiteX51" fmla="*/ 245121 w 365932"/>
              <a:gd name="connsiteY51" fmla="*/ 13096 h 489869"/>
              <a:gd name="connsiteX52" fmla="*/ 249119 w 365932"/>
              <a:gd name="connsiteY52" fmla="*/ 33482 h 489869"/>
              <a:gd name="connsiteX53" fmla="*/ 236751 w 365932"/>
              <a:gd name="connsiteY53" fmla="*/ 52879 h 489869"/>
              <a:gd name="connsiteX54" fmla="*/ 238000 w 365932"/>
              <a:gd name="connsiteY54" fmla="*/ 40277 h 489869"/>
              <a:gd name="connsiteX55" fmla="*/ 244871 w 365932"/>
              <a:gd name="connsiteY55" fmla="*/ 31258 h 489869"/>
              <a:gd name="connsiteX56" fmla="*/ 235126 w 365932"/>
              <a:gd name="connsiteY56" fmla="*/ 15938 h 489869"/>
              <a:gd name="connsiteX57" fmla="*/ 223133 w 365932"/>
              <a:gd name="connsiteY57" fmla="*/ 19026 h 489869"/>
              <a:gd name="connsiteX58" fmla="*/ 230879 w 365932"/>
              <a:gd name="connsiteY58" fmla="*/ 28787 h 489869"/>
              <a:gd name="connsiteX59" fmla="*/ 216636 w 365932"/>
              <a:gd name="connsiteY59" fmla="*/ 30146 h 489869"/>
              <a:gd name="connsiteX60" fmla="*/ 208640 w 365932"/>
              <a:gd name="connsiteY60" fmla="*/ 22856 h 489869"/>
              <a:gd name="connsiteX61" fmla="*/ 183903 w 365932"/>
              <a:gd name="connsiteY61" fmla="*/ 30269 h 489869"/>
              <a:gd name="connsiteX62" fmla="*/ 184153 w 365932"/>
              <a:gd name="connsiteY62" fmla="*/ 42130 h 489869"/>
              <a:gd name="connsiteX63" fmla="*/ 176157 w 365932"/>
              <a:gd name="connsiteY63" fmla="*/ 42871 h 489869"/>
              <a:gd name="connsiteX64" fmla="*/ 170910 w 365932"/>
              <a:gd name="connsiteY64" fmla="*/ 57821 h 489869"/>
              <a:gd name="connsiteX65" fmla="*/ 183653 w 365932"/>
              <a:gd name="connsiteY65" fmla="*/ 62392 h 489869"/>
              <a:gd name="connsiteX66" fmla="*/ 180405 w 365932"/>
              <a:gd name="connsiteY66" fmla="*/ 69558 h 489869"/>
              <a:gd name="connsiteX67" fmla="*/ 167662 w 365932"/>
              <a:gd name="connsiteY67" fmla="*/ 70546 h 489869"/>
              <a:gd name="connsiteX68" fmla="*/ 169286 w 365932"/>
              <a:gd name="connsiteY68" fmla="*/ 77465 h 489869"/>
              <a:gd name="connsiteX69" fmla="*/ 151545 w 365932"/>
              <a:gd name="connsiteY69" fmla="*/ 82778 h 489869"/>
              <a:gd name="connsiteX70" fmla="*/ 156918 w 365932"/>
              <a:gd name="connsiteY70" fmla="*/ 96862 h 489869"/>
              <a:gd name="connsiteX71" fmla="*/ 176782 w 365932"/>
              <a:gd name="connsiteY71" fmla="*/ 95874 h 489869"/>
              <a:gd name="connsiteX72" fmla="*/ 173909 w 365932"/>
              <a:gd name="connsiteY72" fmla="*/ 101310 h 489869"/>
              <a:gd name="connsiteX73" fmla="*/ 189525 w 365932"/>
              <a:gd name="connsiteY73" fmla="*/ 95256 h 489869"/>
              <a:gd name="connsiteX74" fmla="*/ 200395 w 365932"/>
              <a:gd name="connsiteY74" fmla="*/ 95132 h 489869"/>
              <a:gd name="connsiteX75" fmla="*/ 180530 w 365932"/>
              <a:gd name="connsiteY75" fmla="*/ 117742 h 489869"/>
              <a:gd name="connsiteX76" fmla="*/ 154919 w 365932"/>
              <a:gd name="connsiteY76" fmla="*/ 128738 h 489869"/>
              <a:gd name="connsiteX77" fmla="*/ 164289 w 365932"/>
              <a:gd name="connsiteY77" fmla="*/ 136645 h 489869"/>
              <a:gd name="connsiteX78" fmla="*/ 138802 w 365932"/>
              <a:gd name="connsiteY78" fmla="*/ 142328 h 489869"/>
              <a:gd name="connsiteX79" fmla="*/ 124934 w 365932"/>
              <a:gd name="connsiteY79" fmla="*/ 137139 h 489869"/>
              <a:gd name="connsiteX80" fmla="*/ 114065 w 365932"/>
              <a:gd name="connsiteY80" fmla="*/ 150482 h 489869"/>
              <a:gd name="connsiteX81" fmla="*/ 107818 w 365932"/>
              <a:gd name="connsiteY81" fmla="*/ 134050 h 489869"/>
              <a:gd name="connsiteX82" fmla="*/ 65591 w 365932"/>
              <a:gd name="connsiteY82" fmla="*/ 129726 h 489869"/>
              <a:gd name="connsiteX83" fmla="*/ 65840 w 365932"/>
              <a:gd name="connsiteY83" fmla="*/ 137015 h 489869"/>
              <a:gd name="connsiteX84" fmla="*/ 42353 w 365932"/>
              <a:gd name="connsiteY84" fmla="*/ 131826 h 489869"/>
              <a:gd name="connsiteX85" fmla="*/ 39354 w 365932"/>
              <a:gd name="connsiteY85" fmla="*/ 157154 h 489869"/>
              <a:gd name="connsiteX86" fmla="*/ 50224 w 365932"/>
              <a:gd name="connsiteY86" fmla="*/ 145046 h 489869"/>
              <a:gd name="connsiteX87" fmla="*/ 53347 w 365932"/>
              <a:gd name="connsiteY87" fmla="*/ 160366 h 489869"/>
              <a:gd name="connsiteX88" fmla="*/ 58719 w 365932"/>
              <a:gd name="connsiteY88" fmla="*/ 162837 h 489869"/>
              <a:gd name="connsiteX89" fmla="*/ 64841 w 365932"/>
              <a:gd name="connsiteY89" fmla="*/ 177663 h 489869"/>
              <a:gd name="connsiteX90" fmla="*/ 54471 w 365932"/>
              <a:gd name="connsiteY90" fmla="*/ 178404 h 489869"/>
              <a:gd name="connsiteX91" fmla="*/ 52347 w 365932"/>
              <a:gd name="connsiteY91" fmla="*/ 169756 h 489869"/>
              <a:gd name="connsiteX92" fmla="*/ 29859 w 365932"/>
              <a:gd name="connsiteY92" fmla="*/ 171609 h 489869"/>
              <a:gd name="connsiteX93" fmla="*/ 56595 w 365932"/>
              <a:gd name="connsiteY93" fmla="*/ 188782 h 489869"/>
              <a:gd name="connsiteX94" fmla="*/ 74461 w 365932"/>
              <a:gd name="connsiteY94" fmla="*/ 183470 h 489869"/>
              <a:gd name="connsiteX95" fmla="*/ 80957 w 365932"/>
              <a:gd name="connsiteY95" fmla="*/ 197431 h 489869"/>
              <a:gd name="connsiteX96" fmla="*/ 58344 w 365932"/>
              <a:gd name="connsiteY96" fmla="*/ 203114 h 489869"/>
              <a:gd name="connsiteX97" fmla="*/ 55721 w 365932"/>
              <a:gd name="connsiteY97" fmla="*/ 213368 h 489869"/>
              <a:gd name="connsiteX98" fmla="*/ 62592 w 365932"/>
              <a:gd name="connsiteY98" fmla="*/ 222017 h 489869"/>
              <a:gd name="connsiteX99" fmla="*/ 36981 w 365932"/>
              <a:gd name="connsiteY99" fmla="*/ 223623 h 489869"/>
              <a:gd name="connsiteX100" fmla="*/ 43477 w 365932"/>
              <a:gd name="connsiteY100" fmla="*/ 238696 h 489869"/>
              <a:gd name="connsiteX101" fmla="*/ 34732 w 365932"/>
              <a:gd name="connsiteY101" fmla="*/ 242526 h 489869"/>
              <a:gd name="connsiteX102" fmla="*/ 48599 w 365932"/>
              <a:gd name="connsiteY102" fmla="*/ 250309 h 489869"/>
              <a:gd name="connsiteX103" fmla="*/ 59469 w 365932"/>
              <a:gd name="connsiteY103" fmla="*/ 245985 h 489869"/>
              <a:gd name="connsiteX104" fmla="*/ 53222 w 365932"/>
              <a:gd name="connsiteY104" fmla="*/ 254634 h 489869"/>
              <a:gd name="connsiteX105" fmla="*/ 73961 w 365932"/>
              <a:gd name="connsiteY105" fmla="*/ 249445 h 489869"/>
              <a:gd name="connsiteX106" fmla="*/ 80458 w 365932"/>
              <a:gd name="connsiteY106" fmla="*/ 271560 h 489869"/>
              <a:gd name="connsiteX107" fmla="*/ 130057 w 365932"/>
              <a:gd name="connsiteY107" fmla="*/ 268842 h 489869"/>
              <a:gd name="connsiteX108" fmla="*/ 114815 w 365932"/>
              <a:gd name="connsiteY108" fmla="*/ 285644 h 489869"/>
              <a:gd name="connsiteX109" fmla="*/ 103071 w 365932"/>
              <a:gd name="connsiteY109" fmla="*/ 279220 h 489869"/>
              <a:gd name="connsiteX110" fmla="*/ 85580 w 365932"/>
              <a:gd name="connsiteY110" fmla="*/ 310725 h 489869"/>
              <a:gd name="connsiteX111" fmla="*/ 93951 w 365932"/>
              <a:gd name="connsiteY111" fmla="*/ 309366 h 489869"/>
              <a:gd name="connsiteX112" fmla="*/ 79583 w 365932"/>
              <a:gd name="connsiteY112" fmla="*/ 330987 h 489869"/>
              <a:gd name="connsiteX113" fmla="*/ 48599 w 365932"/>
              <a:gd name="connsiteY113" fmla="*/ 354090 h 489869"/>
              <a:gd name="connsiteX114" fmla="*/ 61343 w 365932"/>
              <a:gd name="connsiteY114" fmla="*/ 353472 h 489869"/>
              <a:gd name="connsiteX115" fmla="*/ 78209 w 365932"/>
              <a:gd name="connsiteY115" fmla="*/ 341488 h 489869"/>
              <a:gd name="connsiteX116" fmla="*/ 89328 w 365932"/>
              <a:gd name="connsiteY116" fmla="*/ 347295 h 489869"/>
              <a:gd name="connsiteX117" fmla="*/ 110817 w 365932"/>
              <a:gd name="connsiteY117" fmla="*/ 346924 h 489869"/>
              <a:gd name="connsiteX118" fmla="*/ 124809 w 365932"/>
              <a:gd name="connsiteY118" fmla="*/ 331975 h 489869"/>
              <a:gd name="connsiteX119" fmla="*/ 126434 w 365932"/>
              <a:gd name="connsiteY119" fmla="*/ 338523 h 489869"/>
              <a:gd name="connsiteX120" fmla="*/ 144549 w 365932"/>
              <a:gd name="connsiteY120" fmla="*/ 339388 h 489869"/>
              <a:gd name="connsiteX121" fmla="*/ 104445 w 365932"/>
              <a:gd name="connsiteY121" fmla="*/ 352113 h 489869"/>
              <a:gd name="connsiteX122" fmla="*/ 74336 w 365932"/>
              <a:gd name="connsiteY122" fmla="*/ 354584 h 489869"/>
              <a:gd name="connsiteX123" fmla="*/ 67589 w 365932"/>
              <a:gd name="connsiteY123" fmla="*/ 366445 h 489869"/>
              <a:gd name="connsiteX124" fmla="*/ 47975 w 365932"/>
              <a:gd name="connsiteY124" fmla="*/ 373611 h 489869"/>
              <a:gd name="connsiteX125" fmla="*/ 55346 w 365932"/>
              <a:gd name="connsiteY125" fmla="*/ 382753 h 489869"/>
              <a:gd name="connsiteX126" fmla="*/ 51223 w 365932"/>
              <a:gd name="connsiteY126" fmla="*/ 391649 h 489869"/>
              <a:gd name="connsiteX127" fmla="*/ 60093 w 365932"/>
              <a:gd name="connsiteY127" fmla="*/ 393626 h 489869"/>
              <a:gd name="connsiteX128" fmla="*/ 45601 w 365932"/>
              <a:gd name="connsiteY128" fmla="*/ 397085 h 489869"/>
              <a:gd name="connsiteX129" fmla="*/ 32608 w 365932"/>
              <a:gd name="connsiteY129" fmla="*/ 387325 h 489869"/>
              <a:gd name="connsiteX130" fmla="*/ 28110 w 365932"/>
              <a:gd name="connsiteY130" fmla="*/ 394490 h 489869"/>
              <a:gd name="connsiteX131" fmla="*/ 23738 w 365932"/>
              <a:gd name="connsiteY131" fmla="*/ 389796 h 489869"/>
              <a:gd name="connsiteX132" fmla="*/ 0 w 365932"/>
              <a:gd name="connsiteY132" fmla="*/ 403510 h 489869"/>
              <a:gd name="connsiteX133" fmla="*/ 2624 w 365932"/>
              <a:gd name="connsiteY133" fmla="*/ 409934 h 489869"/>
              <a:gd name="connsiteX134" fmla="*/ 58719 w 365932"/>
              <a:gd name="connsiteY134" fmla="*/ 404251 h 489869"/>
              <a:gd name="connsiteX135" fmla="*/ 40729 w 365932"/>
              <a:gd name="connsiteY135" fmla="*/ 420806 h 489869"/>
              <a:gd name="connsiteX136" fmla="*/ 17366 w 365932"/>
              <a:gd name="connsiteY136" fmla="*/ 427107 h 489869"/>
              <a:gd name="connsiteX137" fmla="*/ 10120 w 365932"/>
              <a:gd name="connsiteY137" fmla="*/ 446628 h 489869"/>
              <a:gd name="connsiteX138" fmla="*/ 25112 w 365932"/>
              <a:gd name="connsiteY138" fmla="*/ 445887 h 489869"/>
              <a:gd name="connsiteX139" fmla="*/ 29110 w 365932"/>
              <a:gd name="connsiteY139" fmla="*/ 456512 h 489869"/>
              <a:gd name="connsiteX140" fmla="*/ 71088 w 365932"/>
              <a:gd name="connsiteY140" fmla="*/ 441068 h 489869"/>
              <a:gd name="connsiteX141" fmla="*/ 39729 w 365932"/>
              <a:gd name="connsiteY141" fmla="*/ 463060 h 489869"/>
              <a:gd name="connsiteX142" fmla="*/ 26736 w 365932"/>
              <a:gd name="connsiteY142" fmla="*/ 474797 h 489869"/>
              <a:gd name="connsiteX143" fmla="*/ 49599 w 365932"/>
              <a:gd name="connsiteY143" fmla="*/ 473809 h 489869"/>
              <a:gd name="connsiteX144" fmla="*/ 78459 w 365932"/>
              <a:gd name="connsiteY144" fmla="*/ 456388 h 489869"/>
              <a:gd name="connsiteX145" fmla="*/ 77459 w 365932"/>
              <a:gd name="connsiteY145" fmla="*/ 468002 h 489869"/>
              <a:gd name="connsiteX146" fmla="*/ 52722 w 365932"/>
              <a:gd name="connsiteY146" fmla="*/ 480604 h 489869"/>
              <a:gd name="connsiteX147" fmla="*/ 66590 w 365932"/>
              <a:gd name="connsiteY147" fmla="*/ 479986 h 489869"/>
              <a:gd name="connsiteX148" fmla="*/ 62717 w 365932"/>
              <a:gd name="connsiteY148" fmla="*/ 488882 h 489869"/>
              <a:gd name="connsiteX149" fmla="*/ 85080 w 365932"/>
              <a:gd name="connsiteY149" fmla="*/ 482210 h 489869"/>
              <a:gd name="connsiteX150" fmla="*/ 97074 w 365932"/>
              <a:gd name="connsiteY150" fmla="*/ 489870 h 4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365932" h="489869">
                <a:moveTo>
                  <a:pt x="97074" y="489870"/>
                </a:moveTo>
                <a:lnTo>
                  <a:pt x="127558" y="484928"/>
                </a:lnTo>
                <a:lnTo>
                  <a:pt x="156418" y="475291"/>
                </a:lnTo>
                <a:lnTo>
                  <a:pt x="178781" y="458736"/>
                </a:lnTo>
                <a:lnTo>
                  <a:pt x="170286" y="441686"/>
                </a:lnTo>
                <a:lnTo>
                  <a:pt x="187776" y="442180"/>
                </a:lnTo>
                <a:lnTo>
                  <a:pt x="183404" y="452929"/>
                </a:lnTo>
                <a:lnTo>
                  <a:pt x="201519" y="452064"/>
                </a:lnTo>
                <a:lnTo>
                  <a:pt x="217386" y="433902"/>
                </a:lnTo>
                <a:lnTo>
                  <a:pt x="230004" y="434026"/>
                </a:lnTo>
                <a:lnTo>
                  <a:pt x="233377" y="416976"/>
                </a:lnTo>
                <a:lnTo>
                  <a:pt x="284725" y="409069"/>
                </a:lnTo>
                <a:lnTo>
                  <a:pt x="288348" y="397579"/>
                </a:lnTo>
                <a:lnTo>
                  <a:pt x="296594" y="410552"/>
                </a:lnTo>
                <a:lnTo>
                  <a:pt x="307214" y="399556"/>
                </a:lnTo>
                <a:lnTo>
                  <a:pt x="317833" y="403262"/>
                </a:lnTo>
                <a:lnTo>
                  <a:pt x="344319" y="402027"/>
                </a:lnTo>
                <a:lnTo>
                  <a:pt x="325204" y="379788"/>
                </a:lnTo>
                <a:lnTo>
                  <a:pt x="338197" y="373611"/>
                </a:lnTo>
                <a:lnTo>
                  <a:pt x="351440" y="356190"/>
                </a:lnTo>
                <a:lnTo>
                  <a:pt x="347942" y="341612"/>
                </a:lnTo>
                <a:lnTo>
                  <a:pt x="361935" y="324809"/>
                </a:lnTo>
                <a:lnTo>
                  <a:pt x="365933" y="306400"/>
                </a:lnTo>
                <a:lnTo>
                  <a:pt x="357187" y="266247"/>
                </a:lnTo>
                <a:lnTo>
                  <a:pt x="345818" y="259823"/>
                </a:lnTo>
                <a:lnTo>
                  <a:pt x="358686" y="250804"/>
                </a:lnTo>
                <a:lnTo>
                  <a:pt x="357812" y="232642"/>
                </a:lnTo>
                <a:lnTo>
                  <a:pt x="345319" y="214974"/>
                </a:lnTo>
                <a:lnTo>
                  <a:pt x="347942" y="196566"/>
                </a:lnTo>
                <a:lnTo>
                  <a:pt x="333575" y="187423"/>
                </a:lnTo>
                <a:lnTo>
                  <a:pt x="340071" y="176674"/>
                </a:lnTo>
                <a:lnTo>
                  <a:pt x="351190" y="177786"/>
                </a:lnTo>
                <a:lnTo>
                  <a:pt x="330826" y="165555"/>
                </a:lnTo>
                <a:lnTo>
                  <a:pt x="317458" y="163578"/>
                </a:lnTo>
                <a:lnTo>
                  <a:pt x="298718" y="130220"/>
                </a:lnTo>
                <a:lnTo>
                  <a:pt x="271732" y="118236"/>
                </a:lnTo>
                <a:lnTo>
                  <a:pt x="261488" y="126514"/>
                </a:lnTo>
                <a:lnTo>
                  <a:pt x="257240" y="151718"/>
                </a:lnTo>
                <a:lnTo>
                  <a:pt x="244122" y="154806"/>
                </a:lnTo>
                <a:lnTo>
                  <a:pt x="204143" y="121078"/>
                </a:lnTo>
                <a:lnTo>
                  <a:pt x="222258" y="79689"/>
                </a:lnTo>
                <a:lnTo>
                  <a:pt x="240748" y="76229"/>
                </a:lnTo>
                <a:lnTo>
                  <a:pt x="245371" y="60292"/>
                </a:lnTo>
                <a:lnTo>
                  <a:pt x="257240" y="53249"/>
                </a:lnTo>
                <a:lnTo>
                  <a:pt x="265610" y="43736"/>
                </a:lnTo>
                <a:lnTo>
                  <a:pt x="257240" y="45713"/>
                </a:lnTo>
                <a:lnTo>
                  <a:pt x="275105" y="30516"/>
                </a:lnTo>
                <a:lnTo>
                  <a:pt x="290972" y="20756"/>
                </a:lnTo>
                <a:lnTo>
                  <a:pt x="271108" y="11243"/>
                </a:lnTo>
                <a:lnTo>
                  <a:pt x="256990" y="0"/>
                </a:lnTo>
                <a:lnTo>
                  <a:pt x="263861" y="12231"/>
                </a:lnTo>
                <a:lnTo>
                  <a:pt x="245121" y="13096"/>
                </a:lnTo>
                <a:lnTo>
                  <a:pt x="249119" y="33482"/>
                </a:lnTo>
                <a:lnTo>
                  <a:pt x="236751" y="52879"/>
                </a:lnTo>
                <a:lnTo>
                  <a:pt x="238000" y="40277"/>
                </a:lnTo>
                <a:lnTo>
                  <a:pt x="244871" y="31258"/>
                </a:lnTo>
                <a:lnTo>
                  <a:pt x="235126" y="15938"/>
                </a:lnTo>
                <a:lnTo>
                  <a:pt x="223133" y="19026"/>
                </a:lnTo>
                <a:lnTo>
                  <a:pt x="230879" y="28787"/>
                </a:lnTo>
                <a:lnTo>
                  <a:pt x="216636" y="30146"/>
                </a:lnTo>
                <a:lnTo>
                  <a:pt x="208640" y="22856"/>
                </a:lnTo>
                <a:lnTo>
                  <a:pt x="183903" y="30269"/>
                </a:lnTo>
                <a:lnTo>
                  <a:pt x="184153" y="42130"/>
                </a:lnTo>
                <a:lnTo>
                  <a:pt x="176157" y="42871"/>
                </a:lnTo>
                <a:lnTo>
                  <a:pt x="170910" y="57821"/>
                </a:lnTo>
                <a:lnTo>
                  <a:pt x="183653" y="62392"/>
                </a:lnTo>
                <a:lnTo>
                  <a:pt x="180405" y="69558"/>
                </a:lnTo>
                <a:lnTo>
                  <a:pt x="167662" y="70546"/>
                </a:lnTo>
                <a:lnTo>
                  <a:pt x="169286" y="77465"/>
                </a:lnTo>
                <a:lnTo>
                  <a:pt x="151545" y="82778"/>
                </a:lnTo>
                <a:lnTo>
                  <a:pt x="156918" y="96862"/>
                </a:lnTo>
                <a:lnTo>
                  <a:pt x="176782" y="95874"/>
                </a:lnTo>
                <a:lnTo>
                  <a:pt x="173909" y="101310"/>
                </a:lnTo>
                <a:lnTo>
                  <a:pt x="189525" y="95256"/>
                </a:lnTo>
                <a:lnTo>
                  <a:pt x="200395" y="95132"/>
                </a:lnTo>
                <a:lnTo>
                  <a:pt x="180530" y="117742"/>
                </a:lnTo>
                <a:lnTo>
                  <a:pt x="154919" y="128738"/>
                </a:lnTo>
                <a:lnTo>
                  <a:pt x="164289" y="136645"/>
                </a:lnTo>
                <a:lnTo>
                  <a:pt x="138802" y="142328"/>
                </a:lnTo>
                <a:lnTo>
                  <a:pt x="124934" y="137139"/>
                </a:lnTo>
                <a:lnTo>
                  <a:pt x="114065" y="150482"/>
                </a:lnTo>
                <a:lnTo>
                  <a:pt x="107818" y="134050"/>
                </a:lnTo>
                <a:lnTo>
                  <a:pt x="65591" y="129726"/>
                </a:lnTo>
                <a:lnTo>
                  <a:pt x="65840" y="137015"/>
                </a:lnTo>
                <a:lnTo>
                  <a:pt x="42353" y="131826"/>
                </a:lnTo>
                <a:lnTo>
                  <a:pt x="39354" y="157154"/>
                </a:lnTo>
                <a:lnTo>
                  <a:pt x="50224" y="145046"/>
                </a:lnTo>
                <a:lnTo>
                  <a:pt x="53347" y="160366"/>
                </a:lnTo>
                <a:lnTo>
                  <a:pt x="58719" y="162837"/>
                </a:lnTo>
                <a:lnTo>
                  <a:pt x="64841" y="177663"/>
                </a:lnTo>
                <a:lnTo>
                  <a:pt x="54471" y="178404"/>
                </a:lnTo>
                <a:lnTo>
                  <a:pt x="52347" y="169756"/>
                </a:lnTo>
                <a:lnTo>
                  <a:pt x="29859" y="171609"/>
                </a:lnTo>
                <a:lnTo>
                  <a:pt x="56595" y="188782"/>
                </a:lnTo>
                <a:lnTo>
                  <a:pt x="74461" y="183470"/>
                </a:lnTo>
                <a:lnTo>
                  <a:pt x="80957" y="197431"/>
                </a:lnTo>
                <a:lnTo>
                  <a:pt x="58344" y="203114"/>
                </a:lnTo>
                <a:lnTo>
                  <a:pt x="55721" y="213368"/>
                </a:lnTo>
                <a:lnTo>
                  <a:pt x="62592" y="222017"/>
                </a:lnTo>
                <a:lnTo>
                  <a:pt x="36981" y="223623"/>
                </a:lnTo>
                <a:lnTo>
                  <a:pt x="43477" y="238696"/>
                </a:lnTo>
                <a:lnTo>
                  <a:pt x="34732" y="242526"/>
                </a:lnTo>
                <a:lnTo>
                  <a:pt x="48599" y="250309"/>
                </a:lnTo>
                <a:lnTo>
                  <a:pt x="59469" y="245985"/>
                </a:lnTo>
                <a:lnTo>
                  <a:pt x="53222" y="254634"/>
                </a:lnTo>
                <a:lnTo>
                  <a:pt x="73961" y="249445"/>
                </a:lnTo>
                <a:lnTo>
                  <a:pt x="80458" y="271560"/>
                </a:lnTo>
                <a:lnTo>
                  <a:pt x="130057" y="268842"/>
                </a:lnTo>
                <a:lnTo>
                  <a:pt x="114815" y="285644"/>
                </a:lnTo>
                <a:lnTo>
                  <a:pt x="103071" y="279220"/>
                </a:lnTo>
                <a:lnTo>
                  <a:pt x="85580" y="310725"/>
                </a:lnTo>
                <a:lnTo>
                  <a:pt x="93951" y="309366"/>
                </a:lnTo>
                <a:lnTo>
                  <a:pt x="79583" y="330987"/>
                </a:lnTo>
                <a:lnTo>
                  <a:pt x="48599" y="354090"/>
                </a:lnTo>
                <a:lnTo>
                  <a:pt x="61343" y="353472"/>
                </a:lnTo>
                <a:lnTo>
                  <a:pt x="78209" y="341488"/>
                </a:lnTo>
                <a:lnTo>
                  <a:pt x="89328" y="347295"/>
                </a:lnTo>
                <a:lnTo>
                  <a:pt x="110817" y="346924"/>
                </a:lnTo>
                <a:lnTo>
                  <a:pt x="124809" y="331975"/>
                </a:lnTo>
                <a:lnTo>
                  <a:pt x="126434" y="338523"/>
                </a:lnTo>
                <a:lnTo>
                  <a:pt x="144549" y="339388"/>
                </a:lnTo>
                <a:lnTo>
                  <a:pt x="104445" y="352113"/>
                </a:lnTo>
                <a:lnTo>
                  <a:pt x="74336" y="354584"/>
                </a:lnTo>
                <a:lnTo>
                  <a:pt x="67589" y="366445"/>
                </a:lnTo>
                <a:lnTo>
                  <a:pt x="47975" y="373611"/>
                </a:lnTo>
                <a:lnTo>
                  <a:pt x="55346" y="382753"/>
                </a:lnTo>
                <a:lnTo>
                  <a:pt x="51223" y="391649"/>
                </a:lnTo>
                <a:lnTo>
                  <a:pt x="60093" y="393626"/>
                </a:lnTo>
                <a:lnTo>
                  <a:pt x="45601" y="397085"/>
                </a:lnTo>
                <a:lnTo>
                  <a:pt x="32608" y="387325"/>
                </a:lnTo>
                <a:lnTo>
                  <a:pt x="28110" y="394490"/>
                </a:lnTo>
                <a:lnTo>
                  <a:pt x="23738" y="389796"/>
                </a:lnTo>
                <a:lnTo>
                  <a:pt x="0" y="403510"/>
                </a:lnTo>
                <a:lnTo>
                  <a:pt x="2624" y="409934"/>
                </a:lnTo>
                <a:lnTo>
                  <a:pt x="58719" y="404251"/>
                </a:lnTo>
                <a:lnTo>
                  <a:pt x="40729" y="420806"/>
                </a:lnTo>
                <a:lnTo>
                  <a:pt x="17366" y="427107"/>
                </a:lnTo>
                <a:lnTo>
                  <a:pt x="10120" y="446628"/>
                </a:lnTo>
                <a:lnTo>
                  <a:pt x="25112" y="445887"/>
                </a:lnTo>
                <a:lnTo>
                  <a:pt x="29110" y="456512"/>
                </a:lnTo>
                <a:lnTo>
                  <a:pt x="71088" y="441068"/>
                </a:lnTo>
                <a:lnTo>
                  <a:pt x="39729" y="463060"/>
                </a:lnTo>
                <a:lnTo>
                  <a:pt x="26736" y="474797"/>
                </a:lnTo>
                <a:lnTo>
                  <a:pt x="49599" y="473809"/>
                </a:lnTo>
                <a:lnTo>
                  <a:pt x="78459" y="456388"/>
                </a:lnTo>
                <a:lnTo>
                  <a:pt x="77459" y="468002"/>
                </a:lnTo>
                <a:lnTo>
                  <a:pt x="52722" y="480604"/>
                </a:lnTo>
                <a:lnTo>
                  <a:pt x="66590" y="479986"/>
                </a:lnTo>
                <a:lnTo>
                  <a:pt x="62717" y="488882"/>
                </a:lnTo>
                <a:lnTo>
                  <a:pt x="85080" y="482210"/>
                </a:lnTo>
                <a:lnTo>
                  <a:pt x="97074" y="489870"/>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8" name="Graphic 126">
            <a:extLst>
              <a:ext uri="{FF2B5EF4-FFF2-40B4-BE49-F238E27FC236}">
                <a16:creationId xmlns:a16="http://schemas.microsoft.com/office/drawing/2014/main" id="{CD2A9813-7A7C-D67B-2A56-DC0F4EA5C081}"/>
              </a:ext>
            </a:extLst>
          </p:cNvPr>
          <p:cNvSpPr/>
          <p:nvPr/>
        </p:nvSpPr>
        <p:spPr>
          <a:xfrm rot="1141104">
            <a:off x="6621486" y="3401539"/>
            <a:ext cx="1067686" cy="1148878"/>
          </a:xfrm>
          <a:custGeom>
            <a:avLst/>
            <a:gdLst>
              <a:gd name="connsiteX0" fmla="*/ 83581 w 1067686"/>
              <a:gd name="connsiteY0" fmla="*/ 386089 h 1148878"/>
              <a:gd name="connsiteX1" fmla="*/ 76460 w 1067686"/>
              <a:gd name="connsiteY1" fmla="*/ 366816 h 1148878"/>
              <a:gd name="connsiteX2" fmla="*/ 87204 w 1067686"/>
              <a:gd name="connsiteY2" fmla="*/ 338770 h 1148878"/>
              <a:gd name="connsiteX3" fmla="*/ 59469 w 1067686"/>
              <a:gd name="connsiteY3" fmla="*/ 340006 h 1148878"/>
              <a:gd name="connsiteX4" fmla="*/ 29484 w 1067686"/>
              <a:gd name="connsiteY4" fmla="*/ 321597 h 1148878"/>
              <a:gd name="connsiteX5" fmla="*/ 23488 w 1067686"/>
              <a:gd name="connsiteY5" fmla="*/ 274649 h 1148878"/>
              <a:gd name="connsiteX6" fmla="*/ 0 w 1067686"/>
              <a:gd name="connsiteY6" fmla="*/ 252039 h 1148878"/>
              <a:gd name="connsiteX7" fmla="*/ 12618 w 1067686"/>
              <a:gd name="connsiteY7" fmla="*/ 237090 h 1148878"/>
              <a:gd name="connsiteX8" fmla="*/ 33732 w 1067686"/>
              <a:gd name="connsiteY8" fmla="*/ 233507 h 1148878"/>
              <a:gd name="connsiteX9" fmla="*/ 37730 w 1067686"/>
              <a:gd name="connsiteY9" fmla="*/ 203114 h 1148878"/>
              <a:gd name="connsiteX10" fmla="*/ 19865 w 1067686"/>
              <a:gd name="connsiteY10" fmla="*/ 188165 h 1148878"/>
              <a:gd name="connsiteX11" fmla="*/ 16241 w 1067686"/>
              <a:gd name="connsiteY11" fmla="*/ 166049 h 1148878"/>
              <a:gd name="connsiteX12" fmla="*/ 23737 w 1067686"/>
              <a:gd name="connsiteY12" fmla="*/ 156536 h 1148878"/>
              <a:gd name="connsiteX13" fmla="*/ 45226 w 1067686"/>
              <a:gd name="connsiteY13" fmla="*/ 163455 h 1148878"/>
              <a:gd name="connsiteX14" fmla="*/ 79833 w 1067686"/>
              <a:gd name="connsiteY14" fmla="*/ 135780 h 1148878"/>
              <a:gd name="connsiteX15" fmla="*/ 104195 w 1067686"/>
              <a:gd name="connsiteY15" fmla="*/ 145293 h 1148878"/>
              <a:gd name="connsiteX16" fmla="*/ 134804 w 1067686"/>
              <a:gd name="connsiteY16" fmla="*/ 87596 h 1148878"/>
              <a:gd name="connsiteX17" fmla="*/ 156542 w 1067686"/>
              <a:gd name="connsiteY17" fmla="*/ 99827 h 1148878"/>
              <a:gd name="connsiteX18" fmla="*/ 154793 w 1067686"/>
              <a:gd name="connsiteY18" fmla="*/ 120954 h 1148878"/>
              <a:gd name="connsiteX19" fmla="*/ 184528 w 1067686"/>
              <a:gd name="connsiteY19" fmla="*/ 134050 h 1148878"/>
              <a:gd name="connsiteX20" fmla="*/ 194522 w 1067686"/>
              <a:gd name="connsiteY20" fmla="*/ 151965 h 1148878"/>
              <a:gd name="connsiteX21" fmla="*/ 211638 w 1067686"/>
              <a:gd name="connsiteY21" fmla="*/ 118483 h 1148878"/>
              <a:gd name="connsiteX22" fmla="*/ 210514 w 1067686"/>
              <a:gd name="connsiteY22" fmla="*/ 93650 h 1148878"/>
              <a:gd name="connsiteX23" fmla="*/ 250743 w 1067686"/>
              <a:gd name="connsiteY23" fmla="*/ 102422 h 1148878"/>
              <a:gd name="connsiteX24" fmla="*/ 266609 w 1067686"/>
              <a:gd name="connsiteY24" fmla="*/ 100445 h 1148878"/>
              <a:gd name="connsiteX25" fmla="*/ 283101 w 1067686"/>
              <a:gd name="connsiteY25" fmla="*/ 112923 h 1148878"/>
              <a:gd name="connsiteX26" fmla="*/ 285599 w 1067686"/>
              <a:gd name="connsiteY26" fmla="*/ 78700 h 1148878"/>
              <a:gd name="connsiteX27" fmla="*/ 321081 w 1067686"/>
              <a:gd name="connsiteY27" fmla="*/ 69311 h 1148878"/>
              <a:gd name="connsiteX28" fmla="*/ 310586 w 1067686"/>
              <a:gd name="connsiteY28" fmla="*/ 40895 h 1148878"/>
              <a:gd name="connsiteX29" fmla="*/ 328202 w 1067686"/>
              <a:gd name="connsiteY29" fmla="*/ 17791 h 1148878"/>
              <a:gd name="connsiteX30" fmla="*/ 359310 w 1067686"/>
              <a:gd name="connsiteY30" fmla="*/ 29528 h 1148878"/>
              <a:gd name="connsiteX31" fmla="*/ 405786 w 1067686"/>
              <a:gd name="connsiteY31" fmla="*/ 0 h 1148878"/>
              <a:gd name="connsiteX32" fmla="*/ 425900 w 1067686"/>
              <a:gd name="connsiteY32" fmla="*/ 4448 h 1148878"/>
              <a:gd name="connsiteX33" fmla="*/ 457509 w 1067686"/>
              <a:gd name="connsiteY33" fmla="*/ 494 h 1148878"/>
              <a:gd name="connsiteX34" fmla="*/ 455635 w 1067686"/>
              <a:gd name="connsiteY34" fmla="*/ 18903 h 1148878"/>
              <a:gd name="connsiteX35" fmla="*/ 501860 w 1067686"/>
              <a:gd name="connsiteY35" fmla="*/ 43118 h 1148878"/>
              <a:gd name="connsiteX36" fmla="*/ 557956 w 1067686"/>
              <a:gd name="connsiteY36" fmla="*/ 51273 h 1148878"/>
              <a:gd name="connsiteX37" fmla="*/ 588315 w 1067686"/>
              <a:gd name="connsiteY37" fmla="*/ 47319 h 1148878"/>
              <a:gd name="connsiteX38" fmla="*/ 602057 w 1067686"/>
              <a:gd name="connsiteY38" fmla="*/ 58562 h 1148878"/>
              <a:gd name="connsiteX39" fmla="*/ 582193 w 1067686"/>
              <a:gd name="connsiteY39" fmla="*/ 89573 h 1148878"/>
              <a:gd name="connsiteX40" fmla="*/ 589439 w 1067686"/>
              <a:gd name="connsiteY40" fmla="*/ 103657 h 1148878"/>
              <a:gd name="connsiteX41" fmla="*/ 578320 w 1067686"/>
              <a:gd name="connsiteY41" fmla="*/ 122560 h 1148878"/>
              <a:gd name="connsiteX42" fmla="*/ 584067 w 1067686"/>
              <a:gd name="connsiteY42" fmla="*/ 153324 h 1148878"/>
              <a:gd name="connsiteX43" fmla="*/ 563203 w 1067686"/>
              <a:gd name="connsiteY43" fmla="*/ 149123 h 1148878"/>
              <a:gd name="connsiteX44" fmla="*/ 550959 w 1067686"/>
              <a:gd name="connsiteY44" fmla="*/ 155795 h 1148878"/>
              <a:gd name="connsiteX45" fmla="*/ 538341 w 1067686"/>
              <a:gd name="connsiteY45" fmla="*/ 169385 h 1148878"/>
              <a:gd name="connsiteX46" fmla="*/ 518227 w 1067686"/>
              <a:gd name="connsiteY46" fmla="*/ 170250 h 1148878"/>
              <a:gd name="connsiteX47" fmla="*/ 500111 w 1067686"/>
              <a:gd name="connsiteY47" fmla="*/ 187547 h 1148878"/>
              <a:gd name="connsiteX48" fmla="*/ 480122 w 1067686"/>
              <a:gd name="connsiteY48" fmla="*/ 191130 h 1148878"/>
              <a:gd name="connsiteX49" fmla="*/ 473750 w 1067686"/>
              <a:gd name="connsiteY49" fmla="*/ 205214 h 1148878"/>
              <a:gd name="connsiteX50" fmla="*/ 484369 w 1067686"/>
              <a:gd name="connsiteY50" fmla="*/ 223994 h 1148878"/>
              <a:gd name="connsiteX51" fmla="*/ 497487 w 1067686"/>
              <a:gd name="connsiteY51" fmla="*/ 239190 h 1148878"/>
              <a:gd name="connsiteX52" fmla="*/ 484494 w 1067686"/>
              <a:gd name="connsiteY52" fmla="*/ 260317 h 1148878"/>
              <a:gd name="connsiteX53" fmla="*/ 476499 w 1067686"/>
              <a:gd name="connsiteY53" fmla="*/ 267483 h 1148878"/>
              <a:gd name="connsiteX54" fmla="*/ 487868 w 1067686"/>
              <a:gd name="connsiteY54" fmla="*/ 289722 h 1148878"/>
              <a:gd name="connsiteX55" fmla="*/ 491741 w 1067686"/>
              <a:gd name="connsiteY55" fmla="*/ 315667 h 1148878"/>
              <a:gd name="connsiteX56" fmla="*/ 501985 w 1067686"/>
              <a:gd name="connsiteY56" fmla="*/ 329010 h 1148878"/>
              <a:gd name="connsiteX57" fmla="*/ 543213 w 1067686"/>
              <a:gd name="connsiteY57" fmla="*/ 348531 h 1148878"/>
              <a:gd name="connsiteX58" fmla="*/ 565951 w 1067686"/>
              <a:gd name="connsiteY58" fmla="*/ 359279 h 1148878"/>
              <a:gd name="connsiteX59" fmla="*/ 577695 w 1067686"/>
              <a:gd name="connsiteY59" fmla="*/ 373858 h 1148878"/>
              <a:gd name="connsiteX60" fmla="*/ 640037 w 1067686"/>
              <a:gd name="connsiteY60" fmla="*/ 431061 h 1148878"/>
              <a:gd name="connsiteX61" fmla="*/ 642036 w 1067686"/>
              <a:gd name="connsiteY61" fmla="*/ 446752 h 1148878"/>
              <a:gd name="connsiteX62" fmla="*/ 649907 w 1067686"/>
              <a:gd name="connsiteY62" fmla="*/ 450582 h 1148878"/>
              <a:gd name="connsiteX63" fmla="*/ 651406 w 1067686"/>
              <a:gd name="connsiteY63" fmla="*/ 469114 h 1148878"/>
              <a:gd name="connsiteX64" fmla="*/ 664649 w 1067686"/>
              <a:gd name="connsiteY64" fmla="*/ 486411 h 1148878"/>
              <a:gd name="connsiteX65" fmla="*/ 682015 w 1067686"/>
              <a:gd name="connsiteY65" fmla="*/ 502472 h 1148878"/>
              <a:gd name="connsiteX66" fmla="*/ 696008 w 1067686"/>
              <a:gd name="connsiteY66" fmla="*/ 522116 h 1148878"/>
              <a:gd name="connsiteX67" fmla="*/ 723868 w 1067686"/>
              <a:gd name="connsiteY67" fmla="*/ 541514 h 1148878"/>
              <a:gd name="connsiteX68" fmla="*/ 737361 w 1067686"/>
              <a:gd name="connsiteY68" fmla="*/ 554116 h 1148878"/>
              <a:gd name="connsiteX69" fmla="*/ 754477 w 1067686"/>
              <a:gd name="connsiteY69" fmla="*/ 556710 h 1148878"/>
              <a:gd name="connsiteX70" fmla="*/ 766595 w 1067686"/>
              <a:gd name="connsiteY70" fmla="*/ 563258 h 1148878"/>
              <a:gd name="connsiteX71" fmla="*/ 801327 w 1067686"/>
              <a:gd name="connsiteY71" fmla="*/ 561652 h 1148878"/>
              <a:gd name="connsiteX72" fmla="*/ 816069 w 1067686"/>
              <a:gd name="connsiteY72" fmla="*/ 565111 h 1148878"/>
              <a:gd name="connsiteX73" fmla="*/ 838183 w 1067686"/>
              <a:gd name="connsiteY73" fmla="*/ 560664 h 1148878"/>
              <a:gd name="connsiteX74" fmla="*/ 854549 w 1067686"/>
              <a:gd name="connsiteY74" fmla="*/ 568200 h 1148878"/>
              <a:gd name="connsiteX75" fmla="*/ 851551 w 1067686"/>
              <a:gd name="connsiteY75" fmla="*/ 580679 h 1148878"/>
              <a:gd name="connsiteX76" fmla="*/ 829312 w 1067686"/>
              <a:gd name="connsiteY76" fmla="*/ 597481 h 1148878"/>
              <a:gd name="connsiteX77" fmla="*/ 828938 w 1067686"/>
              <a:gd name="connsiteY77" fmla="*/ 605759 h 1148878"/>
              <a:gd name="connsiteX78" fmla="*/ 838558 w 1067686"/>
              <a:gd name="connsiteY78" fmla="*/ 619843 h 1148878"/>
              <a:gd name="connsiteX79" fmla="*/ 857298 w 1067686"/>
              <a:gd name="connsiteY79" fmla="*/ 619102 h 1148878"/>
              <a:gd name="connsiteX80" fmla="*/ 892404 w 1067686"/>
              <a:gd name="connsiteY80" fmla="*/ 625897 h 1148878"/>
              <a:gd name="connsiteX81" fmla="*/ 966240 w 1067686"/>
              <a:gd name="connsiteY81" fmla="*/ 661232 h 1148878"/>
              <a:gd name="connsiteX82" fmla="*/ 995225 w 1067686"/>
              <a:gd name="connsiteY82" fmla="*/ 680753 h 1148878"/>
              <a:gd name="connsiteX83" fmla="*/ 1014340 w 1067686"/>
              <a:gd name="connsiteY83" fmla="*/ 699038 h 1148878"/>
              <a:gd name="connsiteX84" fmla="*/ 1044574 w 1067686"/>
              <a:gd name="connsiteY84" fmla="*/ 705339 h 1148878"/>
              <a:gd name="connsiteX85" fmla="*/ 1060191 w 1067686"/>
              <a:gd name="connsiteY85" fmla="*/ 715099 h 1148878"/>
              <a:gd name="connsiteX86" fmla="*/ 1067687 w 1067686"/>
              <a:gd name="connsiteY86" fmla="*/ 726960 h 1148878"/>
              <a:gd name="connsiteX87" fmla="*/ 1065938 w 1067686"/>
              <a:gd name="connsiteY87" fmla="*/ 750434 h 1148878"/>
              <a:gd name="connsiteX88" fmla="*/ 1058691 w 1067686"/>
              <a:gd name="connsiteY88" fmla="*/ 761924 h 1148878"/>
              <a:gd name="connsiteX89" fmla="*/ 1061565 w 1067686"/>
              <a:gd name="connsiteY89" fmla="*/ 776503 h 1148878"/>
              <a:gd name="connsiteX90" fmla="*/ 1056817 w 1067686"/>
              <a:gd name="connsiteY90" fmla="*/ 780704 h 1148878"/>
              <a:gd name="connsiteX91" fmla="*/ 1056318 w 1067686"/>
              <a:gd name="connsiteY91" fmla="*/ 785893 h 1148878"/>
              <a:gd name="connsiteX92" fmla="*/ 1039826 w 1067686"/>
              <a:gd name="connsiteY92" fmla="*/ 779839 h 1148878"/>
              <a:gd name="connsiteX93" fmla="*/ 1026458 w 1067686"/>
              <a:gd name="connsiteY93" fmla="*/ 764519 h 1148878"/>
              <a:gd name="connsiteX94" fmla="*/ 1018088 w 1067686"/>
              <a:gd name="connsiteY94" fmla="*/ 748210 h 1148878"/>
              <a:gd name="connsiteX95" fmla="*/ 1019712 w 1067686"/>
              <a:gd name="connsiteY95" fmla="*/ 734497 h 1148878"/>
              <a:gd name="connsiteX96" fmla="*/ 1009467 w 1067686"/>
              <a:gd name="connsiteY96" fmla="*/ 729060 h 1148878"/>
              <a:gd name="connsiteX97" fmla="*/ 981107 w 1067686"/>
              <a:gd name="connsiteY97" fmla="*/ 729925 h 1148878"/>
              <a:gd name="connsiteX98" fmla="*/ 975110 w 1067686"/>
              <a:gd name="connsiteY98" fmla="*/ 721895 h 1148878"/>
              <a:gd name="connsiteX99" fmla="*/ 955996 w 1067686"/>
              <a:gd name="connsiteY99" fmla="*/ 713740 h 1148878"/>
              <a:gd name="connsiteX100" fmla="*/ 943627 w 1067686"/>
              <a:gd name="connsiteY100" fmla="*/ 715964 h 1148878"/>
              <a:gd name="connsiteX101" fmla="*/ 935506 w 1067686"/>
              <a:gd name="connsiteY101" fmla="*/ 721524 h 1148878"/>
              <a:gd name="connsiteX102" fmla="*/ 930134 w 1067686"/>
              <a:gd name="connsiteY102" fmla="*/ 743763 h 1148878"/>
              <a:gd name="connsiteX103" fmla="*/ 920264 w 1067686"/>
              <a:gd name="connsiteY103" fmla="*/ 755129 h 1148878"/>
              <a:gd name="connsiteX104" fmla="*/ 921764 w 1067686"/>
              <a:gd name="connsiteY104" fmla="*/ 766743 h 1148878"/>
              <a:gd name="connsiteX105" fmla="*/ 919265 w 1067686"/>
              <a:gd name="connsiteY105" fmla="*/ 780580 h 1148878"/>
              <a:gd name="connsiteX106" fmla="*/ 906522 w 1067686"/>
              <a:gd name="connsiteY106" fmla="*/ 790093 h 1148878"/>
              <a:gd name="connsiteX107" fmla="*/ 907271 w 1067686"/>
              <a:gd name="connsiteY107" fmla="*/ 803560 h 1148878"/>
              <a:gd name="connsiteX108" fmla="*/ 913893 w 1067686"/>
              <a:gd name="connsiteY108" fmla="*/ 812456 h 1148878"/>
              <a:gd name="connsiteX109" fmla="*/ 928510 w 1067686"/>
              <a:gd name="connsiteY109" fmla="*/ 813938 h 1148878"/>
              <a:gd name="connsiteX110" fmla="*/ 955246 w 1067686"/>
              <a:gd name="connsiteY110" fmla="*/ 836795 h 1148878"/>
              <a:gd name="connsiteX111" fmla="*/ 960743 w 1067686"/>
              <a:gd name="connsiteY111" fmla="*/ 846926 h 1148878"/>
              <a:gd name="connsiteX112" fmla="*/ 958744 w 1067686"/>
              <a:gd name="connsiteY112" fmla="*/ 870400 h 1148878"/>
              <a:gd name="connsiteX113" fmla="*/ 963991 w 1067686"/>
              <a:gd name="connsiteY113" fmla="*/ 878431 h 1148878"/>
              <a:gd name="connsiteX114" fmla="*/ 958369 w 1067686"/>
              <a:gd name="connsiteY114" fmla="*/ 891650 h 1148878"/>
              <a:gd name="connsiteX115" fmla="*/ 942503 w 1067686"/>
              <a:gd name="connsiteY115" fmla="*/ 896469 h 1148878"/>
              <a:gd name="connsiteX116" fmla="*/ 928010 w 1067686"/>
              <a:gd name="connsiteY116" fmla="*/ 912901 h 1148878"/>
              <a:gd name="connsiteX117" fmla="*/ 927760 w 1067686"/>
              <a:gd name="connsiteY117" fmla="*/ 954784 h 1148878"/>
              <a:gd name="connsiteX118" fmla="*/ 903648 w 1067686"/>
              <a:gd name="connsiteY118" fmla="*/ 975787 h 1148878"/>
              <a:gd name="connsiteX119" fmla="*/ 901025 w 1067686"/>
              <a:gd name="connsiteY119" fmla="*/ 995184 h 1148878"/>
              <a:gd name="connsiteX120" fmla="*/ 888656 w 1067686"/>
              <a:gd name="connsiteY120" fmla="*/ 1013593 h 1148878"/>
              <a:gd name="connsiteX121" fmla="*/ 862420 w 1067686"/>
              <a:gd name="connsiteY121" fmla="*/ 1016805 h 1148878"/>
              <a:gd name="connsiteX122" fmla="*/ 841431 w 1067686"/>
              <a:gd name="connsiteY122" fmla="*/ 997779 h 1148878"/>
              <a:gd name="connsiteX123" fmla="*/ 840182 w 1067686"/>
              <a:gd name="connsiteY123" fmla="*/ 984065 h 1148878"/>
              <a:gd name="connsiteX124" fmla="*/ 844304 w 1067686"/>
              <a:gd name="connsiteY124" fmla="*/ 977022 h 1148878"/>
              <a:gd name="connsiteX125" fmla="*/ 855174 w 1067686"/>
              <a:gd name="connsiteY125" fmla="*/ 970474 h 1148878"/>
              <a:gd name="connsiteX126" fmla="*/ 865543 w 1067686"/>
              <a:gd name="connsiteY126" fmla="*/ 957625 h 1148878"/>
              <a:gd name="connsiteX127" fmla="*/ 867167 w 1067686"/>
              <a:gd name="connsiteY127" fmla="*/ 940452 h 1148878"/>
              <a:gd name="connsiteX128" fmla="*/ 864044 w 1067686"/>
              <a:gd name="connsiteY128" fmla="*/ 922661 h 1148878"/>
              <a:gd name="connsiteX129" fmla="*/ 869166 w 1067686"/>
              <a:gd name="connsiteY129" fmla="*/ 919325 h 1148878"/>
              <a:gd name="connsiteX130" fmla="*/ 876413 w 1067686"/>
              <a:gd name="connsiteY130" fmla="*/ 918708 h 1148878"/>
              <a:gd name="connsiteX131" fmla="*/ 885658 w 1067686"/>
              <a:gd name="connsiteY131" fmla="*/ 906600 h 1148878"/>
              <a:gd name="connsiteX132" fmla="*/ 885658 w 1067686"/>
              <a:gd name="connsiteY132" fmla="*/ 890044 h 1148878"/>
              <a:gd name="connsiteX133" fmla="*/ 874539 w 1067686"/>
              <a:gd name="connsiteY133" fmla="*/ 875465 h 1148878"/>
              <a:gd name="connsiteX134" fmla="*/ 865543 w 1067686"/>
              <a:gd name="connsiteY134" fmla="*/ 843590 h 1148878"/>
              <a:gd name="connsiteX135" fmla="*/ 855299 w 1067686"/>
              <a:gd name="connsiteY135" fmla="*/ 831606 h 1148878"/>
              <a:gd name="connsiteX136" fmla="*/ 849926 w 1067686"/>
              <a:gd name="connsiteY136" fmla="*/ 804302 h 1148878"/>
              <a:gd name="connsiteX137" fmla="*/ 840307 w 1067686"/>
              <a:gd name="connsiteY137" fmla="*/ 775885 h 1148878"/>
              <a:gd name="connsiteX138" fmla="*/ 826814 w 1067686"/>
              <a:gd name="connsiteY138" fmla="*/ 768225 h 1148878"/>
              <a:gd name="connsiteX139" fmla="*/ 816694 w 1067686"/>
              <a:gd name="connsiteY139" fmla="*/ 774897 h 1148878"/>
              <a:gd name="connsiteX140" fmla="*/ 792832 w 1067686"/>
              <a:gd name="connsiteY140" fmla="*/ 770449 h 1148878"/>
              <a:gd name="connsiteX141" fmla="*/ 784586 w 1067686"/>
              <a:gd name="connsiteY141" fmla="*/ 755623 h 1148878"/>
              <a:gd name="connsiteX142" fmla="*/ 765846 w 1067686"/>
              <a:gd name="connsiteY142" fmla="*/ 755006 h 1148878"/>
              <a:gd name="connsiteX143" fmla="*/ 756476 w 1067686"/>
              <a:gd name="connsiteY143" fmla="*/ 746481 h 1148878"/>
              <a:gd name="connsiteX144" fmla="*/ 760349 w 1067686"/>
              <a:gd name="connsiteY144" fmla="*/ 738821 h 1148878"/>
              <a:gd name="connsiteX145" fmla="*/ 761598 w 1067686"/>
              <a:gd name="connsiteY145" fmla="*/ 720906 h 1148878"/>
              <a:gd name="connsiteX146" fmla="*/ 749230 w 1067686"/>
              <a:gd name="connsiteY146" fmla="*/ 706327 h 1148878"/>
              <a:gd name="connsiteX147" fmla="*/ 732488 w 1067686"/>
              <a:gd name="connsiteY147" fmla="*/ 705710 h 1148878"/>
              <a:gd name="connsiteX148" fmla="*/ 716497 w 1067686"/>
              <a:gd name="connsiteY148" fmla="*/ 707069 h 1148878"/>
              <a:gd name="connsiteX149" fmla="*/ 717371 w 1067686"/>
              <a:gd name="connsiteY149" fmla="*/ 694590 h 1148878"/>
              <a:gd name="connsiteX150" fmla="*/ 701880 w 1067686"/>
              <a:gd name="connsiteY150" fmla="*/ 689772 h 1148878"/>
              <a:gd name="connsiteX151" fmla="*/ 691635 w 1067686"/>
              <a:gd name="connsiteY151" fmla="*/ 694343 h 1148878"/>
              <a:gd name="connsiteX152" fmla="*/ 679516 w 1067686"/>
              <a:gd name="connsiteY152" fmla="*/ 687301 h 1148878"/>
              <a:gd name="connsiteX153" fmla="*/ 658528 w 1067686"/>
              <a:gd name="connsiteY153" fmla="*/ 652460 h 1148878"/>
              <a:gd name="connsiteX154" fmla="*/ 640412 w 1067686"/>
              <a:gd name="connsiteY154" fmla="*/ 651843 h 1148878"/>
              <a:gd name="connsiteX155" fmla="*/ 621422 w 1067686"/>
              <a:gd name="connsiteY155" fmla="*/ 645047 h 1148878"/>
              <a:gd name="connsiteX156" fmla="*/ 610178 w 1067686"/>
              <a:gd name="connsiteY156" fmla="*/ 656537 h 1148878"/>
              <a:gd name="connsiteX157" fmla="*/ 593562 w 1067686"/>
              <a:gd name="connsiteY157" fmla="*/ 657279 h 1148878"/>
              <a:gd name="connsiteX158" fmla="*/ 589439 w 1067686"/>
              <a:gd name="connsiteY158" fmla="*/ 642329 h 1148878"/>
              <a:gd name="connsiteX159" fmla="*/ 573697 w 1067686"/>
              <a:gd name="connsiteY159" fmla="*/ 632692 h 1148878"/>
              <a:gd name="connsiteX160" fmla="*/ 556206 w 1067686"/>
              <a:gd name="connsiteY160" fmla="*/ 630716 h 1148878"/>
              <a:gd name="connsiteX161" fmla="*/ 518851 w 1067686"/>
              <a:gd name="connsiteY161" fmla="*/ 605512 h 1148878"/>
              <a:gd name="connsiteX162" fmla="*/ 479372 w 1067686"/>
              <a:gd name="connsiteY162" fmla="*/ 559799 h 1148878"/>
              <a:gd name="connsiteX163" fmla="*/ 467378 w 1067686"/>
              <a:gd name="connsiteY163" fmla="*/ 556216 h 1148878"/>
              <a:gd name="connsiteX164" fmla="*/ 463380 w 1067686"/>
              <a:gd name="connsiteY164" fmla="*/ 541884 h 1148878"/>
              <a:gd name="connsiteX165" fmla="*/ 445765 w 1067686"/>
              <a:gd name="connsiteY165" fmla="*/ 520634 h 1148878"/>
              <a:gd name="connsiteX166" fmla="*/ 419404 w 1067686"/>
              <a:gd name="connsiteY166" fmla="*/ 521128 h 1148878"/>
              <a:gd name="connsiteX167" fmla="*/ 415906 w 1067686"/>
              <a:gd name="connsiteY167" fmla="*/ 504820 h 1148878"/>
              <a:gd name="connsiteX168" fmla="*/ 389919 w 1067686"/>
              <a:gd name="connsiteY168" fmla="*/ 482581 h 1148878"/>
              <a:gd name="connsiteX169" fmla="*/ 375302 w 1067686"/>
              <a:gd name="connsiteY169" fmla="*/ 466025 h 1148878"/>
              <a:gd name="connsiteX170" fmla="*/ 353314 w 1067686"/>
              <a:gd name="connsiteY170" fmla="*/ 456636 h 1148878"/>
              <a:gd name="connsiteX171" fmla="*/ 352939 w 1067686"/>
              <a:gd name="connsiteY171" fmla="*/ 431185 h 1148878"/>
              <a:gd name="connsiteX172" fmla="*/ 337947 w 1067686"/>
              <a:gd name="connsiteY172" fmla="*/ 422907 h 1148878"/>
              <a:gd name="connsiteX173" fmla="*/ 336572 w 1067686"/>
              <a:gd name="connsiteY173" fmla="*/ 407093 h 1148878"/>
              <a:gd name="connsiteX174" fmla="*/ 318832 w 1067686"/>
              <a:gd name="connsiteY174" fmla="*/ 381024 h 1148878"/>
              <a:gd name="connsiteX175" fmla="*/ 310836 w 1067686"/>
              <a:gd name="connsiteY175" fmla="*/ 367434 h 1148878"/>
              <a:gd name="connsiteX176" fmla="*/ 305214 w 1067686"/>
              <a:gd name="connsiteY176" fmla="*/ 357920 h 1148878"/>
              <a:gd name="connsiteX177" fmla="*/ 296968 w 1067686"/>
              <a:gd name="connsiteY177" fmla="*/ 343836 h 1148878"/>
              <a:gd name="connsiteX178" fmla="*/ 269733 w 1067686"/>
              <a:gd name="connsiteY178" fmla="*/ 337164 h 1148878"/>
              <a:gd name="connsiteX179" fmla="*/ 251242 w 1067686"/>
              <a:gd name="connsiteY179" fmla="*/ 326292 h 1148878"/>
              <a:gd name="connsiteX180" fmla="*/ 189525 w 1067686"/>
              <a:gd name="connsiteY180" fmla="*/ 313072 h 1148878"/>
              <a:gd name="connsiteX181" fmla="*/ 143424 w 1067686"/>
              <a:gd name="connsiteY181" fmla="*/ 341118 h 1148878"/>
              <a:gd name="connsiteX182" fmla="*/ 143424 w 1067686"/>
              <a:gd name="connsiteY182" fmla="*/ 356191 h 1148878"/>
              <a:gd name="connsiteX183" fmla="*/ 128307 w 1067686"/>
              <a:gd name="connsiteY183" fmla="*/ 376823 h 1148878"/>
              <a:gd name="connsiteX184" fmla="*/ 84705 w 1067686"/>
              <a:gd name="connsiteY184" fmla="*/ 386337 h 1148878"/>
              <a:gd name="connsiteX185" fmla="*/ 84705 w 1067686"/>
              <a:gd name="connsiteY185" fmla="*/ 386337 h 1148878"/>
              <a:gd name="connsiteX186" fmla="*/ 164038 w 1067686"/>
              <a:gd name="connsiteY186" fmla="*/ 689154 h 1148878"/>
              <a:gd name="connsiteX187" fmla="*/ 169910 w 1067686"/>
              <a:gd name="connsiteY187" fmla="*/ 688042 h 1148878"/>
              <a:gd name="connsiteX188" fmla="*/ 171035 w 1067686"/>
              <a:gd name="connsiteY188" fmla="*/ 679765 h 1148878"/>
              <a:gd name="connsiteX189" fmla="*/ 178406 w 1067686"/>
              <a:gd name="connsiteY189" fmla="*/ 670869 h 1148878"/>
              <a:gd name="connsiteX190" fmla="*/ 170910 w 1067686"/>
              <a:gd name="connsiteY190" fmla="*/ 664939 h 1148878"/>
              <a:gd name="connsiteX191" fmla="*/ 168286 w 1067686"/>
              <a:gd name="connsiteY191" fmla="*/ 673958 h 1148878"/>
              <a:gd name="connsiteX192" fmla="*/ 162789 w 1067686"/>
              <a:gd name="connsiteY192" fmla="*/ 677294 h 1148878"/>
              <a:gd name="connsiteX193" fmla="*/ 164038 w 1067686"/>
              <a:gd name="connsiteY193" fmla="*/ 689031 h 1148878"/>
              <a:gd name="connsiteX194" fmla="*/ 164038 w 1067686"/>
              <a:gd name="connsiteY194" fmla="*/ 689031 h 1148878"/>
              <a:gd name="connsiteX195" fmla="*/ 391169 w 1067686"/>
              <a:gd name="connsiteY195" fmla="*/ 531383 h 1148878"/>
              <a:gd name="connsiteX196" fmla="*/ 402038 w 1067686"/>
              <a:gd name="connsiteY196" fmla="*/ 535830 h 1148878"/>
              <a:gd name="connsiteX197" fmla="*/ 398040 w 1067686"/>
              <a:gd name="connsiteY197" fmla="*/ 527800 h 1148878"/>
              <a:gd name="connsiteX198" fmla="*/ 391169 w 1067686"/>
              <a:gd name="connsiteY198" fmla="*/ 531383 h 1148878"/>
              <a:gd name="connsiteX199" fmla="*/ 391169 w 1067686"/>
              <a:gd name="connsiteY199" fmla="*/ 531383 h 1148878"/>
              <a:gd name="connsiteX200" fmla="*/ 316083 w 1067686"/>
              <a:gd name="connsiteY200" fmla="*/ 482704 h 1148878"/>
              <a:gd name="connsiteX201" fmla="*/ 308462 w 1067686"/>
              <a:gd name="connsiteY201" fmla="*/ 491229 h 1148878"/>
              <a:gd name="connsiteX202" fmla="*/ 318582 w 1067686"/>
              <a:gd name="connsiteY202" fmla="*/ 494689 h 1148878"/>
              <a:gd name="connsiteX203" fmla="*/ 337197 w 1067686"/>
              <a:gd name="connsiteY203" fmla="*/ 487399 h 1148878"/>
              <a:gd name="connsiteX204" fmla="*/ 351814 w 1067686"/>
              <a:gd name="connsiteY204" fmla="*/ 487399 h 1148878"/>
              <a:gd name="connsiteX205" fmla="*/ 349066 w 1067686"/>
              <a:gd name="connsiteY205" fmla="*/ 477763 h 1148878"/>
              <a:gd name="connsiteX206" fmla="*/ 339946 w 1067686"/>
              <a:gd name="connsiteY206" fmla="*/ 468002 h 1148878"/>
              <a:gd name="connsiteX207" fmla="*/ 335948 w 1067686"/>
              <a:gd name="connsiteY207" fmla="*/ 474056 h 1148878"/>
              <a:gd name="connsiteX208" fmla="*/ 316083 w 1067686"/>
              <a:gd name="connsiteY208" fmla="*/ 482704 h 1148878"/>
              <a:gd name="connsiteX209" fmla="*/ 316083 w 1067686"/>
              <a:gd name="connsiteY209" fmla="*/ 482704 h 1148878"/>
              <a:gd name="connsiteX210" fmla="*/ 222258 w 1067686"/>
              <a:gd name="connsiteY210" fmla="*/ 931310 h 1148878"/>
              <a:gd name="connsiteX211" fmla="*/ 229004 w 1067686"/>
              <a:gd name="connsiteY211" fmla="*/ 926862 h 1148878"/>
              <a:gd name="connsiteX212" fmla="*/ 238249 w 1067686"/>
              <a:gd name="connsiteY212" fmla="*/ 930568 h 1148878"/>
              <a:gd name="connsiteX213" fmla="*/ 251242 w 1067686"/>
              <a:gd name="connsiteY213" fmla="*/ 924514 h 1148878"/>
              <a:gd name="connsiteX214" fmla="*/ 251742 w 1067686"/>
              <a:gd name="connsiteY214" fmla="*/ 903882 h 1148878"/>
              <a:gd name="connsiteX215" fmla="*/ 256740 w 1067686"/>
              <a:gd name="connsiteY215" fmla="*/ 891280 h 1148878"/>
              <a:gd name="connsiteX216" fmla="*/ 274230 w 1067686"/>
              <a:gd name="connsiteY216" fmla="*/ 891897 h 1148878"/>
              <a:gd name="connsiteX217" fmla="*/ 285724 w 1067686"/>
              <a:gd name="connsiteY217" fmla="*/ 902399 h 1148878"/>
              <a:gd name="connsiteX218" fmla="*/ 296094 w 1067686"/>
              <a:gd name="connsiteY218" fmla="*/ 901905 h 1148878"/>
              <a:gd name="connsiteX219" fmla="*/ 302465 w 1067686"/>
              <a:gd name="connsiteY219" fmla="*/ 888562 h 1148878"/>
              <a:gd name="connsiteX220" fmla="*/ 300966 w 1067686"/>
              <a:gd name="connsiteY220" fmla="*/ 854956 h 1148878"/>
              <a:gd name="connsiteX221" fmla="*/ 303965 w 1067686"/>
              <a:gd name="connsiteY221" fmla="*/ 845196 h 1148878"/>
              <a:gd name="connsiteX222" fmla="*/ 298218 w 1067686"/>
              <a:gd name="connsiteY222" fmla="*/ 808996 h 1148878"/>
              <a:gd name="connsiteX223" fmla="*/ 303715 w 1067686"/>
              <a:gd name="connsiteY223" fmla="*/ 775762 h 1148878"/>
              <a:gd name="connsiteX224" fmla="*/ 279228 w 1067686"/>
              <a:gd name="connsiteY224" fmla="*/ 756241 h 1148878"/>
              <a:gd name="connsiteX225" fmla="*/ 298842 w 1067686"/>
              <a:gd name="connsiteY225" fmla="*/ 742280 h 1148878"/>
              <a:gd name="connsiteX226" fmla="*/ 300966 w 1067686"/>
              <a:gd name="connsiteY226" fmla="*/ 728443 h 1148878"/>
              <a:gd name="connsiteX227" fmla="*/ 295219 w 1067686"/>
              <a:gd name="connsiteY227" fmla="*/ 707439 h 1148878"/>
              <a:gd name="connsiteX228" fmla="*/ 282851 w 1067686"/>
              <a:gd name="connsiteY228" fmla="*/ 694961 h 1148878"/>
              <a:gd name="connsiteX229" fmla="*/ 268608 w 1067686"/>
              <a:gd name="connsiteY229" fmla="*/ 671487 h 1148878"/>
              <a:gd name="connsiteX230" fmla="*/ 261987 w 1067686"/>
              <a:gd name="connsiteY230" fmla="*/ 678653 h 1148878"/>
              <a:gd name="connsiteX231" fmla="*/ 245495 w 1067686"/>
              <a:gd name="connsiteY231" fmla="*/ 666915 h 1148878"/>
              <a:gd name="connsiteX232" fmla="*/ 231628 w 1067686"/>
              <a:gd name="connsiteY232" fmla="*/ 668892 h 1148878"/>
              <a:gd name="connsiteX233" fmla="*/ 200019 w 1067686"/>
              <a:gd name="connsiteY233" fmla="*/ 709416 h 1148878"/>
              <a:gd name="connsiteX234" fmla="*/ 185402 w 1067686"/>
              <a:gd name="connsiteY234" fmla="*/ 710775 h 1148878"/>
              <a:gd name="connsiteX235" fmla="*/ 164038 w 1067686"/>
              <a:gd name="connsiteY235" fmla="*/ 699285 h 1148878"/>
              <a:gd name="connsiteX236" fmla="*/ 164913 w 1067686"/>
              <a:gd name="connsiteY236" fmla="*/ 719177 h 1148878"/>
              <a:gd name="connsiteX237" fmla="*/ 162039 w 1067686"/>
              <a:gd name="connsiteY237" fmla="*/ 732273 h 1148878"/>
              <a:gd name="connsiteX238" fmla="*/ 177281 w 1067686"/>
              <a:gd name="connsiteY238" fmla="*/ 746110 h 1148878"/>
              <a:gd name="connsiteX239" fmla="*/ 181404 w 1067686"/>
              <a:gd name="connsiteY239" fmla="*/ 759700 h 1148878"/>
              <a:gd name="connsiteX240" fmla="*/ 193648 w 1067686"/>
              <a:gd name="connsiteY240" fmla="*/ 769461 h 1148878"/>
              <a:gd name="connsiteX241" fmla="*/ 194522 w 1067686"/>
              <a:gd name="connsiteY241" fmla="*/ 790711 h 1148878"/>
              <a:gd name="connsiteX242" fmla="*/ 182029 w 1067686"/>
              <a:gd name="connsiteY242" fmla="*/ 805043 h 1148878"/>
              <a:gd name="connsiteX243" fmla="*/ 188026 w 1067686"/>
              <a:gd name="connsiteY243" fmla="*/ 815792 h 1148878"/>
              <a:gd name="connsiteX244" fmla="*/ 206141 w 1067686"/>
              <a:gd name="connsiteY244" fmla="*/ 816409 h 1148878"/>
              <a:gd name="connsiteX245" fmla="*/ 206516 w 1067686"/>
              <a:gd name="connsiteY245" fmla="*/ 823946 h 1148878"/>
              <a:gd name="connsiteX246" fmla="*/ 196022 w 1067686"/>
              <a:gd name="connsiteY246" fmla="*/ 837413 h 1148878"/>
              <a:gd name="connsiteX247" fmla="*/ 189025 w 1067686"/>
              <a:gd name="connsiteY247" fmla="*/ 869288 h 1148878"/>
              <a:gd name="connsiteX248" fmla="*/ 197146 w 1067686"/>
              <a:gd name="connsiteY248" fmla="*/ 880655 h 1148878"/>
              <a:gd name="connsiteX249" fmla="*/ 207890 w 1067686"/>
              <a:gd name="connsiteY249" fmla="*/ 917348 h 1148878"/>
              <a:gd name="connsiteX250" fmla="*/ 222383 w 1067686"/>
              <a:gd name="connsiteY250" fmla="*/ 931186 h 1148878"/>
              <a:gd name="connsiteX251" fmla="*/ 222383 w 1067686"/>
              <a:gd name="connsiteY251" fmla="*/ 931186 h 1148878"/>
              <a:gd name="connsiteX252" fmla="*/ 813321 w 1067686"/>
              <a:gd name="connsiteY252" fmla="*/ 1145419 h 1148878"/>
              <a:gd name="connsiteX253" fmla="*/ 810947 w 1067686"/>
              <a:gd name="connsiteY253" fmla="*/ 1122810 h 1148878"/>
              <a:gd name="connsiteX254" fmla="*/ 819567 w 1067686"/>
              <a:gd name="connsiteY254" fmla="*/ 1111443 h 1148878"/>
              <a:gd name="connsiteX255" fmla="*/ 816569 w 1067686"/>
              <a:gd name="connsiteY255" fmla="*/ 1091676 h 1148878"/>
              <a:gd name="connsiteX256" fmla="*/ 798953 w 1067686"/>
              <a:gd name="connsiteY256" fmla="*/ 1069808 h 1148878"/>
              <a:gd name="connsiteX257" fmla="*/ 813696 w 1067686"/>
              <a:gd name="connsiteY257" fmla="*/ 1025206 h 1148878"/>
              <a:gd name="connsiteX258" fmla="*/ 829687 w 1067686"/>
              <a:gd name="connsiteY258" fmla="*/ 1009392 h 1148878"/>
              <a:gd name="connsiteX259" fmla="*/ 832061 w 1067686"/>
              <a:gd name="connsiteY259" fmla="*/ 985177 h 1148878"/>
              <a:gd name="connsiteX260" fmla="*/ 817569 w 1067686"/>
              <a:gd name="connsiteY260" fmla="*/ 969239 h 1148878"/>
              <a:gd name="connsiteX261" fmla="*/ 795580 w 1067686"/>
              <a:gd name="connsiteY261" fmla="*/ 992219 h 1148878"/>
              <a:gd name="connsiteX262" fmla="*/ 785835 w 1067686"/>
              <a:gd name="connsiteY262" fmla="*/ 991231 h 1148878"/>
              <a:gd name="connsiteX263" fmla="*/ 765221 w 1067686"/>
              <a:gd name="connsiteY263" fmla="*/ 981100 h 1148878"/>
              <a:gd name="connsiteX264" fmla="*/ 746731 w 1067686"/>
              <a:gd name="connsiteY264" fmla="*/ 1002474 h 1148878"/>
              <a:gd name="connsiteX265" fmla="*/ 705003 w 1067686"/>
              <a:gd name="connsiteY265" fmla="*/ 1001485 h 1148878"/>
              <a:gd name="connsiteX266" fmla="*/ 671396 w 1067686"/>
              <a:gd name="connsiteY266" fmla="*/ 1013222 h 1148878"/>
              <a:gd name="connsiteX267" fmla="*/ 646909 w 1067686"/>
              <a:gd name="connsiteY267" fmla="*/ 1009392 h 1148878"/>
              <a:gd name="connsiteX268" fmla="*/ 629168 w 1067686"/>
              <a:gd name="connsiteY268" fmla="*/ 998520 h 1148878"/>
              <a:gd name="connsiteX269" fmla="*/ 609054 w 1067686"/>
              <a:gd name="connsiteY269" fmla="*/ 1001485 h 1148878"/>
              <a:gd name="connsiteX270" fmla="*/ 598309 w 1067686"/>
              <a:gd name="connsiteY270" fmla="*/ 1010875 h 1148878"/>
              <a:gd name="connsiteX271" fmla="*/ 591688 w 1067686"/>
              <a:gd name="connsiteY271" fmla="*/ 1002844 h 1148878"/>
              <a:gd name="connsiteX272" fmla="*/ 569949 w 1067686"/>
              <a:gd name="connsiteY272" fmla="*/ 1014087 h 1148878"/>
              <a:gd name="connsiteX273" fmla="*/ 568450 w 1067686"/>
              <a:gd name="connsiteY273" fmla="*/ 1043739 h 1148878"/>
              <a:gd name="connsiteX274" fmla="*/ 588689 w 1067686"/>
              <a:gd name="connsiteY274" fmla="*/ 1060788 h 1148878"/>
              <a:gd name="connsiteX275" fmla="*/ 607929 w 1067686"/>
              <a:gd name="connsiteY275" fmla="*/ 1056464 h 1148878"/>
              <a:gd name="connsiteX276" fmla="*/ 643660 w 1067686"/>
              <a:gd name="connsiteY276" fmla="*/ 1078332 h 1148878"/>
              <a:gd name="connsiteX277" fmla="*/ 662650 w 1067686"/>
              <a:gd name="connsiteY277" fmla="*/ 1082409 h 1148878"/>
              <a:gd name="connsiteX278" fmla="*/ 680766 w 1067686"/>
              <a:gd name="connsiteY278" fmla="*/ 1100200 h 1148878"/>
              <a:gd name="connsiteX279" fmla="*/ 722369 w 1067686"/>
              <a:gd name="connsiteY279" fmla="*/ 1113544 h 1148878"/>
              <a:gd name="connsiteX280" fmla="*/ 730490 w 1067686"/>
              <a:gd name="connsiteY280" fmla="*/ 1107737 h 1148878"/>
              <a:gd name="connsiteX281" fmla="*/ 748980 w 1067686"/>
              <a:gd name="connsiteY281" fmla="*/ 1119968 h 1148878"/>
              <a:gd name="connsiteX282" fmla="*/ 753103 w 1067686"/>
              <a:gd name="connsiteY282" fmla="*/ 1134176 h 1148878"/>
              <a:gd name="connsiteX283" fmla="*/ 796205 w 1067686"/>
              <a:gd name="connsiteY283" fmla="*/ 1148879 h 1148878"/>
              <a:gd name="connsiteX284" fmla="*/ 813446 w 1067686"/>
              <a:gd name="connsiteY284" fmla="*/ 1145419 h 1148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1067686" h="1148878">
                <a:moveTo>
                  <a:pt x="83581" y="386089"/>
                </a:moveTo>
                <a:lnTo>
                  <a:pt x="76460" y="366816"/>
                </a:lnTo>
                <a:lnTo>
                  <a:pt x="87204" y="338770"/>
                </a:lnTo>
                <a:lnTo>
                  <a:pt x="59469" y="340006"/>
                </a:lnTo>
                <a:lnTo>
                  <a:pt x="29484" y="321597"/>
                </a:lnTo>
                <a:lnTo>
                  <a:pt x="23488" y="274649"/>
                </a:lnTo>
                <a:lnTo>
                  <a:pt x="0" y="252039"/>
                </a:lnTo>
                <a:lnTo>
                  <a:pt x="12618" y="237090"/>
                </a:lnTo>
                <a:lnTo>
                  <a:pt x="33732" y="233507"/>
                </a:lnTo>
                <a:lnTo>
                  <a:pt x="37730" y="203114"/>
                </a:lnTo>
                <a:lnTo>
                  <a:pt x="19865" y="188165"/>
                </a:lnTo>
                <a:lnTo>
                  <a:pt x="16241" y="166049"/>
                </a:lnTo>
                <a:lnTo>
                  <a:pt x="23737" y="156536"/>
                </a:lnTo>
                <a:lnTo>
                  <a:pt x="45226" y="163455"/>
                </a:lnTo>
                <a:lnTo>
                  <a:pt x="79833" y="135780"/>
                </a:lnTo>
                <a:lnTo>
                  <a:pt x="104195" y="145293"/>
                </a:lnTo>
                <a:lnTo>
                  <a:pt x="134804" y="87596"/>
                </a:lnTo>
                <a:lnTo>
                  <a:pt x="156542" y="99827"/>
                </a:lnTo>
                <a:lnTo>
                  <a:pt x="154793" y="120954"/>
                </a:lnTo>
                <a:lnTo>
                  <a:pt x="184528" y="134050"/>
                </a:lnTo>
                <a:lnTo>
                  <a:pt x="194522" y="151965"/>
                </a:lnTo>
                <a:lnTo>
                  <a:pt x="211638" y="118483"/>
                </a:lnTo>
                <a:lnTo>
                  <a:pt x="210514" y="93650"/>
                </a:lnTo>
                <a:lnTo>
                  <a:pt x="250743" y="102422"/>
                </a:lnTo>
                <a:lnTo>
                  <a:pt x="266609" y="100445"/>
                </a:lnTo>
                <a:lnTo>
                  <a:pt x="283101" y="112923"/>
                </a:lnTo>
                <a:lnTo>
                  <a:pt x="285599" y="78700"/>
                </a:lnTo>
                <a:lnTo>
                  <a:pt x="321081" y="69311"/>
                </a:lnTo>
                <a:lnTo>
                  <a:pt x="310586" y="40895"/>
                </a:lnTo>
                <a:lnTo>
                  <a:pt x="328202" y="17791"/>
                </a:lnTo>
                <a:lnTo>
                  <a:pt x="359310" y="29528"/>
                </a:lnTo>
                <a:lnTo>
                  <a:pt x="405786" y="0"/>
                </a:lnTo>
                <a:lnTo>
                  <a:pt x="425900" y="4448"/>
                </a:lnTo>
                <a:lnTo>
                  <a:pt x="457509" y="494"/>
                </a:lnTo>
                <a:lnTo>
                  <a:pt x="455635" y="18903"/>
                </a:lnTo>
                <a:lnTo>
                  <a:pt x="501860" y="43118"/>
                </a:lnTo>
                <a:lnTo>
                  <a:pt x="557956" y="51273"/>
                </a:lnTo>
                <a:lnTo>
                  <a:pt x="588315" y="47319"/>
                </a:lnTo>
                <a:lnTo>
                  <a:pt x="602057" y="58562"/>
                </a:lnTo>
                <a:lnTo>
                  <a:pt x="582193" y="89573"/>
                </a:lnTo>
                <a:lnTo>
                  <a:pt x="589439" y="103657"/>
                </a:lnTo>
                <a:lnTo>
                  <a:pt x="578320" y="122560"/>
                </a:lnTo>
                <a:lnTo>
                  <a:pt x="584067" y="153324"/>
                </a:lnTo>
                <a:lnTo>
                  <a:pt x="563203" y="149123"/>
                </a:lnTo>
                <a:lnTo>
                  <a:pt x="550959" y="155795"/>
                </a:lnTo>
                <a:lnTo>
                  <a:pt x="538341" y="169385"/>
                </a:lnTo>
                <a:lnTo>
                  <a:pt x="518227" y="170250"/>
                </a:lnTo>
                <a:lnTo>
                  <a:pt x="500111" y="187547"/>
                </a:lnTo>
                <a:lnTo>
                  <a:pt x="480122" y="191130"/>
                </a:lnTo>
                <a:lnTo>
                  <a:pt x="473750" y="205214"/>
                </a:lnTo>
                <a:lnTo>
                  <a:pt x="484369" y="223994"/>
                </a:lnTo>
                <a:lnTo>
                  <a:pt x="497487" y="239190"/>
                </a:lnTo>
                <a:lnTo>
                  <a:pt x="484494" y="260317"/>
                </a:lnTo>
                <a:lnTo>
                  <a:pt x="476499" y="267483"/>
                </a:lnTo>
                <a:lnTo>
                  <a:pt x="487868" y="289722"/>
                </a:lnTo>
                <a:lnTo>
                  <a:pt x="491741" y="315667"/>
                </a:lnTo>
                <a:lnTo>
                  <a:pt x="501985" y="329010"/>
                </a:lnTo>
                <a:lnTo>
                  <a:pt x="543213" y="348531"/>
                </a:lnTo>
                <a:lnTo>
                  <a:pt x="565951" y="359279"/>
                </a:lnTo>
                <a:lnTo>
                  <a:pt x="577695" y="373858"/>
                </a:lnTo>
                <a:lnTo>
                  <a:pt x="640037" y="431061"/>
                </a:lnTo>
                <a:lnTo>
                  <a:pt x="642036" y="446752"/>
                </a:lnTo>
                <a:lnTo>
                  <a:pt x="649907" y="450582"/>
                </a:lnTo>
                <a:lnTo>
                  <a:pt x="651406" y="469114"/>
                </a:lnTo>
                <a:lnTo>
                  <a:pt x="664649" y="486411"/>
                </a:lnTo>
                <a:lnTo>
                  <a:pt x="682015" y="502472"/>
                </a:lnTo>
                <a:lnTo>
                  <a:pt x="696008" y="522116"/>
                </a:lnTo>
                <a:lnTo>
                  <a:pt x="723868" y="541514"/>
                </a:lnTo>
                <a:lnTo>
                  <a:pt x="737361" y="554116"/>
                </a:lnTo>
                <a:lnTo>
                  <a:pt x="754477" y="556710"/>
                </a:lnTo>
                <a:lnTo>
                  <a:pt x="766595" y="563258"/>
                </a:lnTo>
                <a:lnTo>
                  <a:pt x="801327" y="561652"/>
                </a:lnTo>
                <a:lnTo>
                  <a:pt x="816069" y="565111"/>
                </a:lnTo>
                <a:lnTo>
                  <a:pt x="838183" y="560664"/>
                </a:lnTo>
                <a:lnTo>
                  <a:pt x="854549" y="568200"/>
                </a:lnTo>
                <a:lnTo>
                  <a:pt x="851551" y="580679"/>
                </a:lnTo>
                <a:lnTo>
                  <a:pt x="829312" y="597481"/>
                </a:lnTo>
                <a:lnTo>
                  <a:pt x="828938" y="605759"/>
                </a:lnTo>
                <a:lnTo>
                  <a:pt x="838558" y="619843"/>
                </a:lnTo>
                <a:lnTo>
                  <a:pt x="857298" y="619102"/>
                </a:lnTo>
                <a:lnTo>
                  <a:pt x="892404" y="625897"/>
                </a:lnTo>
                <a:lnTo>
                  <a:pt x="966240" y="661232"/>
                </a:lnTo>
                <a:lnTo>
                  <a:pt x="995225" y="680753"/>
                </a:lnTo>
                <a:lnTo>
                  <a:pt x="1014340" y="699038"/>
                </a:lnTo>
                <a:lnTo>
                  <a:pt x="1044574" y="705339"/>
                </a:lnTo>
                <a:lnTo>
                  <a:pt x="1060191" y="715099"/>
                </a:lnTo>
                <a:lnTo>
                  <a:pt x="1067687" y="726960"/>
                </a:lnTo>
                <a:lnTo>
                  <a:pt x="1065938" y="750434"/>
                </a:lnTo>
                <a:lnTo>
                  <a:pt x="1058691" y="761924"/>
                </a:lnTo>
                <a:lnTo>
                  <a:pt x="1061565" y="776503"/>
                </a:lnTo>
                <a:lnTo>
                  <a:pt x="1056817" y="780704"/>
                </a:lnTo>
                <a:lnTo>
                  <a:pt x="1056318" y="785893"/>
                </a:lnTo>
                <a:lnTo>
                  <a:pt x="1039826" y="779839"/>
                </a:lnTo>
                <a:lnTo>
                  <a:pt x="1026458" y="764519"/>
                </a:lnTo>
                <a:lnTo>
                  <a:pt x="1018088" y="748210"/>
                </a:lnTo>
                <a:lnTo>
                  <a:pt x="1019712" y="734497"/>
                </a:lnTo>
                <a:lnTo>
                  <a:pt x="1009467" y="729060"/>
                </a:lnTo>
                <a:lnTo>
                  <a:pt x="981107" y="729925"/>
                </a:lnTo>
                <a:lnTo>
                  <a:pt x="975110" y="721895"/>
                </a:lnTo>
                <a:lnTo>
                  <a:pt x="955996" y="713740"/>
                </a:lnTo>
                <a:lnTo>
                  <a:pt x="943627" y="715964"/>
                </a:lnTo>
                <a:lnTo>
                  <a:pt x="935506" y="721524"/>
                </a:lnTo>
                <a:lnTo>
                  <a:pt x="930134" y="743763"/>
                </a:lnTo>
                <a:lnTo>
                  <a:pt x="920264" y="755129"/>
                </a:lnTo>
                <a:lnTo>
                  <a:pt x="921764" y="766743"/>
                </a:lnTo>
                <a:lnTo>
                  <a:pt x="919265" y="780580"/>
                </a:lnTo>
                <a:lnTo>
                  <a:pt x="906522" y="790093"/>
                </a:lnTo>
                <a:lnTo>
                  <a:pt x="907271" y="803560"/>
                </a:lnTo>
                <a:lnTo>
                  <a:pt x="913893" y="812456"/>
                </a:lnTo>
                <a:lnTo>
                  <a:pt x="928510" y="813938"/>
                </a:lnTo>
                <a:lnTo>
                  <a:pt x="955246" y="836795"/>
                </a:lnTo>
                <a:lnTo>
                  <a:pt x="960743" y="846926"/>
                </a:lnTo>
                <a:lnTo>
                  <a:pt x="958744" y="870400"/>
                </a:lnTo>
                <a:lnTo>
                  <a:pt x="963991" y="878431"/>
                </a:lnTo>
                <a:lnTo>
                  <a:pt x="958369" y="891650"/>
                </a:lnTo>
                <a:lnTo>
                  <a:pt x="942503" y="896469"/>
                </a:lnTo>
                <a:lnTo>
                  <a:pt x="928010" y="912901"/>
                </a:lnTo>
                <a:lnTo>
                  <a:pt x="927760" y="954784"/>
                </a:lnTo>
                <a:lnTo>
                  <a:pt x="903648" y="975787"/>
                </a:lnTo>
                <a:lnTo>
                  <a:pt x="901025" y="995184"/>
                </a:lnTo>
                <a:lnTo>
                  <a:pt x="888656" y="1013593"/>
                </a:lnTo>
                <a:lnTo>
                  <a:pt x="862420" y="1016805"/>
                </a:lnTo>
                <a:lnTo>
                  <a:pt x="841431" y="997779"/>
                </a:lnTo>
                <a:lnTo>
                  <a:pt x="840182" y="984065"/>
                </a:lnTo>
                <a:lnTo>
                  <a:pt x="844304" y="977022"/>
                </a:lnTo>
                <a:lnTo>
                  <a:pt x="855174" y="970474"/>
                </a:lnTo>
                <a:lnTo>
                  <a:pt x="865543" y="957625"/>
                </a:lnTo>
                <a:lnTo>
                  <a:pt x="867167" y="940452"/>
                </a:lnTo>
                <a:lnTo>
                  <a:pt x="864044" y="922661"/>
                </a:lnTo>
                <a:lnTo>
                  <a:pt x="869166" y="919325"/>
                </a:lnTo>
                <a:lnTo>
                  <a:pt x="876413" y="918708"/>
                </a:lnTo>
                <a:lnTo>
                  <a:pt x="885658" y="906600"/>
                </a:lnTo>
                <a:lnTo>
                  <a:pt x="885658" y="890044"/>
                </a:lnTo>
                <a:cubicBezTo>
                  <a:pt x="885658" y="890044"/>
                  <a:pt x="874539" y="875465"/>
                  <a:pt x="874539" y="875465"/>
                </a:cubicBezTo>
                <a:lnTo>
                  <a:pt x="865543" y="843590"/>
                </a:lnTo>
                <a:lnTo>
                  <a:pt x="855299" y="831606"/>
                </a:lnTo>
                <a:lnTo>
                  <a:pt x="849926" y="804302"/>
                </a:lnTo>
                <a:lnTo>
                  <a:pt x="840307" y="775885"/>
                </a:lnTo>
                <a:lnTo>
                  <a:pt x="826814" y="768225"/>
                </a:lnTo>
                <a:lnTo>
                  <a:pt x="816694" y="774897"/>
                </a:lnTo>
                <a:lnTo>
                  <a:pt x="792832" y="770449"/>
                </a:lnTo>
                <a:lnTo>
                  <a:pt x="784586" y="755623"/>
                </a:lnTo>
                <a:lnTo>
                  <a:pt x="765846" y="755006"/>
                </a:lnTo>
                <a:lnTo>
                  <a:pt x="756476" y="746481"/>
                </a:lnTo>
                <a:lnTo>
                  <a:pt x="760349" y="738821"/>
                </a:lnTo>
                <a:lnTo>
                  <a:pt x="761598" y="720906"/>
                </a:lnTo>
                <a:lnTo>
                  <a:pt x="749230" y="706327"/>
                </a:lnTo>
                <a:lnTo>
                  <a:pt x="732488" y="705710"/>
                </a:lnTo>
                <a:lnTo>
                  <a:pt x="716497" y="707069"/>
                </a:lnTo>
                <a:lnTo>
                  <a:pt x="717371" y="694590"/>
                </a:lnTo>
                <a:lnTo>
                  <a:pt x="701880" y="689772"/>
                </a:lnTo>
                <a:lnTo>
                  <a:pt x="691635" y="694343"/>
                </a:lnTo>
                <a:lnTo>
                  <a:pt x="679516" y="687301"/>
                </a:lnTo>
                <a:lnTo>
                  <a:pt x="658528" y="652460"/>
                </a:lnTo>
                <a:lnTo>
                  <a:pt x="640412" y="651843"/>
                </a:lnTo>
                <a:lnTo>
                  <a:pt x="621422" y="645047"/>
                </a:lnTo>
                <a:lnTo>
                  <a:pt x="610178" y="656537"/>
                </a:lnTo>
                <a:lnTo>
                  <a:pt x="593562" y="657279"/>
                </a:lnTo>
                <a:lnTo>
                  <a:pt x="589439" y="642329"/>
                </a:lnTo>
                <a:lnTo>
                  <a:pt x="573697" y="632692"/>
                </a:lnTo>
                <a:lnTo>
                  <a:pt x="556206" y="630716"/>
                </a:lnTo>
                <a:lnTo>
                  <a:pt x="518851" y="605512"/>
                </a:lnTo>
                <a:lnTo>
                  <a:pt x="479372" y="559799"/>
                </a:lnTo>
                <a:lnTo>
                  <a:pt x="467378" y="556216"/>
                </a:lnTo>
                <a:lnTo>
                  <a:pt x="463380" y="541884"/>
                </a:lnTo>
                <a:lnTo>
                  <a:pt x="445765" y="520634"/>
                </a:lnTo>
                <a:lnTo>
                  <a:pt x="419404" y="521128"/>
                </a:lnTo>
                <a:lnTo>
                  <a:pt x="415906" y="504820"/>
                </a:lnTo>
                <a:lnTo>
                  <a:pt x="389919" y="482581"/>
                </a:lnTo>
                <a:lnTo>
                  <a:pt x="375302" y="466025"/>
                </a:lnTo>
                <a:lnTo>
                  <a:pt x="353314" y="456636"/>
                </a:lnTo>
                <a:lnTo>
                  <a:pt x="352939" y="431185"/>
                </a:lnTo>
                <a:lnTo>
                  <a:pt x="337947" y="422907"/>
                </a:lnTo>
                <a:lnTo>
                  <a:pt x="336572" y="407093"/>
                </a:lnTo>
                <a:lnTo>
                  <a:pt x="318832" y="381024"/>
                </a:lnTo>
                <a:lnTo>
                  <a:pt x="310836" y="367434"/>
                </a:lnTo>
                <a:lnTo>
                  <a:pt x="305214" y="357920"/>
                </a:lnTo>
                <a:lnTo>
                  <a:pt x="296968" y="343836"/>
                </a:lnTo>
                <a:lnTo>
                  <a:pt x="269733" y="337164"/>
                </a:lnTo>
                <a:lnTo>
                  <a:pt x="251242" y="326292"/>
                </a:lnTo>
                <a:lnTo>
                  <a:pt x="189525" y="313072"/>
                </a:lnTo>
                <a:lnTo>
                  <a:pt x="143424" y="341118"/>
                </a:lnTo>
                <a:lnTo>
                  <a:pt x="143424" y="356191"/>
                </a:lnTo>
                <a:cubicBezTo>
                  <a:pt x="143424" y="356191"/>
                  <a:pt x="128307" y="376823"/>
                  <a:pt x="128307" y="376823"/>
                </a:cubicBezTo>
                <a:lnTo>
                  <a:pt x="84705" y="386337"/>
                </a:lnTo>
                <a:lnTo>
                  <a:pt x="84705" y="386337"/>
                </a:lnTo>
                <a:close/>
                <a:moveTo>
                  <a:pt x="164038" y="689154"/>
                </a:moveTo>
                <a:lnTo>
                  <a:pt x="169910" y="688042"/>
                </a:lnTo>
                <a:lnTo>
                  <a:pt x="171035" y="679765"/>
                </a:lnTo>
                <a:lnTo>
                  <a:pt x="178406" y="670869"/>
                </a:lnTo>
                <a:lnTo>
                  <a:pt x="170910" y="664939"/>
                </a:lnTo>
                <a:lnTo>
                  <a:pt x="168286" y="673958"/>
                </a:lnTo>
                <a:lnTo>
                  <a:pt x="162789" y="677294"/>
                </a:lnTo>
                <a:lnTo>
                  <a:pt x="164038" y="689031"/>
                </a:lnTo>
                <a:lnTo>
                  <a:pt x="164038" y="689031"/>
                </a:lnTo>
                <a:close/>
                <a:moveTo>
                  <a:pt x="391169" y="531383"/>
                </a:moveTo>
                <a:lnTo>
                  <a:pt x="402038" y="535830"/>
                </a:lnTo>
                <a:lnTo>
                  <a:pt x="398040" y="527800"/>
                </a:lnTo>
                <a:lnTo>
                  <a:pt x="391169" y="531383"/>
                </a:lnTo>
                <a:lnTo>
                  <a:pt x="391169" y="531383"/>
                </a:lnTo>
                <a:close/>
                <a:moveTo>
                  <a:pt x="316083" y="482704"/>
                </a:moveTo>
                <a:lnTo>
                  <a:pt x="308462" y="491229"/>
                </a:lnTo>
                <a:lnTo>
                  <a:pt x="318582" y="494689"/>
                </a:lnTo>
                <a:lnTo>
                  <a:pt x="337197" y="487399"/>
                </a:lnTo>
                <a:lnTo>
                  <a:pt x="351814" y="487399"/>
                </a:lnTo>
                <a:cubicBezTo>
                  <a:pt x="351814" y="487399"/>
                  <a:pt x="349066" y="477763"/>
                  <a:pt x="349066" y="477763"/>
                </a:cubicBezTo>
                <a:lnTo>
                  <a:pt x="339946" y="468002"/>
                </a:lnTo>
                <a:lnTo>
                  <a:pt x="335948" y="474056"/>
                </a:lnTo>
                <a:lnTo>
                  <a:pt x="316083" y="482704"/>
                </a:lnTo>
                <a:lnTo>
                  <a:pt x="316083" y="482704"/>
                </a:lnTo>
                <a:close/>
                <a:moveTo>
                  <a:pt x="222258" y="931310"/>
                </a:moveTo>
                <a:lnTo>
                  <a:pt x="229004" y="926862"/>
                </a:lnTo>
                <a:lnTo>
                  <a:pt x="238249" y="930568"/>
                </a:lnTo>
                <a:lnTo>
                  <a:pt x="251242" y="924514"/>
                </a:lnTo>
                <a:lnTo>
                  <a:pt x="251742" y="903882"/>
                </a:lnTo>
                <a:lnTo>
                  <a:pt x="256740" y="891280"/>
                </a:lnTo>
                <a:lnTo>
                  <a:pt x="274230" y="891897"/>
                </a:lnTo>
                <a:lnTo>
                  <a:pt x="285724" y="902399"/>
                </a:lnTo>
                <a:lnTo>
                  <a:pt x="296094" y="901905"/>
                </a:lnTo>
                <a:lnTo>
                  <a:pt x="302465" y="888562"/>
                </a:lnTo>
                <a:lnTo>
                  <a:pt x="300966" y="854956"/>
                </a:lnTo>
                <a:lnTo>
                  <a:pt x="303965" y="845196"/>
                </a:lnTo>
                <a:lnTo>
                  <a:pt x="298218" y="808996"/>
                </a:lnTo>
                <a:lnTo>
                  <a:pt x="303715" y="775762"/>
                </a:lnTo>
                <a:lnTo>
                  <a:pt x="279228" y="756241"/>
                </a:lnTo>
                <a:lnTo>
                  <a:pt x="298842" y="742280"/>
                </a:lnTo>
                <a:lnTo>
                  <a:pt x="300966" y="728443"/>
                </a:lnTo>
                <a:lnTo>
                  <a:pt x="295219" y="707439"/>
                </a:lnTo>
                <a:lnTo>
                  <a:pt x="282851" y="694961"/>
                </a:lnTo>
                <a:lnTo>
                  <a:pt x="268608" y="671487"/>
                </a:lnTo>
                <a:lnTo>
                  <a:pt x="261987" y="678653"/>
                </a:lnTo>
                <a:lnTo>
                  <a:pt x="245495" y="666915"/>
                </a:lnTo>
                <a:lnTo>
                  <a:pt x="231628" y="668892"/>
                </a:lnTo>
                <a:lnTo>
                  <a:pt x="200019" y="709416"/>
                </a:lnTo>
                <a:lnTo>
                  <a:pt x="185402" y="710775"/>
                </a:lnTo>
                <a:lnTo>
                  <a:pt x="164038" y="699285"/>
                </a:lnTo>
                <a:lnTo>
                  <a:pt x="164913" y="719177"/>
                </a:lnTo>
                <a:lnTo>
                  <a:pt x="162039" y="732273"/>
                </a:lnTo>
                <a:lnTo>
                  <a:pt x="177281" y="746110"/>
                </a:lnTo>
                <a:lnTo>
                  <a:pt x="181404" y="759700"/>
                </a:lnTo>
                <a:lnTo>
                  <a:pt x="193648" y="769461"/>
                </a:lnTo>
                <a:lnTo>
                  <a:pt x="194522" y="790711"/>
                </a:lnTo>
                <a:lnTo>
                  <a:pt x="182029" y="805043"/>
                </a:lnTo>
                <a:lnTo>
                  <a:pt x="188026" y="815792"/>
                </a:lnTo>
                <a:lnTo>
                  <a:pt x="206141" y="816409"/>
                </a:lnTo>
                <a:lnTo>
                  <a:pt x="206516" y="823946"/>
                </a:lnTo>
                <a:lnTo>
                  <a:pt x="196022" y="837413"/>
                </a:lnTo>
                <a:lnTo>
                  <a:pt x="189025" y="869288"/>
                </a:lnTo>
                <a:lnTo>
                  <a:pt x="197146" y="880655"/>
                </a:lnTo>
                <a:lnTo>
                  <a:pt x="207890" y="917348"/>
                </a:lnTo>
                <a:lnTo>
                  <a:pt x="222383" y="931186"/>
                </a:lnTo>
                <a:lnTo>
                  <a:pt x="222383" y="931186"/>
                </a:lnTo>
                <a:close/>
                <a:moveTo>
                  <a:pt x="813321" y="1145419"/>
                </a:moveTo>
                <a:lnTo>
                  <a:pt x="810947" y="1122810"/>
                </a:lnTo>
                <a:lnTo>
                  <a:pt x="819567" y="1111443"/>
                </a:lnTo>
                <a:lnTo>
                  <a:pt x="816569" y="1091676"/>
                </a:lnTo>
                <a:lnTo>
                  <a:pt x="798953" y="1069808"/>
                </a:lnTo>
                <a:lnTo>
                  <a:pt x="813696" y="1025206"/>
                </a:lnTo>
                <a:lnTo>
                  <a:pt x="829687" y="1009392"/>
                </a:lnTo>
                <a:lnTo>
                  <a:pt x="832061" y="985177"/>
                </a:lnTo>
                <a:lnTo>
                  <a:pt x="817569" y="969239"/>
                </a:lnTo>
                <a:lnTo>
                  <a:pt x="795580" y="992219"/>
                </a:lnTo>
                <a:lnTo>
                  <a:pt x="785835" y="991231"/>
                </a:lnTo>
                <a:lnTo>
                  <a:pt x="765221" y="981100"/>
                </a:lnTo>
                <a:lnTo>
                  <a:pt x="746731" y="1002474"/>
                </a:lnTo>
                <a:lnTo>
                  <a:pt x="705003" y="1001485"/>
                </a:lnTo>
                <a:lnTo>
                  <a:pt x="671396" y="1013222"/>
                </a:lnTo>
                <a:lnTo>
                  <a:pt x="646909" y="1009392"/>
                </a:lnTo>
                <a:lnTo>
                  <a:pt x="629168" y="998520"/>
                </a:lnTo>
                <a:lnTo>
                  <a:pt x="609054" y="1001485"/>
                </a:lnTo>
                <a:lnTo>
                  <a:pt x="598309" y="1010875"/>
                </a:lnTo>
                <a:lnTo>
                  <a:pt x="591688" y="1002844"/>
                </a:lnTo>
                <a:lnTo>
                  <a:pt x="569949" y="1014087"/>
                </a:lnTo>
                <a:lnTo>
                  <a:pt x="568450" y="1043739"/>
                </a:lnTo>
                <a:lnTo>
                  <a:pt x="588689" y="1060788"/>
                </a:lnTo>
                <a:lnTo>
                  <a:pt x="607929" y="1056464"/>
                </a:lnTo>
                <a:lnTo>
                  <a:pt x="643660" y="1078332"/>
                </a:lnTo>
                <a:lnTo>
                  <a:pt x="662650" y="1082409"/>
                </a:lnTo>
                <a:lnTo>
                  <a:pt x="680766" y="1100200"/>
                </a:lnTo>
                <a:lnTo>
                  <a:pt x="722369" y="1113544"/>
                </a:lnTo>
                <a:lnTo>
                  <a:pt x="730490" y="1107737"/>
                </a:lnTo>
                <a:lnTo>
                  <a:pt x="748980" y="1119968"/>
                </a:lnTo>
                <a:lnTo>
                  <a:pt x="753103" y="1134176"/>
                </a:lnTo>
                <a:lnTo>
                  <a:pt x="796205" y="1148879"/>
                </a:lnTo>
                <a:lnTo>
                  <a:pt x="813446" y="1145419"/>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9" name="Graphic 134">
            <a:extLst>
              <a:ext uri="{FF2B5EF4-FFF2-40B4-BE49-F238E27FC236}">
                <a16:creationId xmlns:a16="http://schemas.microsoft.com/office/drawing/2014/main" id="{CB5E0D43-6A89-8240-22B8-FA00DA832B39}"/>
              </a:ext>
            </a:extLst>
          </p:cNvPr>
          <p:cNvSpPr/>
          <p:nvPr/>
        </p:nvSpPr>
        <p:spPr>
          <a:xfrm rot="1141104">
            <a:off x="6860223" y="2436919"/>
            <a:ext cx="766470" cy="899310"/>
          </a:xfrm>
          <a:custGeom>
            <a:avLst/>
            <a:gdLst>
              <a:gd name="connsiteX0" fmla="*/ 191649 w 766470"/>
              <a:gd name="connsiteY0" fmla="*/ 2224 h 899310"/>
              <a:gd name="connsiteX1" fmla="*/ 215761 w 766470"/>
              <a:gd name="connsiteY1" fmla="*/ 0 h 899310"/>
              <a:gd name="connsiteX2" fmla="*/ 249868 w 766470"/>
              <a:gd name="connsiteY2" fmla="*/ 7784 h 899310"/>
              <a:gd name="connsiteX3" fmla="*/ 259988 w 766470"/>
              <a:gd name="connsiteY3" fmla="*/ 11861 h 899310"/>
              <a:gd name="connsiteX4" fmla="*/ 275979 w 766470"/>
              <a:gd name="connsiteY4" fmla="*/ 8401 h 899310"/>
              <a:gd name="connsiteX5" fmla="*/ 294594 w 766470"/>
              <a:gd name="connsiteY5" fmla="*/ 26563 h 899310"/>
              <a:gd name="connsiteX6" fmla="*/ 312710 w 766470"/>
              <a:gd name="connsiteY6" fmla="*/ 27798 h 899310"/>
              <a:gd name="connsiteX7" fmla="*/ 303840 w 766470"/>
              <a:gd name="connsiteY7" fmla="*/ 48802 h 899310"/>
              <a:gd name="connsiteX8" fmla="*/ 295219 w 766470"/>
              <a:gd name="connsiteY8" fmla="*/ 58191 h 899310"/>
              <a:gd name="connsiteX9" fmla="*/ 300591 w 766470"/>
              <a:gd name="connsiteY9" fmla="*/ 68199 h 899310"/>
              <a:gd name="connsiteX10" fmla="*/ 315334 w 766470"/>
              <a:gd name="connsiteY10" fmla="*/ 71658 h 899310"/>
              <a:gd name="connsiteX11" fmla="*/ 321455 w 766470"/>
              <a:gd name="connsiteY11" fmla="*/ 86608 h 899310"/>
              <a:gd name="connsiteX12" fmla="*/ 335198 w 766470"/>
              <a:gd name="connsiteY12" fmla="*/ 75735 h 899310"/>
              <a:gd name="connsiteX13" fmla="*/ 339571 w 766470"/>
              <a:gd name="connsiteY13" fmla="*/ 65975 h 899310"/>
              <a:gd name="connsiteX14" fmla="*/ 348066 w 766470"/>
              <a:gd name="connsiteY14" fmla="*/ 60415 h 899310"/>
              <a:gd name="connsiteX15" fmla="*/ 355437 w 766470"/>
              <a:gd name="connsiteY15" fmla="*/ 69805 h 899310"/>
              <a:gd name="connsiteX16" fmla="*/ 379300 w 766470"/>
              <a:gd name="connsiteY16" fmla="*/ 85125 h 899310"/>
              <a:gd name="connsiteX17" fmla="*/ 383797 w 766470"/>
              <a:gd name="connsiteY17" fmla="*/ 78453 h 899310"/>
              <a:gd name="connsiteX18" fmla="*/ 397915 w 766470"/>
              <a:gd name="connsiteY18" fmla="*/ 66593 h 899310"/>
              <a:gd name="connsiteX19" fmla="*/ 405286 w 766470"/>
              <a:gd name="connsiteY19" fmla="*/ 70423 h 899310"/>
              <a:gd name="connsiteX20" fmla="*/ 406410 w 766470"/>
              <a:gd name="connsiteY20" fmla="*/ 85743 h 899310"/>
              <a:gd name="connsiteX21" fmla="*/ 394916 w 766470"/>
              <a:gd name="connsiteY21" fmla="*/ 100692 h 899310"/>
              <a:gd name="connsiteX22" fmla="*/ 383672 w 766470"/>
              <a:gd name="connsiteY22" fmla="*/ 99457 h 899310"/>
              <a:gd name="connsiteX23" fmla="*/ 367931 w 766470"/>
              <a:gd name="connsiteY23" fmla="*/ 111070 h 899310"/>
              <a:gd name="connsiteX24" fmla="*/ 391418 w 766470"/>
              <a:gd name="connsiteY24" fmla="*/ 116877 h 899310"/>
              <a:gd name="connsiteX25" fmla="*/ 399539 w 766470"/>
              <a:gd name="connsiteY25" fmla="*/ 112800 h 899310"/>
              <a:gd name="connsiteX26" fmla="*/ 416155 w 766470"/>
              <a:gd name="connsiteY26" fmla="*/ 113788 h 899310"/>
              <a:gd name="connsiteX27" fmla="*/ 422527 w 766470"/>
              <a:gd name="connsiteY27" fmla="*/ 123425 h 899310"/>
              <a:gd name="connsiteX28" fmla="*/ 441517 w 766470"/>
              <a:gd name="connsiteY28" fmla="*/ 120954 h 899310"/>
              <a:gd name="connsiteX29" fmla="*/ 444016 w 766470"/>
              <a:gd name="connsiteY29" fmla="*/ 107858 h 899310"/>
              <a:gd name="connsiteX30" fmla="*/ 456134 w 766470"/>
              <a:gd name="connsiteY30" fmla="*/ 89820 h 899310"/>
              <a:gd name="connsiteX31" fmla="*/ 489492 w 766470"/>
              <a:gd name="connsiteY31" fmla="*/ 83272 h 899310"/>
              <a:gd name="connsiteX32" fmla="*/ 490116 w 766470"/>
              <a:gd name="connsiteY32" fmla="*/ 74994 h 899310"/>
              <a:gd name="connsiteX33" fmla="*/ 507982 w 766470"/>
              <a:gd name="connsiteY33" fmla="*/ 64987 h 899310"/>
              <a:gd name="connsiteX34" fmla="*/ 509731 w 766470"/>
              <a:gd name="connsiteY34" fmla="*/ 55597 h 899310"/>
              <a:gd name="connsiteX35" fmla="*/ 517477 w 766470"/>
              <a:gd name="connsiteY35" fmla="*/ 51149 h 899310"/>
              <a:gd name="connsiteX36" fmla="*/ 541464 w 766470"/>
              <a:gd name="connsiteY36" fmla="*/ 52632 h 899310"/>
              <a:gd name="connsiteX37" fmla="*/ 522724 w 766470"/>
              <a:gd name="connsiteY37" fmla="*/ 60909 h 899310"/>
              <a:gd name="connsiteX38" fmla="*/ 516103 w 766470"/>
              <a:gd name="connsiteY38" fmla="*/ 68446 h 899310"/>
              <a:gd name="connsiteX39" fmla="*/ 512979 w 766470"/>
              <a:gd name="connsiteY39" fmla="*/ 66099 h 899310"/>
              <a:gd name="connsiteX40" fmla="*/ 503859 w 766470"/>
              <a:gd name="connsiteY40" fmla="*/ 76106 h 899310"/>
              <a:gd name="connsiteX41" fmla="*/ 511105 w 766470"/>
              <a:gd name="connsiteY41" fmla="*/ 82654 h 899310"/>
              <a:gd name="connsiteX42" fmla="*/ 529346 w 766470"/>
              <a:gd name="connsiteY42" fmla="*/ 68817 h 899310"/>
              <a:gd name="connsiteX43" fmla="*/ 549335 w 766470"/>
              <a:gd name="connsiteY43" fmla="*/ 65851 h 899310"/>
              <a:gd name="connsiteX44" fmla="*/ 557456 w 766470"/>
              <a:gd name="connsiteY44" fmla="*/ 61404 h 899310"/>
              <a:gd name="connsiteX45" fmla="*/ 564077 w 766470"/>
              <a:gd name="connsiteY45" fmla="*/ 70670 h 899310"/>
              <a:gd name="connsiteX46" fmla="*/ 580194 w 766470"/>
              <a:gd name="connsiteY46" fmla="*/ 72770 h 899310"/>
              <a:gd name="connsiteX47" fmla="*/ 604056 w 766470"/>
              <a:gd name="connsiteY47" fmla="*/ 94515 h 899310"/>
              <a:gd name="connsiteX48" fmla="*/ 622671 w 766470"/>
              <a:gd name="connsiteY48" fmla="*/ 90191 h 899310"/>
              <a:gd name="connsiteX49" fmla="*/ 633790 w 766470"/>
              <a:gd name="connsiteY49" fmla="*/ 105634 h 899310"/>
              <a:gd name="connsiteX50" fmla="*/ 631042 w 766470"/>
              <a:gd name="connsiteY50" fmla="*/ 122931 h 899310"/>
              <a:gd name="connsiteX51" fmla="*/ 648283 w 766470"/>
              <a:gd name="connsiteY51" fmla="*/ 135162 h 899310"/>
              <a:gd name="connsiteX52" fmla="*/ 663400 w 766470"/>
              <a:gd name="connsiteY52" fmla="*/ 132444 h 899310"/>
              <a:gd name="connsiteX53" fmla="*/ 674894 w 766470"/>
              <a:gd name="connsiteY53" fmla="*/ 141587 h 899310"/>
              <a:gd name="connsiteX54" fmla="*/ 691510 w 766470"/>
              <a:gd name="connsiteY54" fmla="*/ 140104 h 899310"/>
              <a:gd name="connsiteX55" fmla="*/ 703004 w 766470"/>
              <a:gd name="connsiteY55" fmla="*/ 180381 h 899310"/>
              <a:gd name="connsiteX56" fmla="*/ 701754 w 766470"/>
              <a:gd name="connsiteY56" fmla="*/ 210527 h 899310"/>
              <a:gd name="connsiteX57" fmla="*/ 676518 w 766470"/>
              <a:gd name="connsiteY57" fmla="*/ 224735 h 899310"/>
              <a:gd name="connsiteX58" fmla="*/ 677018 w 766470"/>
              <a:gd name="connsiteY58" fmla="*/ 237090 h 899310"/>
              <a:gd name="connsiteX59" fmla="*/ 706752 w 766470"/>
              <a:gd name="connsiteY59" fmla="*/ 266000 h 899310"/>
              <a:gd name="connsiteX60" fmla="*/ 704253 w 766470"/>
              <a:gd name="connsiteY60" fmla="*/ 284409 h 899310"/>
              <a:gd name="connsiteX61" fmla="*/ 718246 w 766470"/>
              <a:gd name="connsiteY61" fmla="*/ 300841 h 899310"/>
              <a:gd name="connsiteX62" fmla="*/ 718870 w 766470"/>
              <a:gd name="connsiteY62" fmla="*/ 314555 h 899310"/>
              <a:gd name="connsiteX63" fmla="*/ 727616 w 766470"/>
              <a:gd name="connsiteY63" fmla="*/ 333211 h 899310"/>
              <a:gd name="connsiteX64" fmla="*/ 720994 w 766470"/>
              <a:gd name="connsiteY64" fmla="*/ 349148 h 899310"/>
              <a:gd name="connsiteX65" fmla="*/ 739110 w 766470"/>
              <a:gd name="connsiteY65" fmla="*/ 385719 h 899310"/>
              <a:gd name="connsiteX66" fmla="*/ 751603 w 766470"/>
              <a:gd name="connsiteY66" fmla="*/ 391896 h 899310"/>
              <a:gd name="connsiteX67" fmla="*/ 763097 w 766470"/>
              <a:gd name="connsiteY67" fmla="*/ 405487 h 899310"/>
              <a:gd name="connsiteX68" fmla="*/ 766470 w 766470"/>
              <a:gd name="connsiteY68" fmla="*/ 453671 h 899310"/>
              <a:gd name="connsiteX69" fmla="*/ 758599 w 766470"/>
              <a:gd name="connsiteY69" fmla="*/ 467385 h 899310"/>
              <a:gd name="connsiteX70" fmla="*/ 745107 w 766470"/>
              <a:gd name="connsiteY70" fmla="*/ 461454 h 899310"/>
              <a:gd name="connsiteX71" fmla="*/ 733613 w 766470"/>
              <a:gd name="connsiteY71" fmla="*/ 469855 h 899310"/>
              <a:gd name="connsiteX72" fmla="*/ 704878 w 766470"/>
              <a:gd name="connsiteY72" fmla="*/ 464543 h 899310"/>
              <a:gd name="connsiteX73" fmla="*/ 705503 w 766470"/>
              <a:gd name="connsiteY73" fmla="*/ 480851 h 899310"/>
              <a:gd name="connsiteX74" fmla="*/ 690760 w 766470"/>
              <a:gd name="connsiteY74" fmla="*/ 490612 h 899310"/>
              <a:gd name="connsiteX75" fmla="*/ 677392 w 766470"/>
              <a:gd name="connsiteY75" fmla="*/ 487894 h 899310"/>
              <a:gd name="connsiteX76" fmla="*/ 647033 w 766470"/>
              <a:gd name="connsiteY76" fmla="*/ 489870 h 899310"/>
              <a:gd name="connsiteX77" fmla="*/ 637788 w 766470"/>
              <a:gd name="connsiteY77" fmla="*/ 505314 h 899310"/>
              <a:gd name="connsiteX78" fmla="*/ 617924 w 766470"/>
              <a:gd name="connsiteY78" fmla="*/ 506797 h 899310"/>
              <a:gd name="connsiteX79" fmla="*/ 600933 w 766470"/>
              <a:gd name="connsiteY79" fmla="*/ 527923 h 899310"/>
              <a:gd name="connsiteX80" fmla="*/ 585191 w 766470"/>
              <a:gd name="connsiteY80" fmla="*/ 529900 h 899310"/>
              <a:gd name="connsiteX81" fmla="*/ 554082 w 766470"/>
              <a:gd name="connsiteY81" fmla="*/ 560664 h 899310"/>
              <a:gd name="connsiteX82" fmla="*/ 538466 w 766470"/>
              <a:gd name="connsiteY82" fmla="*/ 554116 h 899310"/>
              <a:gd name="connsiteX83" fmla="*/ 529470 w 766470"/>
              <a:gd name="connsiteY83" fmla="*/ 547197 h 899310"/>
              <a:gd name="connsiteX84" fmla="*/ 521725 w 766470"/>
              <a:gd name="connsiteY84" fmla="*/ 553498 h 899310"/>
              <a:gd name="connsiteX85" fmla="*/ 523349 w 766470"/>
              <a:gd name="connsiteY85" fmla="*/ 566841 h 899310"/>
              <a:gd name="connsiteX86" fmla="*/ 548086 w 766470"/>
              <a:gd name="connsiteY86" fmla="*/ 580308 h 899310"/>
              <a:gd name="connsiteX87" fmla="*/ 568575 w 766470"/>
              <a:gd name="connsiteY87" fmla="*/ 608971 h 899310"/>
              <a:gd name="connsiteX88" fmla="*/ 568200 w 766470"/>
              <a:gd name="connsiteY88" fmla="*/ 630963 h 899310"/>
              <a:gd name="connsiteX89" fmla="*/ 573822 w 766470"/>
              <a:gd name="connsiteY89" fmla="*/ 644306 h 899310"/>
              <a:gd name="connsiteX90" fmla="*/ 592062 w 766470"/>
              <a:gd name="connsiteY90" fmla="*/ 653325 h 899310"/>
              <a:gd name="connsiteX91" fmla="*/ 624545 w 766470"/>
              <a:gd name="connsiteY91" fmla="*/ 673340 h 899310"/>
              <a:gd name="connsiteX92" fmla="*/ 642911 w 766470"/>
              <a:gd name="connsiteY92" fmla="*/ 684336 h 899310"/>
              <a:gd name="connsiteX93" fmla="*/ 681515 w 766470"/>
              <a:gd name="connsiteY93" fmla="*/ 724736 h 899310"/>
              <a:gd name="connsiteX94" fmla="*/ 678892 w 766470"/>
              <a:gd name="connsiteY94" fmla="*/ 742033 h 899310"/>
              <a:gd name="connsiteX95" fmla="*/ 680766 w 766470"/>
              <a:gd name="connsiteY95" fmla="*/ 759948 h 899310"/>
              <a:gd name="connsiteX96" fmla="*/ 666148 w 766470"/>
              <a:gd name="connsiteY96" fmla="*/ 760565 h 899310"/>
              <a:gd name="connsiteX97" fmla="*/ 656403 w 766470"/>
              <a:gd name="connsiteY97" fmla="*/ 779098 h 899310"/>
              <a:gd name="connsiteX98" fmla="*/ 635539 w 766470"/>
              <a:gd name="connsiteY98" fmla="*/ 790341 h 899310"/>
              <a:gd name="connsiteX99" fmla="*/ 612427 w 766470"/>
              <a:gd name="connsiteY99" fmla="*/ 822093 h 899310"/>
              <a:gd name="connsiteX100" fmla="*/ 612926 w 766470"/>
              <a:gd name="connsiteY100" fmla="*/ 833830 h 899310"/>
              <a:gd name="connsiteX101" fmla="*/ 635914 w 766470"/>
              <a:gd name="connsiteY101" fmla="*/ 843961 h 899310"/>
              <a:gd name="connsiteX102" fmla="*/ 639287 w 766470"/>
              <a:gd name="connsiteY102" fmla="*/ 860887 h 899310"/>
              <a:gd name="connsiteX103" fmla="*/ 630417 w 766470"/>
              <a:gd name="connsiteY103" fmla="*/ 867806 h 899310"/>
              <a:gd name="connsiteX104" fmla="*/ 609303 w 766470"/>
              <a:gd name="connsiteY104" fmla="*/ 856933 h 899310"/>
              <a:gd name="connsiteX105" fmla="*/ 589064 w 766470"/>
              <a:gd name="connsiteY105" fmla="*/ 863605 h 899310"/>
              <a:gd name="connsiteX106" fmla="*/ 567700 w 766470"/>
              <a:gd name="connsiteY106" fmla="*/ 858663 h 899310"/>
              <a:gd name="connsiteX107" fmla="*/ 553208 w 766470"/>
              <a:gd name="connsiteY107" fmla="*/ 861258 h 899310"/>
              <a:gd name="connsiteX108" fmla="*/ 524973 w 766470"/>
              <a:gd name="connsiteY108" fmla="*/ 881396 h 899310"/>
              <a:gd name="connsiteX109" fmla="*/ 509231 w 766470"/>
              <a:gd name="connsiteY109" fmla="*/ 885473 h 899310"/>
              <a:gd name="connsiteX110" fmla="*/ 494489 w 766470"/>
              <a:gd name="connsiteY110" fmla="*/ 881396 h 899310"/>
              <a:gd name="connsiteX111" fmla="*/ 478872 w 766470"/>
              <a:gd name="connsiteY111" fmla="*/ 886091 h 899310"/>
              <a:gd name="connsiteX112" fmla="*/ 465254 w 766470"/>
              <a:gd name="connsiteY112" fmla="*/ 878060 h 899310"/>
              <a:gd name="connsiteX113" fmla="*/ 439893 w 766470"/>
              <a:gd name="connsiteY113" fmla="*/ 875218 h 899310"/>
              <a:gd name="connsiteX114" fmla="*/ 415656 w 766470"/>
              <a:gd name="connsiteY114" fmla="*/ 879543 h 899310"/>
              <a:gd name="connsiteX115" fmla="*/ 418154 w 766470"/>
              <a:gd name="connsiteY115" fmla="*/ 891898 h 899310"/>
              <a:gd name="connsiteX116" fmla="*/ 412532 w 766470"/>
              <a:gd name="connsiteY116" fmla="*/ 899311 h 899310"/>
              <a:gd name="connsiteX117" fmla="*/ 389170 w 766470"/>
              <a:gd name="connsiteY117" fmla="*/ 894492 h 899310"/>
              <a:gd name="connsiteX118" fmla="*/ 375927 w 766470"/>
              <a:gd name="connsiteY118" fmla="*/ 881272 h 899310"/>
              <a:gd name="connsiteX119" fmla="*/ 359810 w 766470"/>
              <a:gd name="connsiteY119" fmla="*/ 887944 h 899310"/>
              <a:gd name="connsiteX120" fmla="*/ 349441 w 766470"/>
              <a:gd name="connsiteY120" fmla="*/ 893751 h 899310"/>
              <a:gd name="connsiteX121" fmla="*/ 344693 w 766470"/>
              <a:gd name="connsiteY121" fmla="*/ 893998 h 899310"/>
              <a:gd name="connsiteX122" fmla="*/ 335198 w 766470"/>
              <a:gd name="connsiteY122" fmla="*/ 888191 h 899310"/>
              <a:gd name="connsiteX123" fmla="*/ 309337 w 766470"/>
              <a:gd name="connsiteY123" fmla="*/ 871018 h 899310"/>
              <a:gd name="connsiteX124" fmla="*/ 296718 w 766470"/>
              <a:gd name="connsiteY124" fmla="*/ 870894 h 899310"/>
              <a:gd name="connsiteX125" fmla="*/ 287848 w 766470"/>
              <a:gd name="connsiteY125" fmla="*/ 879790 h 899310"/>
              <a:gd name="connsiteX126" fmla="*/ 276479 w 766470"/>
              <a:gd name="connsiteY126" fmla="*/ 876948 h 899310"/>
              <a:gd name="connsiteX127" fmla="*/ 269108 w 766470"/>
              <a:gd name="connsiteY127" fmla="*/ 859651 h 899310"/>
              <a:gd name="connsiteX128" fmla="*/ 250868 w 766470"/>
              <a:gd name="connsiteY128" fmla="*/ 866941 h 899310"/>
              <a:gd name="connsiteX129" fmla="*/ 253366 w 766470"/>
              <a:gd name="connsiteY129" fmla="*/ 877937 h 899310"/>
              <a:gd name="connsiteX130" fmla="*/ 247120 w 766470"/>
              <a:gd name="connsiteY130" fmla="*/ 889427 h 899310"/>
              <a:gd name="connsiteX131" fmla="*/ 224382 w 766470"/>
              <a:gd name="connsiteY131" fmla="*/ 882508 h 899310"/>
              <a:gd name="connsiteX132" fmla="*/ 208265 w 766470"/>
              <a:gd name="connsiteY132" fmla="*/ 892392 h 899310"/>
              <a:gd name="connsiteX133" fmla="*/ 193023 w 766470"/>
              <a:gd name="connsiteY133" fmla="*/ 888562 h 899310"/>
              <a:gd name="connsiteX134" fmla="*/ 193523 w 766470"/>
              <a:gd name="connsiteY134" fmla="*/ 888438 h 899310"/>
              <a:gd name="connsiteX135" fmla="*/ 184153 w 766470"/>
              <a:gd name="connsiteY135" fmla="*/ 871141 h 899310"/>
              <a:gd name="connsiteX136" fmla="*/ 167786 w 766470"/>
              <a:gd name="connsiteY136" fmla="*/ 861999 h 899310"/>
              <a:gd name="connsiteX137" fmla="*/ 165413 w 766470"/>
              <a:gd name="connsiteY137" fmla="*/ 835930 h 899310"/>
              <a:gd name="connsiteX138" fmla="*/ 173284 w 766470"/>
              <a:gd name="connsiteY138" fmla="*/ 804055 h 899310"/>
              <a:gd name="connsiteX139" fmla="*/ 185402 w 766470"/>
              <a:gd name="connsiteY139" fmla="*/ 791823 h 899310"/>
              <a:gd name="connsiteX140" fmla="*/ 184777 w 766470"/>
              <a:gd name="connsiteY140" fmla="*/ 778109 h 899310"/>
              <a:gd name="connsiteX141" fmla="*/ 193523 w 766470"/>
              <a:gd name="connsiteY141" fmla="*/ 750187 h 899310"/>
              <a:gd name="connsiteX142" fmla="*/ 213013 w 766470"/>
              <a:gd name="connsiteY142" fmla="*/ 728443 h 899310"/>
              <a:gd name="connsiteX143" fmla="*/ 194647 w 766470"/>
              <a:gd name="connsiteY143" fmla="*/ 717447 h 899310"/>
              <a:gd name="connsiteX144" fmla="*/ 177531 w 766470"/>
              <a:gd name="connsiteY144" fmla="*/ 718188 h 899310"/>
              <a:gd name="connsiteX145" fmla="*/ 155168 w 766470"/>
              <a:gd name="connsiteY145" fmla="*/ 709293 h 899310"/>
              <a:gd name="connsiteX146" fmla="*/ 138927 w 766470"/>
              <a:gd name="connsiteY146" fmla="*/ 715223 h 899310"/>
              <a:gd name="connsiteX147" fmla="*/ 126808 w 766470"/>
              <a:gd name="connsiteY147" fmla="*/ 711146 h 899310"/>
              <a:gd name="connsiteX148" fmla="*/ 110941 w 766470"/>
              <a:gd name="connsiteY148" fmla="*/ 711764 h 899310"/>
              <a:gd name="connsiteX149" fmla="*/ 95949 w 766470"/>
              <a:gd name="connsiteY149" fmla="*/ 717694 h 899310"/>
              <a:gd name="connsiteX150" fmla="*/ 79583 w 766470"/>
              <a:gd name="connsiteY150" fmla="*/ 705339 h 899310"/>
              <a:gd name="connsiteX151" fmla="*/ 79083 w 766470"/>
              <a:gd name="connsiteY151" fmla="*/ 694220 h 899310"/>
              <a:gd name="connsiteX152" fmla="*/ 61343 w 766470"/>
              <a:gd name="connsiteY152" fmla="*/ 681865 h 899310"/>
              <a:gd name="connsiteX153" fmla="*/ 60968 w 766470"/>
              <a:gd name="connsiteY153" fmla="*/ 681988 h 899310"/>
              <a:gd name="connsiteX154" fmla="*/ 61343 w 766470"/>
              <a:gd name="connsiteY154" fmla="*/ 653078 h 899310"/>
              <a:gd name="connsiteX155" fmla="*/ 51098 w 766470"/>
              <a:gd name="connsiteY155" fmla="*/ 644924 h 899310"/>
              <a:gd name="connsiteX156" fmla="*/ 46351 w 766470"/>
              <a:gd name="connsiteY156" fmla="*/ 625527 h 899310"/>
              <a:gd name="connsiteX157" fmla="*/ 23363 w 766470"/>
              <a:gd name="connsiteY157" fmla="*/ 599582 h 899310"/>
              <a:gd name="connsiteX158" fmla="*/ 17366 w 766470"/>
              <a:gd name="connsiteY158" fmla="*/ 599829 h 899310"/>
              <a:gd name="connsiteX159" fmla="*/ 26861 w 766470"/>
              <a:gd name="connsiteY159" fmla="*/ 574625 h 899310"/>
              <a:gd name="connsiteX160" fmla="*/ 14867 w 766470"/>
              <a:gd name="connsiteY160" fmla="*/ 558069 h 899310"/>
              <a:gd name="connsiteX161" fmla="*/ 14992 w 766470"/>
              <a:gd name="connsiteY161" fmla="*/ 546950 h 899310"/>
              <a:gd name="connsiteX162" fmla="*/ 0 w 766470"/>
              <a:gd name="connsiteY162" fmla="*/ 519398 h 899310"/>
              <a:gd name="connsiteX163" fmla="*/ 5372 w 766470"/>
              <a:gd name="connsiteY163" fmla="*/ 506055 h 899310"/>
              <a:gd name="connsiteX164" fmla="*/ 2998 w 766470"/>
              <a:gd name="connsiteY164" fmla="*/ 505437 h 899310"/>
              <a:gd name="connsiteX165" fmla="*/ 9870 w 766470"/>
              <a:gd name="connsiteY165" fmla="*/ 485175 h 899310"/>
              <a:gd name="connsiteX166" fmla="*/ 14492 w 766470"/>
              <a:gd name="connsiteY166" fmla="*/ 454783 h 899310"/>
              <a:gd name="connsiteX167" fmla="*/ 7996 w 766470"/>
              <a:gd name="connsiteY167" fmla="*/ 428714 h 899310"/>
              <a:gd name="connsiteX168" fmla="*/ 19240 w 766470"/>
              <a:gd name="connsiteY168" fmla="*/ 413764 h 899310"/>
              <a:gd name="connsiteX169" fmla="*/ 29609 w 766470"/>
              <a:gd name="connsiteY169" fmla="*/ 394985 h 899310"/>
              <a:gd name="connsiteX170" fmla="*/ 53847 w 766470"/>
              <a:gd name="connsiteY170" fmla="*/ 388066 h 899310"/>
              <a:gd name="connsiteX171" fmla="*/ 77209 w 766470"/>
              <a:gd name="connsiteY171" fmla="*/ 392390 h 899310"/>
              <a:gd name="connsiteX172" fmla="*/ 90077 w 766470"/>
              <a:gd name="connsiteY172" fmla="*/ 384607 h 899310"/>
              <a:gd name="connsiteX173" fmla="*/ 79458 w 766470"/>
              <a:gd name="connsiteY173" fmla="*/ 368051 h 899310"/>
              <a:gd name="connsiteX174" fmla="*/ 90952 w 766470"/>
              <a:gd name="connsiteY174" fmla="*/ 359032 h 899310"/>
              <a:gd name="connsiteX175" fmla="*/ 92826 w 766470"/>
              <a:gd name="connsiteY175" fmla="*/ 339265 h 899310"/>
              <a:gd name="connsiteX176" fmla="*/ 97573 w 766470"/>
              <a:gd name="connsiteY176" fmla="*/ 328022 h 899310"/>
              <a:gd name="connsiteX177" fmla="*/ 87954 w 766470"/>
              <a:gd name="connsiteY177" fmla="*/ 319867 h 899310"/>
              <a:gd name="connsiteX178" fmla="*/ 65465 w 766470"/>
              <a:gd name="connsiteY178" fmla="*/ 321474 h 899310"/>
              <a:gd name="connsiteX179" fmla="*/ 62342 w 766470"/>
              <a:gd name="connsiteY179" fmla="*/ 309736 h 899310"/>
              <a:gd name="connsiteX180" fmla="*/ 69463 w 766470"/>
              <a:gd name="connsiteY180" fmla="*/ 291822 h 899310"/>
              <a:gd name="connsiteX181" fmla="*/ 89078 w 766470"/>
              <a:gd name="connsiteY181" fmla="*/ 299482 h 899310"/>
              <a:gd name="connsiteX182" fmla="*/ 100447 w 766470"/>
              <a:gd name="connsiteY182" fmla="*/ 289227 h 899310"/>
              <a:gd name="connsiteX183" fmla="*/ 100072 w 766470"/>
              <a:gd name="connsiteY183" fmla="*/ 271436 h 899310"/>
              <a:gd name="connsiteX184" fmla="*/ 106569 w 766470"/>
              <a:gd name="connsiteY184" fmla="*/ 255375 h 899310"/>
              <a:gd name="connsiteX185" fmla="*/ 107443 w 766470"/>
              <a:gd name="connsiteY185" fmla="*/ 245120 h 899310"/>
              <a:gd name="connsiteX186" fmla="*/ 112566 w 766470"/>
              <a:gd name="connsiteY186" fmla="*/ 238325 h 899310"/>
              <a:gd name="connsiteX187" fmla="*/ 112815 w 766470"/>
              <a:gd name="connsiteY187" fmla="*/ 234495 h 899310"/>
              <a:gd name="connsiteX188" fmla="*/ 114565 w 766470"/>
              <a:gd name="connsiteY188" fmla="*/ 234990 h 899310"/>
              <a:gd name="connsiteX189" fmla="*/ 109692 w 766470"/>
              <a:gd name="connsiteY189" fmla="*/ 217940 h 899310"/>
              <a:gd name="connsiteX190" fmla="*/ 89453 w 766470"/>
              <a:gd name="connsiteY190" fmla="*/ 215345 h 899310"/>
              <a:gd name="connsiteX191" fmla="*/ 80333 w 766470"/>
              <a:gd name="connsiteY191" fmla="*/ 199902 h 899310"/>
              <a:gd name="connsiteX192" fmla="*/ 83081 w 766470"/>
              <a:gd name="connsiteY192" fmla="*/ 181987 h 899310"/>
              <a:gd name="connsiteX193" fmla="*/ 123560 w 766470"/>
              <a:gd name="connsiteY193" fmla="*/ 169262 h 899310"/>
              <a:gd name="connsiteX194" fmla="*/ 135054 w 766470"/>
              <a:gd name="connsiteY194" fmla="*/ 163208 h 899310"/>
              <a:gd name="connsiteX195" fmla="*/ 155918 w 766470"/>
              <a:gd name="connsiteY195" fmla="*/ 176798 h 899310"/>
              <a:gd name="connsiteX196" fmla="*/ 156792 w 766470"/>
              <a:gd name="connsiteY196" fmla="*/ 197431 h 899310"/>
              <a:gd name="connsiteX197" fmla="*/ 172784 w 766470"/>
              <a:gd name="connsiteY197" fmla="*/ 214604 h 899310"/>
              <a:gd name="connsiteX198" fmla="*/ 181404 w 766470"/>
              <a:gd name="connsiteY198" fmla="*/ 204597 h 899310"/>
              <a:gd name="connsiteX199" fmla="*/ 172409 w 766470"/>
              <a:gd name="connsiteY199" fmla="*/ 189153 h 899310"/>
              <a:gd name="connsiteX200" fmla="*/ 171784 w 766470"/>
              <a:gd name="connsiteY200" fmla="*/ 176180 h 899310"/>
              <a:gd name="connsiteX201" fmla="*/ 180030 w 766470"/>
              <a:gd name="connsiteY201" fmla="*/ 172350 h 899310"/>
              <a:gd name="connsiteX202" fmla="*/ 193648 w 766470"/>
              <a:gd name="connsiteY202" fmla="*/ 183470 h 899310"/>
              <a:gd name="connsiteX203" fmla="*/ 193148 w 766470"/>
              <a:gd name="connsiteY203" fmla="*/ 204102 h 899310"/>
              <a:gd name="connsiteX204" fmla="*/ 214262 w 766470"/>
              <a:gd name="connsiteY204" fmla="*/ 225847 h 899310"/>
              <a:gd name="connsiteX205" fmla="*/ 205142 w 766470"/>
              <a:gd name="connsiteY205" fmla="*/ 209044 h 899310"/>
              <a:gd name="connsiteX206" fmla="*/ 203393 w 766470"/>
              <a:gd name="connsiteY206" fmla="*/ 182976 h 899310"/>
              <a:gd name="connsiteX207" fmla="*/ 199270 w 766470"/>
              <a:gd name="connsiteY207" fmla="*/ 168026 h 899310"/>
              <a:gd name="connsiteX208" fmla="*/ 209639 w 766470"/>
              <a:gd name="connsiteY208" fmla="*/ 149741 h 899310"/>
              <a:gd name="connsiteX209" fmla="*/ 224007 w 766470"/>
              <a:gd name="connsiteY209" fmla="*/ 146405 h 899310"/>
              <a:gd name="connsiteX210" fmla="*/ 238874 w 766470"/>
              <a:gd name="connsiteY210" fmla="*/ 153324 h 899310"/>
              <a:gd name="connsiteX211" fmla="*/ 257989 w 766470"/>
              <a:gd name="connsiteY211" fmla="*/ 144923 h 899310"/>
              <a:gd name="connsiteX212" fmla="*/ 288348 w 766470"/>
              <a:gd name="connsiteY212" fmla="*/ 175192 h 899310"/>
              <a:gd name="connsiteX213" fmla="*/ 328452 w 766470"/>
              <a:gd name="connsiteY213" fmla="*/ 181122 h 899310"/>
              <a:gd name="connsiteX214" fmla="*/ 289847 w 766470"/>
              <a:gd name="connsiteY214" fmla="*/ 167161 h 899310"/>
              <a:gd name="connsiteX215" fmla="*/ 259863 w 766470"/>
              <a:gd name="connsiteY215" fmla="*/ 138745 h 899310"/>
              <a:gd name="connsiteX216" fmla="*/ 237500 w 766470"/>
              <a:gd name="connsiteY216" fmla="*/ 138251 h 899310"/>
              <a:gd name="connsiteX217" fmla="*/ 224756 w 766470"/>
              <a:gd name="connsiteY217" fmla="*/ 131209 h 899310"/>
              <a:gd name="connsiteX218" fmla="*/ 224257 w 766470"/>
              <a:gd name="connsiteY218" fmla="*/ 118236 h 899310"/>
              <a:gd name="connsiteX219" fmla="*/ 238249 w 766470"/>
              <a:gd name="connsiteY219" fmla="*/ 106622 h 899310"/>
              <a:gd name="connsiteX220" fmla="*/ 221133 w 766470"/>
              <a:gd name="connsiteY220" fmla="*/ 96986 h 899310"/>
              <a:gd name="connsiteX221" fmla="*/ 220259 w 766470"/>
              <a:gd name="connsiteY221" fmla="*/ 75735 h 899310"/>
              <a:gd name="connsiteX222" fmla="*/ 204517 w 766470"/>
              <a:gd name="connsiteY222" fmla="*/ 83272 h 899310"/>
              <a:gd name="connsiteX223" fmla="*/ 203143 w 766470"/>
              <a:gd name="connsiteY223" fmla="*/ 67581 h 899310"/>
              <a:gd name="connsiteX224" fmla="*/ 218510 w 766470"/>
              <a:gd name="connsiteY224" fmla="*/ 66840 h 899310"/>
              <a:gd name="connsiteX225" fmla="*/ 234876 w 766470"/>
              <a:gd name="connsiteY225" fmla="*/ 60045 h 899310"/>
              <a:gd name="connsiteX226" fmla="*/ 213887 w 766470"/>
              <a:gd name="connsiteY226" fmla="*/ 42377 h 899310"/>
              <a:gd name="connsiteX227" fmla="*/ 214762 w 766470"/>
              <a:gd name="connsiteY227" fmla="*/ 29281 h 899310"/>
              <a:gd name="connsiteX228" fmla="*/ 205017 w 766470"/>
              <a:gd name="connsiteY228" fmla="*/ 29034 h 899310"/>
              <a:gd name="connsiteX229" fmla="*/ 192149 w 766470"/>
              <a:gd name="connsiteY229" fmla="*/ 21250 h 899310"/>
              <a:gd name="connsiteX230" fmla="*/ 192898 w 766470"/>
              <a:gd name="connsiteY230" fmla="*/ 6177 h 899310"/>
              <a:gd name="connsiteX231" fmla="*/ 191649 w 766470"/>
              <a:gd name="connsiteY231" fmla="*/ 2224 h 89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766470" h="899310">
                <a:moveTo>
                  <a:pt x="191649" y="2224"/>
                </a:moveTo>
                <a:lnTo>
                  <a:pt x="215761" y="0"/>
                </a:lnTo>
                <a:lnTo>
                  <a:pt x="249868" y="7784"/>
                </a:lnTo>
                <a:lnTo>
                  <a:pt x="259988" y="11861"/>
                </a:lnTo>
                <a:lnTo>
                  <a:pt x="275979" y="8401"/>
                </a:lnTo>
                <a:lnTo>
                  <a:pt x="294594" y="26563"/>
                </a:lnTo>
                <a:lnTo>
                  <a:pt x="312710" y="27798"/>
                </a:lnTo>
                <a:lnTo>
                  <a:pt x="303840" y="48802"/>
                </a:lnTo>
                <a:lnTo>
                  <a:pt x="295219" y="58191"/>
                </a:lnTo>
                <a:lnTo>
                  <a:pt x="300591" y="68199"/>
                </a:lnTo>
                <a:lnTo>
                  <a:pt x="315334" y="71658"/>
                </a:lnTo>
                <a:lnTo>
                  <a:pt x="321455" y="86608"/>
                </a:lnTo>
                <a:lnTo>
                  <a:pt x="335198" y="75735"/>
                </a:lnTo>
                <a:lnTo>
                  <a:pt x="339571" y="65975"/>
                </a:lnTo>
                <a:lnTo>
                  <a:pt x="348066" y="60415"/>
                </a:lnTo>
                <a:lnTo>
                  <a:pt x="355437" y="69805"/>
                </a:lnTo>
                <a:lnTo>
                  <a:pt x="379300" y="85125"/>
                </a:lnTo>
                <a:lnTo>
                  <a:pt x="383797" y="78453"/>
                </a:lnTo>
                <a:lnTo>
                  <a:pt x="397915" y="66593"/>
                </a:lnTo>
                <a:lnTo>
                  <a:pt x="405286" y="70423"/>
                </a:lnTo>
                <a:lnTo>
                  <a:pt x="406410" y="85743"/>
                </a:lnTo>
                <a:lnTo>
                  <a:pt x="394916" y="100692"/>
                </a:lnTo>
                <a:lnTo>
                  <a:pt x="383672" y="99457"/>
                </a:lnTo>
                <a:lnTo>
                  <a:pt x="367931" y="111070"/>
                </a:lnTo>
                <a:lnTo>
                  <a:pt x="391418" y="116877"/>
                </a:lnTo>
                <a:lnTo>
                  <a:pt x="399539" y="112800"/>
                </a:lnTo>
                <a:lnTo>
                  <a:pt x="416155" y="113788"/>
                </a:lnTo>
                <a:lnTo>
                  <a:pt x="422527" y="123425"/>
                </a:lnTo>
                <a:lnTo>
                  <a:pt x="441517" y="120954"/>
                </a:lnTo>
                <a:lnTo>
                  <a:pt x="444016" y="107858"/>
                </a:lnTo>
                <a:lnTo>
                  <a:pt x="456134" y="89820"/>
                </a:lnTo>
                <a:lnTo>
                  <a:pt x="489492" y="83272"/>
                </a:lnTo>
                <a:lnTo>
                  <a:pt x="490116" y="74994"/>
                </a:lnTo>
                <a:lnTo>
                  <a:pt x="507982" y="64987"/>
                </a:lnTo>
                <a:lnTo>
                  <a:pt x="509731" y="55597"/>
                </a:lnTo>
                <a:lnTo>
                  <a:pt x="517477" y="51149"/>
                </a:lnTo>
                <a:lnTo>
                  <a:pt x="541464" y="52632"/>
                </a:lnTo>
                <a:lnTo>
                  <a:pt x="522724" y="60909"/>
                </a:lnTo>
                <a:lnTo>
                  <a:pt x="516103" y="68446"/>
                </a:lnTo>
                <a:lnTo>
                  <a:pt x="512979" y="66099"/>
                </a:lnTo>
                <a:lnTo>
                  <a:pt x="503859" y="76106"/>
                </a:lnTo>
                <a:lnTo>
                  <a:pt x="511105" y="82654"/>
                </a:lnTo>
                <a:lnTo>
                  <a:pt x="529346" y="68817"/>
                </a:lnTo>
                <a:lnTo>
                  <a:pt x="549335" y="65851"/>
                </a:lnTo>
                <a:lnTo>
                  <a:pt x="557456" y="61404"/>
                </a:lnTo>
                <a:lnTo>
                  <a:pt x="564077" y="70670"/>
                </a:lnTo>
                <a:lnTo>
                  <a:pt x="580194" y="72770"/>
                </a:lnTo>
                <a:lnTo>
                  <a:pt x="604056" y="94515"/>
                </a:lnTo>
                <a:lnTo>
                  <a:pt x="622671" y="90191"/>
                </a:lnTo>
                <a:lnTo>
                  <a:pt x="633790" y="105634"/>
                </a:lnTo>
                <a:lnTo>
                  <a:pt x="631042" y="122931"/>
                </a:lnTo>
                <a:lnTo>
                  <a:pt x="648283" y="135162"/>
                </a:lnTo>
                <a:lnTo>
                  <a:pt x="663400" y="132444"/>
                </a:lnTo>
                <a:lnTo>
                  <a:pt x="674894" y="141587"/>
                </a:lnTo>
                <a:lnTo>
                  <a:pt x="691510" y="140104"/>
                </a:lnTo>
                <a:lnTo>
                  <a:pt x="703004" y="180381"/>
                </a:lnTo>
                <a:lnTo>
                  <a:pt x="701754" y="210527"/>
                </a:lnTo>
                <a:lnTo>
                  <a:pt x="676518" y="224735"/>
                </a:lnTo>
                <a:lnTo>
                  <a:pt x="677018" y="237090"/>
                </a:lnTo>
                <a:lnTo>
                  <a:pt x="706752" y="266000"/>
                </a:lnTo>
                <a:lnTo>
                  <a:pt x="704253" y="284409"/>
                </a:lnTo>
                <a:lnTo>
                  <a:pt x="718246" y="300841"/>
                </a:lnTo>
                <a:lnTo>
                  <a:pt x="718870" y="314555"/>
                </a:lnTo>
                <a:lnTo>
                  <a:pt x="727616" y="333211"/>
                </a:lnTo>
                <a:lnTo>
                  <a:pt x="720994" y="349148"/>
                </a:lnTo>
                <a:lnTo>
                  <a:pt x="739110" y="385719"/>
                </a:lnTo>
                <a:lnTo>
                  <a:pt x="751603" y="391896"/>
                </a:lnTo>
                <a:lnTo>
                  <a:pt x="763097" y="405487"/>
                </a:lnTo>
                <a:lnTo>
                  <a:pt x="766470" y="453671"/>
                </a:lnTo>
                <a:lnTo>
                  <a:pt x="758599" y="467385"/>
                </a:lnTo>
                <a:lnTo>
                  <a:pt x="745107" y="461454"/>
                </a:lnTo>
                <a:lnTo>
                  <a:pt x="733613" y="469855"/>
                </a:lnTo>
                <a:lnTo>
                  <a:pt x="704878" y="464543"/>
                </a:lnTo>
                <a:lnTo>
                  <a:pt x="705503" y="480851"/>
                </a:lnTo>
                <a:lnTo>
                  <a:pt x="690760" y="490612"/>
                </a:lnTo>
                <a:lnTo>
                  <a:pt x="677392" y="487894"/>
                </a:lnTo>
                <a:lnTo>
                  <a:pt x="647033" y="489870"/>
                </a:lnTo>
                <a:lnTo>
                  <a:pt x="637788" y="505314"/>
                </a:lnTo>
                <a:lnTo>
                  <a:pt x="617924" y="506797"/>
                </a:lnTo>
                <a:lnTo>
                  <a:pt x="600933" y="527923"/>
                </a:lnTo>
                <a:lnTo>
                  <a:pt x="585191" y="529900"/>
                </a:lnTo>
                <a:lnTo>
                  <a:pt x="554082" y="560664"/>
                </a:lnTo>
                <a:lnTo>
                  <a:pt x="538466" y="554116"/>
                </a:lnTo>
                <a:lnTo>
                  <a:pt x="529470" y="547197"/>
                </a:lnTo>
                <a:lnTo>
                  <a:pt x="521725" y="553498"/>
                </a:lnTo>
                <a:lnTo>
                  <a:pt x="523349" y="566841"/>
                </a:lnTo>
                <a:lnTo>
                  <a:pt x="548086" y="580308"/>
                </a:lnTo>
                <a:lnTo>
                  <a:pt x="568575" y="608971"/>
                </a:lnTo>
                <a:lnTo>
                  <a:pt x="568200" y="630963"/>
                </a:lnTo>
                <a:lnTo>
                  <a:pt x="573822" y="644306"/>
                </a:lnTo>
                <a:lnTo>
                  <a:pt x="592062" y="653325"/>
                </a:lnTo>
                <a:lnTo>
                  <a:pt x="624545" y="673340"/>
                </a:lnTo>
                <a:lnTo>
                  <a:pt x="642911" y="684336"/>
                </a:lnTo>
                <a:lnTo>
                  <a:pt x="681515" y="724736"/>
                </a:lnTo>
                <a:lnTo>
                  <a:pt x="678892" y="742033"/>
                </a:lnTo>
                <a:lnTo>
                  <a:pt x="680766" y="759948"/>
                </a:lnTo>
                <a:lnTo>
                  <a:pt x="666148" y="760565"/>
                </a:lnTo>
                <a:lnTo>
                  <a:pt x="656403" y="779098"/>
                </a:lnTo>
                <a:lnTo>
                  <a:pt x="635539" y="790341"/>
                </a:lnTo>
                <a:lnTo>
                  <a:pt x="612427" y="822093"/>
                </a:lnTo>
                <a:lnTo>
                  <a:pt x="612926" y="833830"/>
                </a:lnTo>
                <a:lnTo>
                  <a:pt x="635914" y="843961"/>
                </a:lnTo>
                <a:lnTo>
                  <a:pt x="639287" y="860887"/>
                </a:lnTo>
                <a:lnTo>
                  <a:pt x="630417" y="867806"/>
                </a:lnTo>
                <a:lnTo>
                  <a:pt x="609303" y="856933"/>
                </a:lnTo>
                <a:lnTo>
                  <a:pt x="589064" y="863605"/>
                </a:lnTo>
                <a:lnTo>
                  <a:pt x="567700" y="858663"/>
                </a:lnTo>
                <a:lnTo>
                  <a:pt x="553208" y="861258"/>
                </a:lnTo>
                <a:lnTo>
                  <a:pt x="524973" y="881396"/>
                </a:lnTo>
                <a:lnTo>
                  <a:pt x="509231" y="885473"/>
                </a:lnTo>
                <a:lnTo>
                  <a:pt x="494489" y="881396"/>
                </a:lnTo>
                <a:lnTo>
                  <a:pt x="478872" y="886091"/>
                </a:lnTo>
                <a:lnTo>
                  <a:pt x="465254" y="878060"/>
                </a:lnTo>
                <a:lnTo>
                  <a:pt x="439893" y="875218"/>
                </a:lnTo>
                <a:lnTo>
                  <a:pt x="415656" y="879543"/>
                </a:lnTo>
                <a:lnTo>
                  <a:pt x="418154" y="891898"/>
                </a:lnTo>
                <a:lnTo>
                  <a:pt x="412532" y="899311"/>
                </a:lnTo>
                <a:lnTo>
                  <a:pt x="389170" y="894492"/>
                </a:lnTo>
                <a:lnTo>
                  <a:pt x="375927" y="881272"/>
                </a:lnTo>
                <a:lnTo>
                  <a:pt x="359810" y="887944"/>
                </a:lnTo>
                <a:lnTo>
                  <a:pt x="349441" y="893751"/>
                </a:lnTo>
                <a:lnTo>
                  <a:pt x="344693" y="893998"/>
                </a:lnTo>
                <a:lnTo>
                  <a:pt x="335198" y="888191"/>
                </a:lnTo>
                <a:lnTo>
                  <a:pt x="309337" y="871018"/>
                </a:lnTo>
                <a:lnTo>
                  <a:pt x="296718" y="870894"/>
                </a:lnTo>
                <a:lnTo>
                  <a:pt x="287848" y="879790"/>
                </a:lnTo>
                <a:lnTo>
                  <a:pt x="276479" y="876948"/>
                </a:lnTo>
                <a:lnTo>
                  <a:pt x="269108" y="859651"/>
                </a:lnTo>
                <a:lnTo>
                  <a:pt x="250868" y="866941"/>
                </a:lnTo>
                <a:lnTo>
                  <a:pt x="253366" y="877937"/>
                </a:lnTo>
                <a:lnTo>
                  <a:pt x="247120" y="889427"/>
                </a:lnTo>
                <a:lnTo>
                  <a:pt x="224382" y="882508"/>
                </a:lnTo>
                <a:lnTo>
                  <a:pt x="208265" y="892392"/>
                </a:lnTo>
                <a:lnTo>
                  <a:pt x="193023" y="888562"/>
                </a:lnTo>
                <a:lnTo>
                  <a:pt x="193523" y="888438"/>
                </a:lnTo>
                <a:lnTo>
                  <a:pt x="184153" y="871141"/>
                </a:lnTo>
                <a:lnTo>
                  <a:pt x="167786" y="861999"/>
                </a:lnTo>
                <a:lnTo>
                  <a:pt x="165413" y="835930"/>
                </a:lnTo>
                <a:lnTo>
                  <a:pt x="173284" y="804055"/>
                </a:lnTo>
                <a:lnTo>
                  <a:pt x="185402" y="791823"/>
                </a:lnTo>
                <a:lnTo>
                  <a:pt x="184777" y="778109"/>
                </a:lnTo>
                <a:lnTo>
                  <a:pt x="193523" y="750187"/>
                </a:lnTo>
                <a:lnTo>
                  <a:pt x="213013" y="728443"/>
                </a:lnTo>
                <a:lnTo>
                  <a:pt x="194647" y="717447"/>
                </a:lnTo>
                <a:lnTo>
                  <a:pt x="177531" y="718188"/>
                </a:lnTo>
                <a:lnTo>
                  <a:pt x="155168" y="709293"/>
                </a:lnTo>
                <a:lnTo>
                  <a:pt x="138927" y="715223"/>
                </a:lnTo>
                <a:lnTo>
                  <a:pt x="126808" y="711146"/>
                </a:lnTo>
                <a:lnTo>
                  <a:pt x="110941" y="711764"/>
                </a:lnTo>
                <a:lnTo>
                  <a:pt x="95949" y="717694"/>
                </a:lnTo>
                <a:lnTo>
                  <a:pt x="79583" y="705339"/>
                </a:lnTo>
                <a:lnTo>
                  <a:pt x="79083" y="694220"/>
                </a:lnTo>
                <a:lnTo>
                  <a:pt x="61343" y="681865"/>
                </a:lnTo>
                <a:lnTo>
                  <a:pt x="60968" y="681988"/>
                </a:lnTo>
                <a:lnTo>
                  <a:pt x="61343" y="653078"/>
                </a:lnTo>
                <a:lnTo>
                  <a:pt x="51098" y="644924"/>
                </a:lnTo>
                <a:lnTo>
                  <a:pt x="46351" y="625527"/>
                </a:lnTo>
                <a:lnTo>
                  <a:pt x="23363" y="599582"/>
                </a:lnTo>
                <a:lnTo>
                  <a:pt x="17366" y="599829"/>
                </a:lnTo>
                <a:lnTo>
                  <a:pt x="26861" y="574625"/>
                </a:lnTo>
                <a:lnTo>
                  <a:pt x="14867" y="558069"/>
                </a:lnTo>
                <a:lnTo>
                  <a:pt x="14992" y="546950"/>
                </a:lnTo>
                <a:lnTo>
                  <a:pt x="0" y="519398"/>
                </a:lnTo>
                <a:lnTo>
                  <a:pt x="5372" y="506055"/>
                </a:lnTo>
                <a:lnTo>
                  <a:pt x="2998" y="505437"/>
                </a:lnTo>
                <a:lnTo>
                  <a:pt x="9870" y="485175"/>
                </a:lnTo>
                <a:lnTo>
                  <a:pt x="14492" y="454783"/>
                </a:lnTo>
                <a:lnTo>
                  <a:pt x="7996" y="428714"/>
                </a:lnTo>
                <a:lnTo>
                  <a:pt x="19240" y="413764"/>
                </a:lnTo>
                <a:lnTo>
                  <a:pt x="29609" y="394985"/>
                </a:lnTo>
                <a:lnTo>
                  <a:pt x="53847" y="388066"/>
                </a:lnTo>
                <a:lnTo>
                  <a:pt x="77209" y="392390"/>
                </a:lnTo>
                <a:lnTo>
                  <a:pt x="90077" y="384607"/>
                </a:lnTo>
                <a:lnTo>
                  <a:pt x="79458" y="368051"/>
                </a:lnTo>
                <a:lnTo>
                  <a:pt x="90952" y="359032"/>
                </a:lnTo>
                <a:lnTo>
                  <a:pt x="92826" y="339265"/>
                </a:lnTo>
                <a:lnTo>
                  <a:pt x="97573" y="328022"/>
                </a:lnTo>
                <a:lnTo>
                  <a:pt x="87954" y="319867"/>
                </a:lnTo>
                <a:lnTo>
                  <a:pt x="65465" y="321474"/>
                </a:lnTo>
                <a:lnTo>
                  <a:pt x="62342" y="309736"/>
                </a:lnTo>
                <a:lnTo>
                  <a:pt x="69463" y="291822"/>
                </a:lnTo>
                <a:lnTo>
                  <a:pt x="89078" y="299482"/>
                </a:lnTo>
                <a:lnTo>
                  <a:pt x="100447" y="289227"/>
                </a:lnTo>
                <a:lnTo>
                  <a:pt x="100072" y="271436"/>
                </a:lnTo>
                <a:lnTo>
                  <a:pt x="106569" y="255375"/>
                </a:lnTo>
                <a:lnTo>
                  <a:pt x="107443" y="245120"/>
                </a:lnTo>
                <a:lnTo>
                  <a:pt x="112566" y="238325"/>
                </a:lnTo>
                <a:lnTo>
                  <a:pt x="112815" y="234495"/>
                </a:lnTo>
                <a:lnTo>
                  <a:pt x="114565" y="234990"/>
                </a:lnTo>
                <a:lnTo>
                  <a:pt x="109692" y="217940"/>
                </a:lnTo>
                <a:lnTo>
                  <a:pt x="89453" y="215345"/>
                </a:lnTo>
                <a:lnTo>
                  <a:pt x="80333" y="199902"/>
                </a:lnTo>
                <a:lnTo>
                  <a:pt x="83081" y="181987"/>
                </a:lnTo>
                <a:lnTo>
                  <a:pt x="123560" y="169262"/>
                </a:lnTo>
                <a:lnTo>
                  <a:pt x="135054" y="163208"/>
                </a:lnTo>
                <a:lnTo>
                  <a:pt x="155918" y="176798"/>
                </a:lnTo>
                <a:lnTo>
                  <a:pt x="156792" y="197431"/>
                </a:lnTo>
                <a:lnTo>
                  <a:pt x="172784" y="214604"/>
                </a:lnTo>
                <a:lnTo>
                  <a:pt x="181404" y="204597"/>
                </a:lnTo>
                <a:lnTo>
                  <a:pt x="172409" y="189153"/>
                </a:lnTo>
                <a:lnTo>
                  <a:pt x="171784" y="176180"/>
                </a:lnTo>
                <a:lnTo>
                  <a:pt x="180030" y="172350"/>
                </a:lnTo>
                <a:lnTo>
                  <a:pt x="193648" y="183470"/>
                </a:lnTo>
                <a:lnTo>
                  <a:pt x="193148" y="204102"/>
                </a:lnTo>
                <a:lnTo>
                  <a:pt x="214262" y="225847"/>
                </a:lnTo>
                <a:lnTo>
                  <a:pt x="205142" y="209044"/>
                </a:lnTo>
                <a:lnTo>
                  <a:pt x="203393" y="182976"/>
                </a:lnTo>
                <a:lnTo>
                  <a:pt x="199270" y="168026"/>
                </a:lnTo>
                <a:lnTo>
                  <a:pt x="209639" y="149741"/>
                </a:lnTo>
                <a:lnTo>
                  <a:pt x="224007" y="146405"/>
                </a:lnTo>
                <a:lnTo>
                  <a:pt x="238874" y="153324"/>
                </a:lnTo>
                <a:lnTo>
                  <a:pt x="257989" y="144923"/>
                </a:lnTo>
                <a:lnTo>
                  <a:pt x="288348" y="175192"/>
                </a:lnTo>
                <a:lnTo>
                  <a:pt x="328452" y="181122"/>
                </a:lnTo>
                <a:lnTo>
                  <a:pt x="289847" y="167161"/>
                </a:lnTo>
                <a:lnTo>
                  <a:pt x="259863" y="138745"/>
                </a:lnTo>
                <a:lnTo>
                  <a:pt x="237500" y="138251"/>
                </a:lnTo>
                <a:lnTo>
                  <a:pt x="224756" y="131209"/>
                </a:lnTo>
                <a:lnTo>
                  <a:pt x="224257" y="118236"/>
                </a:lnTo>
                <a:lnTo>
                  <a:pt x="238249" y="106622"/>
                </a:lnTo>
                <a:lnTo>
                  <a:pt x="221133" y="96986"/>
                </a:lnTo>
                <a:lnTo>
                  <a:pt x="220259" y="75735"/>
                </a:lnTo>
                <a:lnTo>
                  <a:pt x="204517" y="83272"/>
                </a:lnTo>
                <a:lnTo>
                  <a:pt x="203143" y="67581"/>
                </a:lnTo>
                <a:lnTo>
                  <a:pt x="218510" y="66840"/>
                </a:lnTo>
                <a:lnTo>
                  <a:pt x="234876" y="60045"/>
                </a:lnTo>
                <a:lnTo>
                  <a:pt x="213887" y="42377"/>
                </a:lnTo>
                <a:lnTo>
                  <a:pt x="214762" y="29281"/>
                </a:lnTo>
                <a:lnTo>
                  <a:pt x="205017" y="29034"/>
                </a:lnTo>
                <a:lnTo>
                  <a:pt x="192149" y="21250"/>
                </a:lnTo>
                <a:lnTo>
                  <a:pt x="192898" y="6177"/>
                </a:lnTo>
                <a:lnTo>
                  <a:pt x="191649" y="222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0" name="Graphic 133">
            <a:extLst>
              <a:ext uri="{FF2B5EF4-FFF2-40B4-BE49-F238E27FC236}">
                <a16:creationId xmlns:a16="http://schemas.microsoft.com/office/drawing/2014/main" id="{DCA2CC5C-EC2E-FDB1-53A1-A19A1C0313EC}"/>
              </a:ext>
            </a:extLst>
          </p:cNvPr>
          <p:cNvSpPr/>
          <p:nvPr/>
        </p:nvSpPr>
        <p:spPr>
          <a:xfrm rot="1141104">
            <a:off x="6621017" y="2729468"/>
            <a:ext cx="260613" cy="215716"/>
          </a:xfrm>
          <a:custGeom>
            <a:avLst/>
            <a:gdLst>
              <a:gd name="connsiteX0" fmla="*/ 251119 w 260613"/>
              <a:gd name="connsiteY0" fmla="*/ 143811 h 215716"/>
              <a:gd name="connsiteX1" fmla="*/ 260614 w 260613"/>
              <a:gd name="connsiteY1" fmla="*/ 118607 h 215716"/>
              <a:gd name="connsiteX2" fmla="*/ 248620 w 260613"/>
              <a:gd name="connsiteY2" fmla="*/ 102051 h 215716"/>
              <a:gd name="connsiteX3" fmla="*/ 248870 w 260613"/>
              <a:gd name="connsiteY3" fmla="*/ 90932 h 215716"/>
              <a:gd name="connsiteX4" fmla="*/ 233753 w 260613"/>
              <a:gd name="connsiteY4" fmla="*/ 63381 h 215716"/>
              <a:gd name="connsiteX5" fmla="*/ 239125 w 260613"/>
              <a:gd name="connsiteY5" fmla="*/ 50037 h 215716"/>
              <a:gd name="connsiteX6" fmla="*/ 221010 w 260613"/>
              <a:gd name="connsiteY6" fmla="*/ 45219 h 215716"/>
              <a:gd name="connsiteX7" fmla="*/ 221509 w 260613"/>
              <a:gd name="connsiteY7" fmla="*/ 33729 h 215716"/>
              <a:gd name="connsiteX8" fmla="*/ 212639 w 260613"/>
              <a:gd name="connsiteY8" fmla="*/ 19027 h 215716"/>
              <a:gd name="connsiteX9" fmla="*/ 188152 w 260613"/>
              <a:gd name="connsiteY9" fmla="*/ 21374 h 215716"/>
              <a:gd name="connsiteX10" fmla="*/ 179032 w 260613"/>
              <a:gd name="connsiteY10" fmla="*/ 9390 h 215716"/>
              <a:gd name="connsiteX11" fmla="*/ 163165 w 260613"/>
              <a:gd name="connsiteY11" fmla="*/ 10007 h 215716"/>
              <a:gd name="connsiteX12" fmla="*/ 152171 w 260613"/>
              <a:gd name="connsiteY12" fmla="*/ 0 h 215716"/>
              <a:gd name="connsiteX13" fmla="*/ 121062 w 260613"/>
              <a:gd name="connsiteY13" fmla="*/ 741 h 215716"/>
              <a:gd name="connsiteX14" fmla="*/ 116314 w 260613"/>
              <a:gd name="connsiteY14" fmla="*/ 13961 h 215716"/>
              <a:gd name="connsiteX15" fmla="*/ 103196 w 260613"/>
              <a:gd name="connsiteY15" fmla="*/ 15938 h 215716"/>
              <a:gd name="connsiteX16" fmla="*/ 99448 w 260613"/>
              <a:gd name="connsiteY16" fmla="*/ 21868 h 215716"/>
              <a:gd name="connsiteX17" fmla="*/ 82457 w 260613"/>
              <a:gd name="connsiteY17" fmla="*/ 25945 h 215716"/>
              <a:gd name="connsiteX18" fmla="*/ 72962 w 260613"/>
              <a:gd name="connsiteY18" fmla="*/ 36200 h 215716"/>
              <a:gd name="connsiteX19" fmla="*/ 63217 w 260613"/>
              <a:gd name="connsiteY19" fmla="*/ 26687 h 215716"/>
              <a:gd name="connsiteX20" fmla="*/ 49349 w 260613"/>
              <a:gd name="connsiteY20" fmla="*/ 27304 h 215716"/>
              <a:gd name="connsiteX21" fmla="*/ 40229 w 260613"/>
              <a:gd name="connsiteY21" fmla="*/ 14579 h 215716"/>
              <a:gd name="connsiteX22" fmla="*/ 29734 w 260613"/>
              <a:gd name="connsiteY22" fmla="*/ 10131 h 215716"/>
              <a:gd name="connsiteX23" fmla="*/ 11494 w 260613"/>
              <a:gd name="connsiteY23" fmla="*/ 25575 h 215716"/>
              <a:gd name="connsiteX24" fmla="*/ 0 w 260613"/>
              <a:gd name="connsiteY24" fmla="*/ 48555 h 215716"/>
              <a:gd name="connsiteX25" fmla="*/ 10869 w 260613"/>
              <a:gd name="connsiteY25" fmla="*/ 55844 h 215716"/>
              <a:gd name="connsiteX26" fmla="*/ 16242 w 260613"/>
              <a:gd name="connsiteY26" fmla="*/ 87102 h 215716"/>
              <a:gd name="connsiteX27" fmla="*/ 37730 w 260613"/>
              <a:gd name="connsiteY27" fmla="*/ 94021 h 215716"/>
              <a:gd name="connsiteX28" fmla="*/ 41728 w 260613"/>
              <a:gd name="connsiteY28" fmla="*/ 108847 h 215716"/>
              <a:gd name="connsiteX29" fmla="*/ 68339 w 260613"/>
              <a:gd name="connsiteY29" fmla="*/ 128738 h 215716"/>
              <a:gd name="connsiteX30" fmla="*/ 79583 w 260613"/>
              <a:gd name="connsiteY30" fmla="*/ 127502 h 215716"/>
              <a:gd name="connsiteX31" fmla="*/ 91202 w 260613"/>
              <a:gd name="connsiteY31" fmla="*/ 136274 h 215716"/>
              <a:gd name="connsiteX32" fmla="*/ 104071 w 260613"/>
              <a:gd name="connsiteY32" fmla="*/ 141587 h 215716"/>
              <a:gd name="connsiteX33" fmla="*/ 106444 w 260613"/>
              <a:gd name="connsiteY33" fmla="*/ 166297 h 215716"/>
              <a:gd name="connsiteX34" fmla="*/ 126059 w 260613"/>
              <a:gd name="connsiteY34" fmla="*/ 175316 h 215716"/>
              <a:gd name="connsiteX35" fmla="*/ 135679 w 260613"/>
              <a:gd name="connsiteY35" fmla="*/ 168397 h 215716"/>
              <a:gd name="connsiteX36" fmla="*/ 146923 w 260613"/>
              <a:gd name="connsiteY36" fmla="*/ 167903 h 215716"/>
              <a:gd name="connsiteX37" fmla="*/ 155294 w 260613"/>
              <a:gd name="connsiteY37" fmla="*/ 176798 h 215716"/>
              <a:gd name="connsiteX38" fmla="*/ 167163 w 260613"/>
              <a:gd name="connsiteY38" fmla="*/ 178775 h 215716"/>
              <a:gd name="connsiteX39" fmla="*/ 189526 w 260613"/>
              <a:gd name="connsiteY39" fmla="*/ 204103 h 215716"/>
              <a:gd name="connsiteX40" fmla="*/ 208141 w 260613"/>
              <a:gd name="connsiteY40" fmla="*/ 204597 h 215716"/>
              <a:gd name="connsiteX41" fmla="*/ 225132 w 260613"/>
              <a:gd name="connsiteY41" fmla="*/ 215716 h 215716"/>
              <a:gd name="connsiteX42" fmla="*/ 232878 w 260613"/>
              <a:gd name="connsiteY42" fmla="*/ 210157 h 215716"/>
              <a:gd name="connsiteX43" fmla="*/ 245997 w 260613"/>
              <a:gd name="connsiteY43" fmla="*/ 209539 h 215716"/>
              <a:gd name="connsiteX44" fmla="*/ 245622 w 260613"/>
              <a:gd name="connsiteY44" fmla="*/ 199655 h 215716"/>
              <a:gd name="connsiteX45" fmla="*/ 238126 w 260613"/>
              <a:gd name="connsiteY45" fmla="*/ 193478 h 215716"/>
              <a:gd name="connsiteX46" fmla="*/ 237501 w 260613"/>
              <a:gd name="connsiteY46" fmla="*/ 181123 h 215716"/>
              <a:gd name="connsiteX47" fmla="*/ 231254 w 260613"/>
              <a:gd name="connsiteY47" fmla="*/ 173463 h 215716"/>
              <a:gd name="connsiteX48" fmla="*/ 240624 w 260613"/>
              <a:gd name="connsiteY48" fmla="*/ 159996 h 215716"/>
              <a:gd name="connsiteX49" fmla="*/ 245122 w 260613"/>
              <a:gd name="connsiteY49" fmla="*/ 144058 h 215716"/>
              <a:gd name="connsiteX50" fmla="*/ 251119 w 260613"/>
              <a:gd name="connsiteY50" fmla="*/ 143811 h 2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60613" h="215716">
                <a:moveTo>
                  <a:pt x="251119" y="143811"/>
                </a:moveTo>
                <a:lnTo>
                  <a:pt x="260614" y="118607"/>
                </a:lnTo>
                <a:lnTo>
                  <a:pt x="248620" y="102051"/>
                </a:lnTo>
                <a:lnTo>
                  <a:pt x="248870" y="90932"/>
                </a:lnTo>
                <a:lnTo>
                  <a:pt x="233753" y="63381"/>
                </a:lnTo>
                <a:lnTo>
                  <a:pt x="239125" y="50037"/>
                </a:lnTo>
                <a:lnTo>
                  <a:pt x="221010" y="45219"/>
                </a:lnTo>
                <a:lnTo>
                  <a:pt x="221509" y="33729"/>
                </a:lnTo>
                <a:lnTo>
                  <a:pt x="212639" y="19027"/>
                </a:lnTo>
                <a:lnTo>
                  <a:pt x="188152" y="21374"/>
                </a:lnTo>
                <a:lnTo>
                  <a:pt x="179032" y="9390"/>
                </a:lnTo>
                <a:lnTo>
                  <a:pt x="163165" y="10007"/>
                </a:lnTo>
                <a:lnTo>
                  <a:pt x="152171" y="0"/>
                </a:lnTo>
                <a:lnTo>
                  <a:pt x="121062" y="741"/>
                </a:lnTo>
                <a:lnTo>
                  <a:pt x="116314" y="13961"/>
                </a:lnTo>
                <a:lnTo>
                  <a:pt x="103196" y="15938"/>
                </a:lnTo>
                <a:lnTo>
                  <a:pt x="99448" y="21868"/>
                </a:lnTo>
                <a:lnTo>
                  <a:pt x="82457" y="25945"/>
                </a:lnTo>
                <a:lnTo>
                  <a:pt x="72962" y="36200"/>
                </a:lnTo>
                <a:lnTo>
                  <a:pt x="63217" y="26687"/>
                </a:lnTo>
                <a:lnTo>
                  <a:pt x="49349" y="27304"/>
                </a:lnTo>
                <a:lnTo>
                  <a:pt x="40229" y="14579"/>
                </a:lnTo>
                <a:lnTo>
                  <a:pt x="29734" y="10131"/>
                </a:lnTo>
                <a:lnTo>
                  <a:pt x="11494" y="25575"/>
                </a:lnTo>
                <a:lnTo>
                  <a:pt x="0" y="48555"/>
                </a:lnTo>
                <a:lnTo>
                  <a:pt x="10869" y="55844"/>
                </a:lnTo>
                <a:lnTo>
                  <a:pt x="16242" y="87102"/>
                </a:lnTo>
                <a:lnTo>
                  <a:pt x="37730" y="94021"/>
                </a:lnTo>
                <a:lnTo>
                  <a:pt x="41728" y="108847"/>
                </a:lnTo>
                <a:lnTo>
                  <a:pt x="68339" y="128738"/>
                </a:lnTo>
                <a:lnTo>
                  <a:pt x="79583" y="127502"/>
                </a:lnTo>
                <a:lnTo>
                  <a:pt x="91202" y="136274"/>
                </a:lnTo>
                <a:lnTo>
                  <a:pt x="104071" y="141587"/>
                </a:lnTo>
                <a:lnTo>
                  <a:pt x="106444" y="166297"/>
                </a:lnTo>
                <a:lnTo>
                  <a:pt x="126059" y="175316"/>
                </a:lnTo>
                <a:lnTo>
                  <a:pt x="135679" y="168397"/>
                </a:lnTo>
                <a:lnTo>
                  <a:pt x="146923" y="167903"/>
                </a:lnTo>
                <a:lnTo>
                  <a:pt x="155294" y="176798"/>
                </a:lnTo>
                <a:lnTo>
                  <a:pt x="167163" y="178775"/>
                </a:lnTo>
                <a:lnTo>
                  <a:pt x="189526" y="204103"/>
                </a:lnTo>
                <a:lnTo>
                  <a:pt x="208141" y="204597"/>
                </a:lnTo>
                <a:lnTo>
                  <a:pt x="225132" y="215716"/>
                </a:lnTo>
                <a:lnTo>
                  <a:pt x="232878" y="210157"/>
                </a:lnTo>
                <a:lnTo>
                  <a:pt x="245997" y="209539"/>
                </a:lnTo>
                <a:lnTo>
                  <a:pt x="245622" y="199655"/>
                </a:lnTo>
                <a:lnTo>
                  <a:pt x="238126" y="193478"/>
                </a:lnTo>
                <a:lnTo>
                  <a:pt x="237501" y="181123"/>
                </a:lnTo>
                <a:lnTo>
                  <a:pt x="231254" y="173463"/>
                </a:lnTo>
                <a:lnTo>
                  <a:pt x="240624" y="159996"/>
                </a:lnTo>
                <a:lnTo>
                  <a:pt x="245122" y="144058"/>
                </a:lnTo>
                <a:lnTo>
                  <a:pt x="251119" y="143811"/>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1" name="Graphic 131">
            <a:extLst>
              <a:ext uri="{FF2B5EF4-FFF2-40B4-BE49-F238E27FC236}">
                <a16:creationId xmlns:a16="http://schemas.microsoft.com/office/drawing/2014/main" id="{E7A77969-9690-8209-84F0-43E31C2F1C66}"/>
              </a:ext>
            </a:extLst>
          </p:cNvPr>
          <p:cNvSpPr/>
          <p:nvPr/>
        </p:nvSpPr>
        <p:spPr>
          <a:xfrm rot="1141104">
            <a:off x="6717026" y="2509288"/>
            <a:ext cx="316708" cy="299851"/>
          </a:xfrm>
          <a:custGeom>
            <a:avLst/>
            <a:gdLst>
              <a:gd name="connsiteX0" fmla="*/ 206766 w 316708"/>
              <a:gd name="connsiteY0" fmla="*/ 299728 h 299851"/>
              <a:gd name="connsiteX1" fmla="*/ 213638 w 316708"/>
              <a:gd name="connsiteY1" fmla="*/ 279467 h 299851"/>
              <a:gd name="connsiteX2" fmla="*/ 218260 w 316708"/>
              <a:gd name="connsiteY2" fmla="*/ 249074 h 299851"/>
              <a:gd name="connsiteX3" fmla="*/ 211764 w 316708"/>
              <a:gd name="connsiteY3" fmla="*/ 223005 h 299851"/>
              <a:gd name="connsiteX4" fmla="*/ 223008 w 316708"/>
              <a:gd name="connsiteY4" fmla="*/ 208056 h 299851"/>
              <a:gd name="connsiteX5" fmla="*/ 233502 w 316708"/>
              <a:gd name="connsiteY5" fmla="*/ 189276 h 299851"/>
              <a:gd name="connsiteX6" fmla="*/ 257739 w 316708"/>
              <a:gd name="connsiteY6" fmla="*/ 182357 h 299851"/>
              <a:gd name="connsiteX7" fmla="*/ 281102 w 316708"/>
              <a:gd name="connsiteY7" fmla="*/ 186558 h 299851"/>
              <a:gd name="connsiteX8" fmla="*/ 293970 w 316708"/>
              <a:gd name="connsiteY8" fmla="*/ 178775 h 299851"/>
              <a:gd name="connsiteX9" fmla="*/ 283351 w 316708"/>
              <a:gd name="connsiteY9" fmla="*/ 162219 h 299851"/>
              <a:gd name="connsiteX10" fmla="*/ 294845 w 316708"/>
              <a:gd name="connsiteY10" fmla="*/ 153200 h 299851"/>
              <a:gd name="connsiteX11" fmla="*/ 296719 w 316708"/>
              <a:gd name="connsiteY11" fmla="*/ 133432 h 299851"/>
              <a:gd name="connsiteX12" fmla="*/ 301466 w 316708"/>
              <a:gd name="connsiteY12" fmla="*/ 122066 h 299851"/>
              <a:gd name="connsiteX13" fmla="*/ 291846 w 316708"/>
              <a:gd name="connsiteY13" fmla="*/ 113912 h 299851"/>
              <a:gd name="connsiteX14" fmla="*/ 269358 w 316708"/>
              <a:gd name="connsiteY14" fmla="*/ 115518 h 299851"/>
              <a:gd name="connsiteX15" fmla="*/ 266235 w 316708"/>
              <a:gd name="connsiteY15" fmla="*/ 103781 h 299851"/>
              <a:gd name="connsiteX16" fmla="*/ 273356 w 316708"/>
              <a:gd name="connsiteY16" fmla="*/ 85866 h 299851"/>
              <a:gd name="connsiteX17" fmla="*/ 292846 w 316708"/>
              <a:gd name="connsiteY17" fmla="*/ 93526 h 299851"/>
              <a:gd name="connsiteX18" fmla="*/ 304340 w 316708"/>
              <a:gd name="connsiteY18" fmla="*/ 83272 h 299851"/>
              <a:gd name="connsiteX19" fmla="*/ 303965 w 316708"/>
              <a:gd name="connsiteY19" fmla="*/ 65481 h 299851"/>
              <a:gd name="connsiteX20" fmla="*/ 310587 w 316708"/>
              <a:gd name="connsiteY20" fmla="*/ 49419 h 299851"/>
              <a:gd name="connsiteX21" fmla="*/ 311461 w 316708"/>
              <a:gd name="connsiteY21" fmla="*/ 39165 h 299851"/>
              <a:gd name="connsiteX22" fmla="*/ 316458 w 316708"/>
              <a:gd name="connsiteY22" fmla="*/ 32370 h 299851"/>
              <a:gd name="connsiteX23" fmla="*/ 316708 w 316708"/>
              <a:gd name="connsiteY23" fmla="*/ 28540 h 299851"/>
              <a:gd name="connsiteX24" fmla="*/ 298718 w 316708"/>
              <a:gd name="connsiteY24" fmla="*/ 23721 h 299851"/>
              <a:gd name="connsiteX25" fmla="*/ 284350 w 316708"/>
              <a:gd name="connsiteY25" fmla="*/ 11984 h 299851"/>
              <a:gd name="connsiteX26" fmla="*/ 258114 w 316708"/>
              <a:gd name="connsiteY26" fmla="*/ 0 h 299851"/>
              <a:gd name="connsiteX27" fmla="*/ 231253 w 316708"/>
              <a:gd name="connsiteY27" fmla="*/ 5313 h 299851"/>
              <a:gd name="connsiteX28" fmla="*/ 215886 w 316708"/>
              <a:gd name="connsiteY28" fmla="*/ 19644 h 299851"/>
              <a:gd name="connsiteX29" fmla="*/ 200270 w 316708"/>
              <a:gd name="connsiteY29" fmla="*/ 14085 h 299851"/>
              <a:gd name="connsiteX30" fmla="*/ 190900 w 316708"/>
              <a:gd name="connsiteY30" fmla="*/ 20633 h 299851"/>
              <a:gd name="connsiteX31" fmla="*/ 168786 w 316708"/>
              <a:gd name="connsiteY31" fmla="*/ 22239 h 299851"/>
              <a:gd name="connsiteX32" fmla="*/ 148922 w 316708"/>
              <a:gd name="connsiteY32" fmla="*/ 45836 h 299851"/>
              <a:gd name="connsiteX33" fmla="*/ 116439 w 316708"/>
              <a:gd name="connsiteY33" fmla="*/ 65110 h 299851"/>
              <a:gd name="connsiteX34" fmla="*/ 109317 w 316708"/>
              <a:gd name="connsiteY34" fmla="*/ 60662 h 299851"/>
              <a:gd name="connsiteX35" fmla="*/ 90203 w 316708"/>
              <a:gd name="connsiteY35" fmla="*/ 69064 h 299851"/>
              <a:gd name="connsiteX36" fmla="*/ 90452 w 316708"/>
              <a:gd name="connsiteY36" fmla="*/ 91055 h 299851"/>
              <a:gd name="connsiteX37" fmla="*/ 72962 w 316708"/>
              <a:gd name="connsiteY37" fmla="*/ 105510 h 299851"/>
              <a:gd name="connsiteX38" fmla="*/ 79458 w 316708"/>
              <a:gd name="connsiteY38" fmla="*/ 126637 h 299851"/>
              <a:gd name="connsiteX39" fmla="*/ 76085 w 316708"/>
              <a:gd name="connsiteY39" fmla="*/ 146034 h 299851"/>
              <a:gd name="connsiteX40" fmla="*/ 69089 w 316708"/>
              <a:gd name="connsiteY40" fmla="*/ 162219 h 299851"/>
              <a:gd name="connsiteX41" fmla="*/ 63342 w 316708"/>
              <a:gd name="connsiteY41" fmla="*/ 173462 h 299851"/>
              <a:gd name="connsiteX42" fmla="*/ 49974 w 316708"/>
              <a:gd name="connsiteY42" fmla="*/ 184334 h 299851"/>
              <a:gd name="connsiteX43" fmla="*/ 51348 w 316708"/>
              <a:gd name="connsiteY43" fmla="*/ 198048 h 299851"/>
              <a:gd name="connsiteX44" fmla="*/ 72962 w 316708"/>
              <a:gd name="connsiteY44" fmla="*/ 215716 h 299851"/>
              <a:gd name="connsiteX45" fmla="*/ 91952 w 316708"/>
              <a:gd name="connsiteY45" fmla="*/ 220410 h 299851"/>
              <a:gd name="connsiteX46" fmla="*/ 71088 w 316708"/>
              <a:gd name="connsiteY46" fmla="*/ 221275 h 299851"/>
              <a:gd name="connsiteX47" fmla="*/ 61718 w 316708"/>
              <a:gd name="connsiteY47" fmla="*/ 229924 h 299851"/>
              <a:gd name="connsiteX48" fmla="*/ 55721 w 316708"/>
              <a:gd name="connsiteY48" fmla="*/ 235730 h 299851"/>
              <a:gd name="connsiteX49" fmla="*/ 64466 w 316708"/>
              <a:gd name="connsiteY49" fmla="*/ 245738 h 299851"/>
              <a:gd name="connsiteX50" fmla="*/ 74961 w 316708"/>
              <a:gd name="connsiteY50" fmla="*/ 246603 h 299851"/>
              <a:gd name="connsiteX51" fmla="*/ 76085 w 316708"/>
              <a:gd name="connsiteY51" fmla="*/ 255498 h 299851"/>
              <a:gd name="connsiteX52" fmla="*/ 59469 w 316708"/>
              <a:gd name="connsiteY52" fmla="*/ 256857 h 299851"/>
              <a:gd name="connsiteX53" fmla="*/ 43477 w 316708"/>
              <a:gd name="connsiteY53" fmla="*/ 241784 h 299851"/>
              <a:gd name="connsiteX54" fmla="*/ 27236 w 316708"/>
              <a:gd name="connsiteY54" fmla="*/ 234866 h 299851"/>
              <a:gd name="connsiteX55" fmla="*/ 12244 w 316708"/>
              <a:gd name="connsiteY55" fmla="*/ 241661 h 299851"/>
              <a:gd name="connsiteX56" fmla="*/ 18240 w 316708"/>
              <a:gd name="connsiteY56" fmla="*/ 249691 h 299851"/>
              <a:gd name="connsiteX57" fmla="*/ 32858 w 316708"/>
              <a:gd name="connsiteY57" fmla="*/ 250433 h 299851"/>
              <a:gd name="connsiteX58" fmla="*/ 46600 w 316708"/>
              <a:gd name="connsiteY58" fmla="*/ 262293 h 299851"/>
              <a:gd name="connsiteX59" fmla="*/ 51348 w 316708"/>
              <a:gd name="connsiteY59" fmla="*/ 260069 h 299851"/>
              <a:gd name="connsiteX60" fmla="*/ 69214 w 316708"/>
              <a:gd name="connsiteY60" fmla="*/ 270942 h 299851"/>
              <a:gd name="connsiteX61" fmla="*/ 52223 w 316708"/>
              <a:gd name="connsiteY61" fmla="*/ 265506 h 299851"/>
              <a:gd name="connsiteX62" fmla="*/ 41853 w 316708"/>
              <a:gd name="connsiteY62" fmla="*/ 266617 h 299851"/>
              <a:gd name="connsiteX63" fmla="*/ 16491 w 316708"/>
              <a:gd name="connsiteY63" fmla="*/ 259452 h 299851"/>
              <a:gd name="connsiteX64" fmla="*/ 625 w 316708"/>
              <a:gd name="connsiteY64" fmla="*/ 260069 h 299851"/>
              <a:gd name="connsiteX65" fmla="*/ 0 w 316708"/>
              <a:gd name="connsiteY65" fmla="*/ 260564 h 299851"/>
              <a:gd name="connsiteX66" fmla="*/ 10494 w 316708"/>
              <a:gd name="connsiteY66" fmla="*/ 265011 h 299851"/>
              <a:gd name="connsiteX67" fmla="*/ 19615 w 316708"/>
              <a:gd name="connsiteY67" fmla="*/ 277737 h 299851"/>
              <a:gd name="connsiteX68" fmla="*/ 33482 w 316708"/>
              <a:gd name="connsiteY68" fmla="*/ 277119 h 299851"/>
              <a:gd name="connsiteX69" fmla="*/ 43102 w 316708"/>
              <a:gd name="connsiteY69" fmla="*/ 286509 h 299851"/>
              <a:gd name="connsiteX70" fmla="*/ 52597 w 316708"/>
              <a:gd name="connsiteY70" fmla="*/ 276254 h 299851"/>
              <a:gd name="connsiteX71" fmla="*/ 69588 w 316708"/>
              <a:gd name="connsiteY71" fmla="*/ 272301 h 299851"/>
              <a:gd name="connsiteX72" fmla="*/ 73211 w 316708"/>
              <a:gd name="connsiteY72" fmla="*/ 266247 h 299851"/>
              <a:gd name="connsiteX73" fmla="*/ 86330 w 316708"/>
              <a:gd name="connsiteY73" fmla="*/ 264394 h 299851"/>
              <a:gd name="connsiteX74" fmla="*/ 91077 w 316708"/>
              <a:gd name="connsiteY74" fmla="*/ 251050 h 299851"/>
              <a:gd name="connsiteX75" fmla="*/ 122186 w 316708"/>
              <a:gd name="connsiteY75" fmla="*/ 250433 h 299851"/>
              <a:gd name="connsiteX76" fmla="*/ 133180 w 316708"/>
              <a:gd name="connsiteY76" fmla="*/ 260440 h 299851"/>
              <a:gd name="connsiteX77" fmla="*/ 149047 w 316708"/>
              <a:gd name="connsiteY77" fmla="*/ 259822 h 299851"/>
              <a:gd name="connsiteX78" fmla="*/ 158167 w 316708"/>
              <a:gd name="connsiteY78" fmla="*/ 271930 h 299851"/>
              <a:gd name="connsiteX79" fmla="*/ 182529 w 316708"/>
              <a:gd name="connsiteY79" fmla="*/ 269583 h 299851"/>
              <a:gd name="connsiteX80" fmla="*/ 191399 w 316708"/>
              <a:gd name="connsiteY80" fmla="*/ 284285 h 299851"/>
              <a:gd name="connsiteX81" fmla="*/ 190900 w 316708"/>
              <a:gd name="connsiteY81" fmla="*/ 295775 h 299851"/>
              <a:gd name="connsiteX82" fmla="*/ 206641 w 316708"/>
              <a:gd name="connsiteY82" fmla="*/ 299852 h 299851"/>
              <a:gd name="connsiteX83" fmla="*/ 206641 w 316708"/>
              <a:gd name="connsiteY83" fmla="*/ 299852 h 299851"/>
              <a:gd name="connsiteX84" fmla="*/ 28110 w 316708"/>
              <a:gd name="connsiteY84" fmla="*/ 229059 h 299851"/>
              <a:gd name="connsiteX85" fmla="*/ 43727 w 316708"/>
              <a:gd name="connsiteY85" fmla="*/ 221522 h 299851"/>
              <a:gd name="connsiteX86" fmla="*/ 51098 w 316708"/>
              <a:gd name="connsiteY86" fmla="*/ 230788 h 299851"/>
              <a:gd name="connsiteX87" fmla="*/ 42228 w 316708"/>
              <a:gd name="connsiteY87" fmla="*/ 233630 h 299851"/>
              <a:gd name="connsiteX88" fmla="*/ 38855 w 316708"/>
              <a:gd name="connsiteY88" fmla="*/ 229306 h 299851"/>
              <a:gd name="connsiteX89" fmla="*/ 28110 w 316708"/>
              <a:gd name="connsiteY89" fmla="*/ 229059 h 299851"/>
              <a:gd name="connsiteX90" fmla="*/ 28110 w 316708"/>
              <a:gd name="connsiteY90" fmla="*/ 229059 h 299851"/>
              <a:gd name="connsiteX91" fmla="*/ 35231 w 316708"/>
              <a:gd name="connsiteY91" fmla="*/ 210279 h 299851"/>
              <a:gd name="connsiteX92" fmla="*/ 48100 w 316708"/>
              <a:gd name="connsiteY92" fmla="*/ 210032 h 299851"/>
              <a:gd name="connsiteX93" fmla="*/ 65341 w 316708"/>
              <a:gd name="connsiteY93" fmla="*/ 216086 h 299851"/>
              <a:gd name="connsiteX94" fmla="*/ 62092 w 316708"/>
              <a:gd name="connsiteY94" fmla="*/ 220657 h 299851"/>
              <a:gd name="connsiteX95" fmla="*/ 52597 w 316708"/>
              <a:gd name="connsiteY95" fmla="*/ 219051 h 299851"/>
              <a:gd name="connsiteX96" fmla="*/ 49599 w 316708"/>
              <a:gd name="connsiteY96" fmla="*/ 213615 h 299851"/>
              <a:gd name="connsiteX97" fmla="*/ 38730 w 316708"/>
              <a:gd name="connsiteY97" fmla="*/ 217816 h 299851"/>
              <a:gd name="connsiteX98" fmla="*/ 35231 w 316708"/>
              <a:gd name="connsiteY98" fmla="*/ 210032 h 29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316708" h="299851">
                <a:moveTo>
                  <a:pt x="206766" y="299728"/>
                </a:moveTo>
                <a:lnTo>
                  <a:pt x="213638" y="279467"/>
                </a:lnTo>
                <a:lnTo>
                  <a:pt x="218260" y="249074"/>
                </a:lnTo>
                <a:lnTo>
                  <a:pt x="211764" y="223005"/>
                </a:lnTo>
                <a:lnTo>
                  <a:pt x="223008" y="208056"/>
                </a:lnTo>
                <a:lnTo>
                  <a:pt x="233502" y="189276"/>
                </a:lnTo>
                <a:lnTo>
                  <a:pt x="257739" y="182357"/>
                </a:lnTo>
                <a:lnTo>
                  <a:pt x="281102" y="186558"/>
                </a:lnTo>
                <a:lnTo>
                  <a:pt x="293970" y="178775"/>
                </a:lnTo>
                <a:lnTo>
                  <a:pt x="283351" y="162219"/>
                </a:lnTo>
                <a:lnTo>
                  <a:pt x="294845" y="153200"/>
                </a:lnTo>
                <a:lnTo>
                  <a:pt x="296719" y="133432"/>
                </a:lnTo>
                <a:lnTo>
                  <a:pt x="301466" y="122066"/>
                </a:lnTo>
                <a:lnTo>
                  <a:pt x="291846" y="113912"/>
                </a:lnTo>
                <a:lnTo>
                  <a:pt x="269358" y="115518"/>
                </a:lnTo>
                <a:lnTo>
                  <a:pt x="266235" y="103781"/>
                </a:lnTo>
                <a:lnTo>
                  <a:pt x="273356" y="85866"/>
                </a:lnTo>
                <a:lnTo>
                  <a:pt x="292846" y="93526"/>
                </a:lnTo>
                <a:lnTo>
                  <a:pt x="304340" y="83272"/>
                </a:lnTo>
                <a:lnTo>
                  <a:pt x="303965" y="65481"/>
                </a:lnTo>
                <a:lnTo>
                  <a:pt x="310587" y="49419"/>
                </a:lnTo>
                <a:lnTo>
                  <a:pt x="311461" y="39165"/>
                </a:lnTo>
                <a:lnTo>
                  <a:pt x="316458" y="32370"/>
                </a:lnTo>
                <a:lnTo>
                  <a:pt x="316708" y="28540"/>
                </a:lnTo>
                <a:lnTo>
                  <a:pt x="298718" y="23721"/>
                </a:lnTo>
                <a:lnTo>
                  <a:pt x="284350" y="11984"/>
                </a:lnTo>
                <a:lnTo>
                  <a:pt x="258114" y="0"/>
                </a:lnTo>
                <a:lnTo>
                  <a:pt x="231253" y="5313"/>
                </a:lnTo>
                <a:lnTo>
                  <a:pt x="215886" y="19644"/>
                </a:lnTo>
                <a:lnTo>
                  <a:pt x="200270" y="14085"/>
                </a:lnTo>
                <a:lnTo>
                  <a:pt x="190900" y="20633"/>
                </a:lnTo>
                <a:lnTo>
                  <a:pt x="168786" y="22239"/>
                </a:lnTo>
                <a:lnTo>
                  <a:pt x="148922" y="45836"/>
                </a:lnTo>
                <a:lnTo>
                  <a:pt x="116439" y="65110"/>
                </a:lnTo>
                <a:lnTo>
                  <a:pt x="109317" y="60662"/>
                </a:lnTo>
                <a:lnTo>
                  <a:pt x="90203" y="69064"/>
                </a:lnTo>
                <a:lnTo>
                  <a:pt x="90452" y="91055"/>
                </a:lnTo>
                <a:lnTo>
                  <a:pt x="72962" y="105510"/>
                </a:lnTo>
                <a:lnTo>
                  <a:pt x="79458" y="126637"/>
                </a:lnTo>
                <a:lnTo>
                  <a:pt x="76085" y="146034"/>
                </a:lnTo>
                <a:lnTo>
                  <a:pt x="69089" y="162219"/>
                </a:lnTo>
                <a:lnTo>
                  <a:pt x="63342" y="173462"/>
                </a:lnTo>
                <a:lnTo>
                  <a:pt x="49974" y="184334"/>
                </a:lnTo>
                <a:lnTo>
                  <a:pt x="51348" y="198048"/>
                </a:lnTo>
                <a:lnTo>
                  <a:pt x="72962" y="215716"/>
                </a:lnTo>
                <a:lnTo>
                  <a:pt x="91952" y="220410"/>
                </a:lnTo>
                <a:lnTo>
                  <a:pt x="71088" y="221275"/>
                </a:lnTo>
                <a:lnTo>
                  <a:pt x="61718" y="229924"/>
                </a:lnTo>
                <a:lnTo>
                  <a:pt x="55721" y="235730"/>
                </a:lnTo>
                <a:lnTo>
                  <a:pt x="64466" y="245738"/>
                </a:lnTo>
                <a:lnTo>
                  <a:pt x="74961" y="246603"/>
                </a:lnTo>
                <a:lnTo>
                  <a:pt x="76085" y="255498"/>
                </a:lnTo>
                <a:lnTo>
                  <a:pt x="59469" y="256857"/>
                </a:lnTo>
                <a:lnTo>
                  <a:pt x="43477" y="241784"/>
                </a:lnTo>
                <a:lnTo>
                  <a:pt x="27236" y="234866"/>
                </a:lnTo>
                <a:lnTo>
                  <a:pt x="12244" y="241661"/>
                </a:lnTo>
                <a:lnTo>
                  <a:pt x="18240" y="249691"/>
                </a:lnTo>
                <a:lnTo>
                  <a:pt x="32858" y="250433"/>
                </a:lnTo>
                <a:lnTo>
                  <a:pt x="46600" y="262293"/>
                </a:lnTo>
                <a:lnTo>
                  <a:pt x="51348" y="260069"/>
                </a:lnTo>
                <a:lnTo>
                  <a:pt x="69214" y="270942"/>
                </a:lnTo>
                <a:lnTo>
                  <a:pt x="52223" y="265506"/>
                </a:lnTo>
                <a:lnTo>
                  <a:pt x="41853" y="266617"/>
                </a:lnTo>
                <a:lnTo>
                  <a:pt x="16491" y="259452"/>
                </a:lnTo>
                <a:lnTo>
                  <a:pt x="625" y="260069"/>
                </a:lnTo>
                <a:lnTo>
                  <a:pt x="0" y="260564"/>
                </a:lnTo>
                <a:lnTo>
                  <a:pt x="10494" y="265011"/>
                </a:lnTo>
                <a:lnTo>
                  <a:pt x="19615" y="277737"/>
                </a:lnTo>
                <a:lnTo>
                  <a:pt x="33482" y="277119"/>
                </a:lnTo>
                <a:lnTo>
                  <a:pt x="43102" y="286509"/>
                </a:lnTo>
                <a:lnTo>
                  <a:pt x="52597" y="276254"/>
                </a:lnTo>
                <a:lnTo>
                  <a:pt x="69588" y="272301"/>
                </a:lnTo>
                <a:lnTo>
                  <a:pt x="73211" y="266247"/>
                </a:lnTo>
                <a:lnTo>
                  <a:pt x="86330" y="264394"/>
                </a:lnTo>
                <a:lnTo>
                  <a:pt x="91077" y="251050"/>
                </a:lnTo>
                <a:lnTo>
                  <a:pt x="122186" y="250433"/>
                </a:lnTo>
                <a:lnTo>
                  <a:pt x="133180" y="260440"/>
                </a:lnTo>
                <a:lnTo>
                  <a:pt x="149047" y="259822"/>
                </a:lnTo>
                <a:lnTo>
                  <a:pt x="158167" y="271930"/>
                </a:lnTo>
                <a:lnTo>
                  <a:pt x="182529" y="269583"/>
                </a:lnTo>
                <a:lnTo>
                  <a:pt x="191399" y="284285"/>
                </a:lnTo>
                <a:lnTo>
                  <a:pt x="190900" y="295775"/>
                </a:lnTo>
                <a:lnTo>
                  <a:pt x="206641" y="299852"/>
                </a:lnTo>
                <a:lnTo>
                  <a:pt x="206641" y="299852"/>
                </a:lnTo>
                <a:close/>
                <a:moveTo>
                  <a:pt x="28110" y="229059"/>
                </a:moveTo>
                <a:lnTo>
                  <a:pt x="43727" y="221522"/>
                </a:lnTo>
                <a:lnTo>
                  <a:pt x="51098" y="230788"/>
                </a:lnTo>
                <a:lnTo>
                  <a:pt x="42228" y="233630"/>
                </a:lnTo>
                <a:lnTo>
                  <a:pt x="38855" y="229306"/>
                </a:lnTo>
                <a:lnTo>
                  <a:pt x="28110" y="229059"/>
                </a:lnTo>
                <a:lnTo>
                  <a:pt x="28110" y="229059"/>
                </a:lnTo>
                <a:close/>
                <a:moveTo>
                  <a:pt x="35231" y="210279"/>
                </a:moveTo>
                <a:lnTo>
                  <a:pt x="48100" y="210032"/>
                </a:lnTo>
                <a:lnTo>
                  <a:pt x="65341" y="216086"/>
                </a:lnTo>
                <a:lnTo>
                  <a:pt x="62092" y="220657"/>
                </a:lnTo>
                <a:lnTo>
                  <a:pt x="52597" y="219051"/>
                </a:lnTo>
                <a:lnTo>
                  <a:pt x="49599" y="213615"/>
                </a:lnTo>
                <a:lnTo>
                  <a:pt x="38730" y="217816"/>
                </a:lnTo>
                <a:lnTo>
                  <a:pt x="35231" y="210032"/>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2" name="Graphic 132">
            <a:extLst>
              <a:ext uri="{FF2B5EF4-FFF2-40B4-BE49-F238E27FC236}">
                <a16:creationId xmlns:a16="http://schemas.microsoft.com/office/drawing/2014/main" id="{CFA8DC5B-06BB-3E72-B371-2203066EA787}"/>
              </a:ext>
            </a:extLst>
          </p:cNvPr>
          <p:cNvSpPr/>
          <p:nvPr/>
        </p:nvSpPr>
        <p:spPr>
          <a:xfrm rot="1141104">
            <a:off x="6738564" y="3225442"/>
            <a:ext cx="408783" cy="235854"/>
          </a:xfrm>
          <a:custGeom>
            <a:avLst/>
            <a:gdLst>
              <a:gd name="connsiteX0" fmla="*/ 151795 w 408783"/>
              <a:gd name="connsiteY0" fmla="*/ 29034 h 235854"/>
              <a:gd name="connsiteX1" fmla="*/ 167037 w 408783"/>
              <a:gd name="connsiteY1" fmla="*/ 32740 h 235854"/>
              <a:gd name="connsiteX2" fmla="*/ 183153 w 408783"/>
              <a:gd name="connsiteY2" fmla="*/ 22980 h 235854"/>
              <a:gd name="connsiteX3" fmla="*/ 206016 w 408783"/>
              <a:gd name="connsiteY3" fmla="*/ 29775 h 235854"/>
              <a:gd name="connsiteX4" fmla="*/ 212138 w 408783"/>
              <a:gd name="connsiteY4" fmla="*/ 18409 h 235854"/>
              <a:gd name="connsiteX5" fmla="*/ 209639 w 408783"/>
              <a:gd name="connsiteY5" fmla="*/ 7413 h 235854"/>
              <a:gd name="connsiteX6" fmla="*/ 227880 w 408783"/>
              <a:gd name="connsiteY6" fmla="*/ 0 h 235854"/>
              <a:gd name="connsiteX7" fmla="*/ 235251 w 408783"/>
              <a:gd name="connsiteY7" fmla="*/ 17420 h 235854"/>
              <a:gd name="connsiteX8" fmla="*/ 246620 w 408783"/>
              <a:gd name="connsiteY8" fmla="*/ 20262 h 235854"/>
              <a:gd name="connsiteX9" fmla="*/ 255490 w 408783"/>
              <a:gd name="connsiteY9" fmla="*/ 11366 h 235854"/>
              <a:gd name="connsiteX10" fmla="*/ 268108 w 408783"/>
              <a:gd name="connsiteY10" fmla="*/ 11490 h 235854"/>
              <a:gd name="connsiteX11" fmla="*/ 293970 w 408783"/>
              <a:gd name="connsiteY11" fmla="*/ 28663 h 235854"/>
              <a:gd name="connsiteX12" fmla="*/ 315083 w 408783"/>
              <a:gd name="connsiteY12" fmla="*/ 41512 h 235854"/>
              <a:gd name="connsiteX13" fmla="*/ 314459 w 408783"/>
              <a:gd name="connsiteY13" fmla="*/ 56585 h 235854"/>
              <a:gd name="connsiteX14" fmla="*/ 309711 w 408783"/>
              <a:gd name="connsiteY14" fmla="*/ 68569 h 235854"/>
              <a:gd name="connsiteX15" fmla="*/ 316083 w 408783"/>
              <a:gd name="connsiteY15" fmla="*/ 78824 h 235854"/>
              <a:gd name="connsiteX16" fmla="*/ 339945 w 408783"/>
              <a:gd name="connsiteY16" fmla="*/ 79071 h 235854"/>
              <a:gd name="connsiteX17" fmla="*/ 350939 w 408783"/>
              <a:gd name="connsiteY17" fmla="*/ 74006 h 235854"/>
              <a:gd name="connsiteX18" fmla="*/ 370929 w 408783"/>
              <a:gd name="connsiteY18" fmla="*/ 91549 h 235854"/>
              <a:gd name="connsiteX19" fmla="*/ 386171 w 408783"/>
              <a:gd name="connsiteY19" fmla="*/ 76477 h 235854"/>
              <a:gd name="connsiteX20" fmla="*/ 400663 w 408783"/>
              <a:gd name="connsiteY20" fmla="*/ 75859 h 235854"/>
              <a:gd name="connsiteX21" fmla="*/ 408784 w 408783"/>
              <a:gd name="connsiteY21" fmla="*/ 90685 h 235854"/>
              <a:gd name="connsiteX22" fmla="*/ 391543 w 408783"/>
              <a:gd name="connsiteY22" fmla="*/ 113047 h 235854"/>
              <a:gd name="connsiteX23" fmla="*/ 402162 w 408783"/>
              <a:gd name="connsiteY23" fmla="*/ 141463 h 235854"/>
              <a:gd name="connsiteX24" fmla="*/ 366681 w 408783"/>
              <a:gd name="connsiteY24" fmla="*/ 150853 h 235854"/>
              <a:gd name="connsiteX25" fmla="*/ 364182 w 408783"/>
              <a:gd name="connsiteY25" fmla="*/ 185076 h 235854"/>
              <a:gd name="connsiteX26" fmla="*/ 347691 w 408783"/>
              <a:gd name="connsiteY26" fmla="*/ 172597 h 235854"/>
              <a:gd name="connsiteX27" fmla="*/ 331949 w 408783"/>
              <a:gd name="connsiteY27" fmla="*/ 174698 h 235854"/>
              <a:gd name="connsiteX28" fmla="*/ 291721 w 408783"/>
              <a:gd name="connsiteY28" fmla="*/ 165926 h 235854"/>
              <a:gd name="connsiteX29" fmla="*/ 292845 w 408783"/>
              <a:gd name="connsiteY29" fmla="*/ 190759 h 235854"/>
              <a:gd name="connsiteX30" fmla="*/ 275729 w 408783"/>
              <a:gd name="connsiteY30" fmla="*/ 224241 h 235854"/>
              <a:gd name="connsiteX31" fmla="*/ 265734 w 408783"/>
              <a:gd name="connsiteY31" fmla="*/ 206326 h 235854"/>
              <a:gd name="connsiteX32" fmla="*/ 235875 w 408783"/>
              <a:gd name="connsiteY32" fmla="*/ 193106 h 235854"/>
              <a:gd name="connsiteX33" fmla="*/ 237624 w 408783"/>
              <a:gd name="connsiteY33" fmla="*/ 172103 h 235854"/>
              <a:gd name="connsiteX34" fmla="*/ 215886 w 408783"/>
              <a:gd name="connsiteY34" fmla="*/ 159872 h 235854"/>
              <a:gd name="connsiteX35" fmla="*/ 185277 w 408783"/>
              <a:gd name="connsiteY35" fmla="*/ 217569 h 235854"/>
              <a:gd name="connsiteX36" fmla="*/ 160915 w 408783"/>
              <a:gd name="connsiteY36" fmla="*/ 208179 h 235854"/>
              <a:gd name="connsiteX37" fmla="*/ 126308 w 408783"/>
              <a:gd name="connsiteY37" fmla="*/ 235854 h 235854"/>
              <a:gd name="connsiteX38" fmla="*/ 106319 w 408783"/>
              <a:gd name="connsiteY38" fmla="*/ 229430 h 235854"/>
              <a:gd name="connsiteX39" fmla="*/ 102696 w 408783"/>
              <a:gd name="connsiteY39" fmla="*/ 214233 h 235854"/>
              <a:gd name="connsiteX40" fmla="*/ 91826 w 408783"/>
              <a:gd name="connsiteY40" fmla="*/ 206326 h 235854"/>
              <a:gd name="connsiteX41" fmla="*/ 84205 w 408783"/>
              <a:gd name="connsiteY41" fmla="*/ 184334 h 235854"/>
              <a:gd name="connsiteX42" fmla="*/ 74211 w 408783"/>
              <a:gd name="connsiteY42" fmla="*/ 167779 h 235854"/>
              <a:gd name="connsiteX43" fmla="*/ 47100 w 408783"/>
              <a:gd name="connsiteY43" fmla="*/ 167532 h 235854"/>
              <a:gd name="connsiteX44" fmla="*/ 34982 w 408783"/>
              <a:gd name="connsiteY44" fmla="*/ 179145 h 235854"/>
              <a:gd name="connsiteX45" fmla="*/ 44601 w 408783"/>
              <a:gd name="connsiteY45" fmla="*/ 201137 h 235854"/>
              <a:gd name="connsiteX46" fmla="*/ 22488 w 408783"/>
              <a:gd name="connsiteY46" fmla="*/ 211144 h 235854"/>
              <a:gd name="connsiteX47" fmla="*/ 2624 w 408783"/>
              <a:gd name="connsiteY47" fmla="*/ 210032 h 235854"/>
              <a:gd name="connsiteX48" fmla="*/ 0 w 408783"/>
              <a:gd name="connsiteY48" fmla="*/ 195824 h 235854"/>
              <a:gd name="connsiteX49" fmla="*/ 10245 w 408783"/>
              <a:gd name="connsiteY49" fmla="*/ 190141 h 235854"/>
              <a:gd name="connsiteX50" fmla="*/ 21239 w 408783"/>
              <a:gd name="connsiteY50" fmla="*/ 190265 h 235854"/>
              <a:gd name="connsiteX51" fmla="*/ 20114 w 408783"/>
              <a:gd name="connsiteY51" fmla="*/ 172597 h 235854"/>
              <a:gd name="connsiteX52" fmla="*/ 22863 w 408783"/>
              <a:gd name="connsiteY52" fmla="*/ 145046 h 235854"/>
              <a:gd name="connsiteX53" fmla="*/ 45101 w 408783"/>
              <a:gd name="connsiteY53" fmla="*/ 106746 h 235854"/>
              <a:gd name="connsiteX54" fmla="*/ 58719 w 408783"/>
              <a:gd name="connsiteY54" fmla="*/ 100939 h 235854"/>
              <a:gd name="connsiteX55" fmla="*/ 75585 w 408783"/>
              <a:gd name="connsiteY55" fmla="*/ 77341 h 235854"/>
              <a:gd name="connsiteX56" fmla="*/ 91826 w 408783"/>
              <a:gd name="connsiteY56" fmla="*/ 69434 h 235854"/>
              <a:gd name="connsiteX57" fmla="*/ 87704 w 408783"/>
              <a:gd name="connsiteY57" fmla="*/ 52508 h 235854"/>
              <a:gd name="connsiteX58" fmla="*/ 68214 w 408783"/>
              <a:gd name="connsiteY58" fmla="*/ 43489 h 235854"/>
              <a:gd name="connsiteX59" fmla="*/ 79458 w 408783"/>
              <a:gd name="connsiteY59" fmla="*/ 28663 h 235854"/>
              <a:gd name="connsiteX60" fmla="*/ 100572 w 408783"/>
              <a:gd name="connsiteY60" fmla="*/ 26439 h 235854"/>
              <a:gd name="connsiteX61" fmla="*/ 106319 w 408783"/>
              <a:gd name="connsiteY61" fmla="*/ 37929 h 235854"/>
              <a:gd name="connsiteX62" fmla="*/ 122935 w 408783"/>
              <a:gd name="connsiteY62" fmla="*/ 39288 h 235854"/>
              <a:gd name="connsiteX63" fmla="*/ 151795 w 408783"/>
              <a:gd name="connsiteY63" fmla="*/ 29034 h 23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08783" h="235854">
                <a:moveTo>
                  <a:pt x="151795" y="29034"/>
                </a:moveTo>
                <a:lnTo>
                  <a:pt x="167037" y="32740"/>
                </a:lnTo>
                <a:lnTo>
                  <a:pt x="183153" y="22980"/>
                </a:lnTo>
                <a:lnTo>
                  <a:pt x="206016" y="29775"/>
                </a:lnTo>
                <a:lnTo>
                  <a:pt x="212138" y="18409"/>
                </a:lnTo>
                <a:lnTo>
                  <a:pt x="209639" y="7413"/>
                </a:lnTo>
                <a:lnTo>
                  <a:pt x="227880" y="0"/>
                </a:lnTo>
                <a:lnTo>
                  <a:pt x="235251" y="17420"/>
                </a:lnTo>
                <a:lnTo>
                  <a:pt x="246620" y="20262"/>
                </a:lnTo>
                <a:lnTo>
                  <a:pt x="255490" y="11366"/>
                </a:lnTo>
                <a:lnTo>
                  <a:pt x="268108" y="11490"/>
                </a:lnTo>
                <a:lnTo>
                  <a:pt x="293970" y="28663"/>
                </a:lnTo>
                <a:lnTo>
                  <a:pt x="315083" y="41512"/>
                </a:lnTo>
                <a:lnTo>
                  <a:pt x="314459" y="56585"/>
                </a:lnTo>
                <a:lnTo>
                  <a:pt x="309711" y="68569"/>
                </a:lnTo>
                <a:lnTo>
                  <a:pt x="316083" y="78824"/>
                </a:lnTo>
                <a:lnTo>
                  <a:pt x="339945" y="79071"/>
                </a:lnTo>
                <a:lnTo>
                  <a:pt x="350939" y="74006"/>
                </a:lnTo>
                <a:lnTo>
                  <a:pt x="370929" y="91549"/>
                </a:lnTo>
                <a:lnTo>
                  <a:pt x="386171" y="76477"/>
                </a:lnTo>
                <a:lnTo>
                  <a:pt x="400663" y="75859"/>
                </a:lnTo>
                <a:lnTo>
                  <a:pt x="408784" y="90685"/>
                </a:lnTo>
                <a:lnTo>
                  <a:pt x="391543" y="113047"/>
                </a:lnTo>
                <a:lnTo>
                  <a:pt x="402162" y="141463"/>
                </a:lnTo>
                <a:lnTo>
                  <a:pt x="366681" y="150853"/>
                </a:lnTo>
                <a:lnTo>
                  <a:pt x="364182" y="185076"/>
                </a:lnTo>
                <a:lnTo>
                  <a:pt x="347691" y="172597"/>
                </a:lnTo>
                <a:lnTo>
                  <a:pt x="331949" y="174698"/>
                </a:lnTo>
                <a:lnTo>
                  <a:pt x="291721" y="165926"/>
                </a:lnTo>
                <a:lnTo>
                  <a:pt x="292845" y="190759"/>
                </a:lnTo>
                <a:lnTo>
                  <a:pt x="275729" y="224241"/>
                </a:lnTo>
                <a:lnTo>
                  <a:pt x="265734" y="206326"/>
                </a:lnTo>
                <a:lnTo>
                  <a:pt x="235875" y="193106"/>
                </a:lnTo>
                <a:lnTo>
                  <a:pt x="237624" y="172103"/>
                </a:lnTo>
                <a:lnTo>
                  <a:pt x="215886" y="159872"/>
                </a:lnTo>
                <a:lnTo>
                  <a:pt x="185277" y="217569"/>
                </a:lnTo>
                <a:lnTo>
                  <a:pt x="160915" y="208179"/>
                </a:lnTo>
                <a:lnTo>
                  <a:pt x="126308" y="235854"/>
                </a:lnTo>
                <a:lnTo>
                  <a:pt x="106319" y="229430"/>
                </a:lnTo>
                <a:lnTo>
                  <a:pt x="102696" y="214233"/>
                </a:lnTo>
                <a:lnTo>
                  <a:pt x="91826" y="206326"/>
                </a:lnTo>
                <a:lnTo>
                  <a:pt x="84205" y="184334"/>
                </a:lnTo>
                <a:lnTo>
                  <a:pt x="74211" y="167779"/>
                </a:lnTo>
                <a:lnTo>
                  <a:pt x="47100" y="167532"/>
                </a:lnTo>
                <a:lnTo>
                  <a:pt x="34982" y="179145"/>
                </a:lnTo>
                <a:lnTo>
                  <a:pt x="44601" y="201137"/>
                </a:lnTo>
                <a:lnTo>
                  <a:pt x="22488" y="211144"/>
                </a:lnTo>
                <a:lnTo>
                  <a:pt x="2624" y="210032"/>
                </a:lnTo>
                <a:lnTo>
                  <a:pt x="0" y="195824"/>
                </a:lnTo>
                <a:lnTo>
                  <a:pt x="10245" y="190141"/>
                </a:lnTo>
                <a:lnTo>
                  <a:pt x="21239" y="190265"/>
                </a:lnTo>
                <a:lnTo>
                  <a:pt x="20114" y="172597"/>
                </a:lnTo>
                <a:lnTo>
                  <a:pt x="22863" y="145046"/>
                </a:lnTo>
                <a:lnTo>
                  <a:pt x="45101" y="106746"/>
                </a:lnTo>
                <a:lnTo>
                  <a:pt x="58719" y="100939"/>
                </a:lnTo>
                <a:lnTo>
                  <a:pt x="75585" y="77341"/>
                </a:lnTo>
                <a:lnTo>
                  <a:pt x="91826" y="69434"/>
                </a:lnTo>
                <a:lnTo>
                  <a:pt x="87704" y="52508"/>
                </a:lnTo>
                <a:lnTo>
                  <a:pt x="68214" y="43489"/>
                </a:lnTo>
                <a:lnTo>
                  <a:pt x="79458" y="28663"/>
                </a:lnTo>
                <a:lnTo>
                  <a:pt x="100572" y="26439"/>
                </a:lnTo>
                <a:lnTo>
                  <a:pt x="106319" y="37929"/>
                </a:lnTo>
                <a:lnTo>
                  <a:pt x="122935" y="39288"/>
                </a:lnTo>
                <a:lnTo>
                  <a:pt x="151795" y="2903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3" name="Graphic 136">
            <a:extLst>
              <a:ext uri="{FF2B5EF4-FFF2-40B4-BE49-F238E27FC236}">
                <a16:creationId xmlns:a16="http://schemas.microsoft.com/office/drawing/2014/main" id="{A01B9125-6DE7-6BB1-E73C-33E32C70C1E4}"/>
              </a:ext>
            </a:extLst>
          </p:cNvPr>
          <p:cNvSpPr/>
          <p:nvPr/>
        </p:nvSpPr>
        <p:spPr>
          <a:xfrm rot="1141104">
            <a:off x="7056069" y="3203560"/>
            <a:ext cx="636915" cy="305041"/>
          </a:xfrm>
          <a:custGeom>
            <a:avLst/>
            <a:gdLst>
              <a:gd name="connsiteX0" fmla="*/ 379426 w 636915"/>
              <a:gd name="connsiteY0" fmla="*/ 292563 h 305041"/>
              <a:gd name="connsiteX1" fmla="*/ 393918 w 636915"/>
              <a:gd name="connsiteY1" fmla="*/ 293551 h 305041"/>
              <a:gd name="connsiteX2" fmla="*/ 435022 w 636915"/>
              <a:gd name="connsiteY2" fmla="*/ 291451 h 305041"/>
              <a:gd name="connsiteX3" fmla="*/ 447515 w 636915"/>
              <a:gd name="connsiteY3" fmla="*/ 305041 h 305041"/>
              <a:gd name="connsiteX4" fmla="*/ 469004 w 636915"/>
              <a:gd name="connsiteY4" fmla="*/ 295651 h 305041"/>
              <a:gd name="connsiteX5" fmla="*/ 488868 w 636915"/>
              <a:gd name="connsiteY5" fmla="*/ 294787 h 305041"/>
              <a:gd name="connsiteX6" fmla="*/ 509233 w 636915"/>
              <a:gd name="connsiteY6" fmla="*/ 284408 h 305041"/>
              <a:gd name="connsiteX7" fmla="*/ 522476 w 636915"/>
              <a:gd name="connsiteY7" fmla="*/ 282185 h 305041"/>
              <a:gd name="connsiteX8" fmla="*/ 532096 w 636915"/>
              <a:gd name="connsiteY8" fmla="*/ 282679 h 305041"/>
              <a:gd name="connsiteX9" fmla="*/ 571200 w 636915"/>
              <a:gd name="connsiteY9" fmla="*/ 258710 h 305041"/>
              <a:gd name="connsiteX10" fmla="*/ 597311 w 636915"/>
              <a:gd name="connsiteY10" fmla="*/ 249074 h 305041"/>
              <a:gd name="connsiteX11" fmla="*/ 610804 w 636915"/>
              <a:gd name="connsiteY11" fmla="*/ 230665 h 305041"/>
              <a:gd name="connsiteX12" fmla="*/ 600185 w 636915"/>
              <a:gd name="connsiteY12" fmla="*/ 214109 h 305041"/>
              <a:gd name="connsiteX13" fmla="*/ 601434 w 636915"/>
              <a:gd name="connsiteY13" fmla="*/ 197060 h 305041"/>
              <a:gd name="connsiteX14" fmla="*/ 608431 w 636915"/>
              <a:gd name="connsiteY14" fmla="*/ 175809 h 305041"/>
              <a:gd name="connsiteX15" fmla="*/ 591190 w 636915"/>
              <a:gd name="connsiteY15" fmla="*/ 157524 h 305041"/>
              <a:gd name="connsiteX16" fmla="*/ 594688 w 636915"/>
              <a:gd name="connsiteY16" fmla="*/ 149494 h 305041"/>
              <a:gd name="connsiteX17" fmla="*/ 634417 w 636915"/>
              <a:gd name="connsiteY17" fmla="*/ 148505 h 305041"/>
              <a:gd name="connsiteX18" fmla="*/ 636916 w 636915"/>
              <a:gd name="connsiteY18" fmla="*/ 129973 h 305041"/>
              <a:gd name="connsiteX19" fmla="*/ 633542 w 636915"/>
              <a:gd name="connsiteY19" fmla="*/ 111811 h 305041"/>
              <a:gd name="connsiteX20" fmla="*/ 624047 w 636915"/>
              <a:gd name="connsiteY20" fmla="*/ 61651 h 305041"/>
              <a:gd name="connsiteX21" fmla="*/ 624797 w 636915"/>
              <a:gd name="connsiteY21" fmla="*/ 32617 h 305041"/>
              <a:gd name="connsiteX22" fmla="*/ 588691 w 636915"/>
              <a:gd name="connsiteY22" fmla="*/ 25945 h 305041"/>
              <a:gd name="connsiteX23" fmla="*/ 572325 w 636915"/>
              <a:gd name="connsiteY23" fmla="*/ 14949 h 305041"/>
              <a:gd name="connsiteX24" fmla="*/ 548087 w 636915"/>
              <a:gd name="connsiteY24" fmla="*/ 21127 h 305041"/>
              <a:gd name="connsiteX25" fmla="*/ 522351 w 636915"/>
              <a:gd name="connsiteY25" fmla="*/ 21003 h 305041"/>
              <a:gd name="connsiteX26" fmla="*/ 499113 w 636915"/>
              <a:gd name="connsiteY26" fmla="*/ 6301 h 305041"/>
              <a:gd name="connsiteX27" fmla="*/ 465381 w 636915"/>
              <a:gd name="connsiteY27" fmla="*/ 6301 h 305041"/>
              <a:gd name="connsiteX28" fmla="*/ 446516 w 636915"/>
              <a:gd name="connsiteY28" fmla="*/ 0 h 305041"/>
              <a:gd name="connsiteX29" fmla="*/ 440019 w 636915"/>
              <a:gd name="connsiteY29" fmla="*/ 17297 h 305041"/>
              <a:gd name="connsiteX30" fmla="*/ 431024 w 636915"/>
              <a:gd name="connsiteY30" fmla="*/ 26192 h 305041"/>
              <a:gd name="connsiteX31" fmla="*/ 430399 w 636915"/>
              <a:gd name="connsiteY31" fmla="*/ 39906 h 305041"/>
              <a:gd name="connsiteX32" fmla="*/ 405287 w 636915"/>
              <a:gd name="connsiteY32" fmla="*/ 42377 h 305041"/>
              <a:gd name="connsiteX33" fmla="*/ 397167 w 636915"/>
              <a:gd name="connsiteY33" fmla="*/ 52508 h 305041"/>
              <a:gd name="connsiteX34" fmla="*/ 349816 w 636915"/>
              <a:gd name="connsiteY34" fmla="*/ 28293 h 305041"/>
              <a:gd name="connsiteX35" fmla="*/ 336698 w 636915"/>
              <a:gd name="connsiteY35" fmla="*/ 27551 h 305041"/>
              <a:gd name="connsiteX36" fmla="*/ 334325 w 636915"/>
              <a:gd name="connsiteY36" fmla="*/ 44107 h 305041"/>
              <a:gd name="connsiteX37" fmla="*/ 336074 w 636915"/>
              <a:gd name="connsiteY37" fmla="*/ 62021 h 305041"/>
              <a:gd name="connsiteX38" fmla="*/ 321456 w 636915"/>
              <a:gd name="connsiteY38" fmla="*/ 62639 h 305041"/>
              <a:gd name="connsiteX39" fmla="*/ 311711 w 636915"/>
              <a:gd name="connsiteY39" fmla="*/ 81171 h 305041"/>
              <a:gd name="connsiteX40" fmla="*/ 290972 w 636915"/>
              <a:gd name="connsiteY40" fmla="*/ 92414 h 305041"/>
              <a:gd name="connsiteX41" fmla="*/ 267859 w 636915"/>
              <a:gd name="connsiteY41" fmla="*/ 124166 h 305041"/>
              <a:gd name="connsiteX42" fmla="*/ 268359 w 636915"/>
              <a:gd name="connsiteY42" fmla="*/ 135903 h 305041"/>
              <a:gd name="connsiteX43" fmla="*/ 291347 w 636915"/>
              <a:gd name="connsiteY43" fmla="*/ 146034 h 305041"/>
              <a:gd name="connsiteX44" fmla="*/ 294720 w 636915"/>
              <a:gd name="connsiteY44" fmla="*/ 162960 h 305041"/>
              <a:gd name="connsiteX45" fmla="*/ 285725 w 636915"/>
              <a:gd name="connsiteY45" fmla="*/ 169879 h 305041"/>
              <a:gd name="connsiteX46" fmla="*/ 264736 w 636915"/>
              <a:gd name="connsiteY46" fmla="*/ 159007 h 305041"/>
              <a:gd name="connsiteX47" fmla="*/ 244497 w 636915"/>
              <a:gd name="connsiteY47" fmla="*/ 165678 h 305041"/>
              <a:gd name="connsiteX48" fmla="*/ 223008 w 636915"/>
              <a:gd name="connsiteY48" fmla="*/ 160736 h 305041"/>
              <a:gd name="connsiteX49" fmla="*/ 208516 w 636915"/>
              <a:gd name="connsiteY49" fmla="*/ 163331 h 305041"/>
              <a:gd name="connsiteX50" fmla="*/ 180405 w 636915"/>
              <a:gd name="connsiteY50" fmla="*/ 183469 h 305041"/>
              <a:gd name="connsiteX51" fmla="*/ 164664 w 636915"/>
              <a:gd name="connsiteY51" fmla="*/ 187546 h 305041"/>
              <a:gd name="connsiteX52" fmla="*/ 149921 w 636915"/>
              <a:gd name="connsiteY52" fmla="*/ 183469 h 305041"/>
              <a:gd name="connsiteX53" fmla="*/ 134180 w 636915"/>
              <a:gd name="connsiteY53" fmla="*/ 188164 h 305041"/>
              <a:gd name="connsiteX54" fmla="*/ 120562 w 636915"/>
              <a:gd name="connsiteY54" fmla="*/ 180134 h 305041"/>
              <a:gd name="connsiteX55" fmla="*/ 95325 w 636915"/>
              <a:gd name="connsiteY55" fmla="*/ 177292 h 305041"/>
              <a:gd name="connsiteX56" fmla="*/ 70963 w 636915"/>
              <a:gd name="connsiteY56" fmla="*/ 181616 h 305041"/>
              <a:gd name="connsiteX57" fmla="*/ 73461 w 636915"/>
              <a:gd name="connsiteY57" fmla="*/ 193971 h 305041"/>
              <a:gd name="connsiteX58" fmla="*/ 67839 w 636915"/>
              <a:gd name="connsiteY58" fmla="*/ 201384 h 305041"/>
              <a:gd name="connsiteX59" fmla="*/ 44477 w 636915"/>
              <a:gd name="connsiteY59" fmla="*/ 196566 h 305041"/>
              <a:gd name="connsiteX60" fmla="*/ 31359 w 636915"/>
              <a:gd name="connsiteY60" fmla="*/ 183346 h 305041"/>
              <a:gd name="connsiteX61" fmla="*/ 15117 w 636915"/>
              <a:gd name="connsiteY61" fmla="*/ 190017 h 305041"/>
              <a:gd name="connsiteX62" fmla="*/ 4748 w 636915"/>
              <a:gd name="connsiteY62" fmla="*/ 195824 h 305041"/>
              <a:gd name="connsiteX63" fmla="*/ 0 w 636915"/>
              <a:gd name="connsiteY63" fmla="*/ 196071 h 305041"/>
              <a:gd name="connsiteX64" fmla="*/ 11619 w 636915"/>
              <a:gd name="connsiteY64" fmla="*/ 203114 h 305041"/>
              <a:gd name="connsiteX65" fmla="*/ 11119 w 636915"/>
              <a:gd name="connsiteY65" fmla="*/ 216086 h 305041"/>
              <a:gd name="connsiteX66" fmla="*/ 21864 w 636915"/>
              <a:gd name="connsiteY66" fmla="*/ 223623 h 305041"/>
              <a:gd name="connsiteX67" fmla="*/ 21988 w 636915"/>
              <a:gd name="connsiteY67" fmla="*/ 240549 h 305041"/>
              <a:gd name="connsiteX68" fmla="*/ 36481 w 636915"/>
              <a:gd name="connsiteY68" fmla="*/ 240672 h 305041"/>
              <a:gd name="connsiteX69" fmla="*/ 47475 w 636915"/>
              <a:gd name="connsiteY69" fmla="*/ 235730 h 305041"/>
              <a:gd name="connsiteX70" fmla="*/ 67465 w 636915"/>
              <a:gd name="connsiteY70" fmla="*/ 253151 h 305041"/>
              <a:gd name="connsiteX71" fmla="*/ 82707 w 636915"/>
              <a:gd name="connsiteY71" fmla="*/ 238078 h 305041"/>
              <a:gd name="connsiteX72" fmla="*/ 97324 w 636915"/>
              <a:gd name="connsiteY72" fmla="*/ 237460 h 305041"/>
              <a:gd name="connsiteX73" fmla="*/ 105320 w 636915"/>
              <a:gd name="connsiteY73" fmla="*/ 252286 h 305041"/>
              <a:gd name="connsiteX74" fmla="*/ 105695 w 636915"/>
              <a:gd name="connsiteY74" fmla="*/ 251668 h 305041"/>
              <a:gd name="connsiteX75" fmla="*/ 136803 w 636915"/>
              <a:gd name="connsiteY75" fmla="*/ 263405 h 305041"/>
              <a:gd name="connsiteX76" fmla="*/ 183279 w 636915"/>
              <a:gd name="connsiteY76" fmla="*/ 233877 h 305041"/>
              <a:gd name="connsiteX77" fmla="*/ 203268 w 636915"/>
              <a:gd name="connsiteY77" fmla="*/ 238325 h 305041"/>
              <a:gd name="connsiteX78" fmla="*/ 235002 w 636915"/>
              <a:gd name="connsiteY78" fmla="*/ 234371 h 305041"/>
              <a:gd name="connsiteX79" fmla="*/ 233128 w 636915"/>
              <a:gd name="connsiteY79" fmla="*/ 252780 h 305041"/>
              <a:gd name="connsiteX80" fmla="*/ 279228 w 636915"/>
              <a:gd name="connsiteY80" fmla="*/ 276996 h 305041"/>
              <a:gd name="connsiteX81" fmla="*/ 335324 w 636915"/>
              <a:gd name="connsiteY81" fmla="*/ 285150 h 305041"/>
              <a:gd name="connsiteX82" fmla="*/ 365683 w 636915"/>
              <a:gd name="connsiteY82" fmla="*/ 281196 h 305041"/>
              <a:gd name="connsiteX83" fmla="*/ 379426 w 636915"/>
              <a:gd name="connsiteY83" fmla="*/ 292439 h 305041"/>
              <a:gd name="connsiteX84" fmla="*/ 379426 w 636915"/>
              <a:gd name="connsiteY84" fmla="*/ 292563 h 30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36915" h="305041">
                <a:moveTo>
                  <a:pt x="379426" y="292563"/>
                </a:moveTo>
                <a:lnTo>
                  <a:pt x="393918" y="293551"/>
                </a:lnTo>
                <a:lnTo>
                  <a:pt x="435022" y="291451"/>
                </a:lnTo>
                <a:lnTo>
                  <a:pt x="447515" y="305041"/>
                </a:lnTo>
                <a:lnTo>
                  <a:pt x="469004" y="295651"/>
                </a:lnTo>
                <a:lnTo>
                  <a:pt x="488868" y="294787"/>
                </a:lnTo>
                <a:lnTo>
                  <a:pt x="509233" y="284408"/>
                </a:lnTo>
                <a:lnTo>
                  <a:pt x="522476" y="282185"/>
                </a:lnTo>
                <a:lnTo>
                  <a:pt x="532096" y="282679"/>
                </a:lnTo>
                <a:lnTo>
                  <a:pt x="571200" y="258710"/>
                </a:lnTo>
                <a:lnTo>
                  <a:pt x="597311" y="249074"/>
                </a:lnTo>
                <a:lnTo>
                  <a:pt x="610804" y="230665"/>
                </a:lnTo>
                <a:lnTo>
                  <a:pt x="600185" y="214109"/>
                </a:lnTo>
                <a:lnTo>
                  <a:pt x="601434" y="197060"/>
                </a:lnTo>
                <a:lnTo>
                  <a:pt x="608431" y="175809"/>
                </a:lnTo>
                <a:lnTo>
                  <a:pt x="591190" y="157524"/>
                </a:lnTo>
                <a:lnTo>
                  <a:pt x="594688" y="149494"/>
                </a:lnTo>
                <a:lnTo>
                  <a:pt x="634417" y="148505"/>
                </a:lnTo>
                <a:lnTo>
                  <a:pt x="636916" y="129973"/>
                </a:lnTo>
                <a:lnTo>
                  <a:pt x="633542" y="111811"/>
                </a:lnTo>
                <a:lnTo>
                  <a:pt x="624047" y="61651"/>
                </a:lnTo>
                <a:lnTo>
                  <a:pt x="624797" y="32617"/>
                </a:lnTo>
                <a:lnTo>
                  <a:pt x="588691" y="25945"/>
                </a:lnTo>
                <a:lnTo>
                  <a:pt x="572325" y="14949"/>
                </a:lnTo>
                <a:lnTo>
                  <a:pt x="548087" y="21127"/>
                </a:lnTo>
                <a:lnTo>
                  <a:pt x="522351" y="21003"/>
                </a:lnTo>
                <a:lnTo>
                  <a:pt x="499113" y="6301"/>
                </a:lnTo>
                <a:lnTo>
                  <a:pt x="465381" y="6301"/>
                </a:lnTo>
                <a:lnTo>
                  <a:pt x="446516" y="0"/>
                </a:lnTo>
                <a:lnTo>
                  <a:pt x="440019" y="17297"/>
                </a:lnTo>
                <a:lnTo>
                  <a:pt x="431024" y="26192"/>
                </a:lnTo>
                <a:lnTo>
                  <a:pt x="430399" y="39906"/>
                </a:lnTo>
                <a:lnTo>
                  <a:pt x="405287" y="42377"/>
                </a:lnTo>
                <a:lnTo>
                  <a:pt x="397167" y="52508"/>
                </a:lnTo>
                <a:lnTo>
                  <a:pt x="349816" y="28293"/>
                </a:lnTo>
                <a:lnTo>
                  <a:pt x="336698" y="27551"/>
                </a:lnTo>
                <a:lnTo>
                  <a:pt x="334325" y="44107"/>
                </a:lnTo>
                <a:lnTo>
                  <a:pt x="336074" y="62021"/>
                </a:lnTo>
                <a:lnTo>
                  <a:pt x="321456" y="62639"/>
                </a:lnTo>
                <a:lnTo>
                  <a:pt x="311711" y="81171"/>
                </a:lnTo>
                <a:lnTo>
                  <a:pt x="290972" y="92414"/>
                </a:lnTo>
                <a:lnTo>
                  <a:pt x="267859" y="124166"/>
                </a:lnTo>
                <a:lnTo>
                  <a:pt x="268359" y="135903"/>
                </a:lnTo>
                <a:lnTo>
                  <a:pt x="291347" y="146034"/>
                </a:lnTo>
                <a:lnTo>
                  <a:pt x="294720" y="162960"/>
                </a:lnTo>
                <a:lnTo>
                  <a:pt x="285725" y="169879"/>
                </a:lnTo>
                <a:lnTo>
                  <a:pt x="264736" y="159007"/>
                </a:lnTo>
                <a:lnTo>
                  <a:pt x="244497" y="165678"/>
                </a:lnTo>
                <a:lnTo>
                  <a:pt x="223008" y="160736"/>
                </a:lnTo>
                <a:lnTo>
                  <a:pt x="208516" y="163331"/>
                </a:lnTo>
                <a:lnTo>
                  <a:pt x="180405" y="183469"/>
                </a:lnTo>
                <a:lnTo>
                  <a:pt x="164664" y="187546"/>
                </a:lnTo>
                <a:lnTo>
                  <a:pt x="149921" y="183469"/>
                </a:lnTo>
                <a:lnTo>
                  <a:pt x="134180" y="188164"/>
                </a:lnTo>
                <a:lnTo>
                  <a:pt x="120562" y="180134"/>
                </a:lnTo>
                <a:lnTo>
                  <a:pt x="95325" y="177292"/>
                </a:lnTo>
                <a:lnTo>
                  <a:pt x="70963" y="181616"/>
                </a:lnTo>
                <a:lnTo>
                  <a:pt x="73461" y="193971"/>
                </a:lnTo>
                <a:lnTo>
                  <a:pt x="67839" y="201384"/>
                </a:lnTo>
                <a:lnTo>
                  <a:pt x="44477" y="196566"/>
                </a:lnTo>
                <a:lnTo>
                  <a:pt x="31359" y="183346"/>
                </a:lnTo>
                <a:lnTo>
                  <a:pt x="15117" y="190017"/>
                </a:lnTo>
                <a:lnTo>
                  <a:pt x="4748" y="195824"/>
                </a:lnTo>
                <a:lnTo>
                  <a:pt x="0" y="196071"/>
                </a:lnTo>
                <a:lnTo>
                  <a:pt x="11619" y="203114"/>
                </a:lnTo>
                <a:lnTo>
                  <a:pt x="11119" y="216086"/>
                </a:lnTo>
                <a:lnTo>
                  <a:pt x="21864" y="223623"/>
                </a:lnTo>
                <a:lnTo>
                  <a:pt x="21988" y="240549"/>
                </a:lnTo>
                <a:lnTo>
                  <a:pt x="36481" y="240672"/>
                </a:lnTo>
                <a:lnTo>
                  <a:pt x="47475" y="235730"/>
                </a:lnTo>
                <a:lnTo>
                  <a:pt x="67465" y="253151"/>
                </a:lnTo>
                <a:lnTo>
                  <a:pt x="82707" y="238078"/>
                </a:lnTo>
                <a:lnTo>
                  <a:pt x="97324" y="237460"/>
                </a:lnTo>
                <a:lnTo>
                  <a:pt x="105320" y="252286"/>
                </a:lnTo>
                <a:lnTo>
                  <a:pt x="105695" y="251668"/>
                </a:lnTo>
                <a:lnTo>
                  <a:pt x="136803" y="263405"/>
                </a:lnTo>
                <a:lnTo>
                  <a:pt x="183279" y="233877"/>
                </a:lnTo>
                <a:lnTo>
                  <a:pt x="203268" y="238325"/>
                </a:lnTo>
                <a:lnTo>
                  <a:pt x="235002" y="234371"/>
                </a:lnTo>
                <a:lnTo>
                  <a:pt x="233128" y="252780"/>
                </a:lnTo>
                <a:lnTo>
                  <a:pt x="279228" y="276996"/>
                </a:lnTo>
                <a:lnTo>
                  <a:pt x="335324" y="285150"/>
                </a:lnTo>
                <a:lnTo>
                  <a:pt x="365683" y="281196"/>
                </a:lnTo>
                <a:lnTo>
                  <a:pt x="379426" y="292439"/>
                </a:lnTo>
                <a:lnTo>
                  <a:pt x="379426" y="29256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4" name="Graphic 135">
            <a:extLst>
              <a:ext uri="{FF2B5EF4-FFF2-40B4-BE49-F238E27FC236}">
                <a16:creationId xmlns:a16="http://schemas.microsoft.com/office/drawing/2014/main" id="{2D65C189-C82B-A803-392D-2986FFBDE40F}"/>
              </a:ext>
            </a:extLst>
          </p:cNvPr>
          <p:cNvSpPr/>
          <p:nvPr/>
        </p:nvSpPr>
        <p:spPr>
          <a:xfrm rot="1141104">
            <a:off x="7302118" y="3043797"/>
            <a:ext cx="680890" cy="288856"/>
          </a:xfrm>
          <a:custGeom>
            <a:avLst/>
            <a:gdLst>
              <a:gd name="connsiteX0" fmla="*/ 240123 w 680890"/>
              <a:gd name="connsiteY0" fmla="*/ 247 h 288856"/>
              <a:gd name="connsiteX1" fmla="*/ 247494 w 680890"/>
              <a:gd name="connsiteY1" fmla="*/ 14332 h 288856"/>
              <a:gd name="connsiteX2" fmla="*/ 254990 w 680890"/>
              <a:gd name="connsiteY2" fmla="*/ 4818 h 288856"/>
              <a:gd name="connsiteX3" fmla="*/ 270982 w 680890"/>
              <a:gd name="connsiteY3" fmla="*/ 7166 h 288856"/>
              <a:gd name="connsiteX4" fmla="*/ 279852 w 680890"/>
              <a:gd name="connsiteY4" fmla="*/ 2100 h 288856"/>
              <a:gd name="connsiteX5" fmla="*/ 317457 w 680890"/>
              <a:gd name="connsiteY5" fmla="*/ 6177 h 288856"/>
              <a:gd name="connsiteX6" fmla="*/ 316583 w 680890"/>
              <a:gd name="connsiteY6" fmla="*/ 16679 h 288856"/>
              <a:gd name="connsiteX7" fmla="*/ 333199 w 680890"/>
              <a:gd name="connsiteY7" fmla="*/ 32123 h 288856"/>
              <a:gd name="connsiteX8" fmla="*/ 348066 w 680890"/>
              <a:gd name="connsiteY8" fmla="*/ 29528 h 288856"/>
              <a:gd name="connsiteX9" fmla="*/ 362059 w 680890"/>
              <a:gd name="connsiteY9" fmla="*/ 40400 h 288856"/>
              <a:gd name="connsiteX10" fmla="*/ 353938 w 680890"/>
              <a:gd name="connsiteY10" fmla="*/ 60786 h 288856"/>
              <a:gd name="connsiteX11" fmla="*/ 361809 w 680890"/>
              <a:gd name="connsiteY11" fmla="*/ 71288 h 288856"/>
              <a:gd name="connsiteX12" fmla="*/ 368555 w 680890"/>
              <a:gd name="connsiteY12" fmla="*/ 74623 h 288856"/>
              <a:gd name="connsiteX13" fmla="*/ 368430 w 680890"/>
              <a:gd name="connsiteY13" fmla="*/ 92044 h 288856"/>
              <a:gd name="connsiteX14" fmla="*/ 381174 w 680890"/>
              <a:gd name="connsiteY14" fmla="*/ 96739 h 288856"/>
              <a:gd name="connsiteX15" fmla="*/ 389419 w 680890"/>
              <a:gd name="connsiteY15" fmla="*/ 87225 h 288856"/>
              <a:gd name="connsiteX16" fmla="*/ 401288 w 680890"/>
              <a:gd name="connsiteY16" fmla="*/ 86608 h 288856"/>
              <a:gd name="connsiteX17" fmla="*/ 378925 w 680890"/>
              <a:gd name="connsiteY17" fmla="*/ 60045 h 288856"/>
              <a:gd name="connsiteX18" fmla="*/ 387295 w 680890"/>
              <a:gd name="connsiteY18" fmla="*/ 53867 h 288856"/>
              <a:gd name="connsiteX19" fmla="*/ 431272 w 680890"/>
              <a:gd name="connsiteY19" fmla="*/ 75612 h 288856"/>
              <a:gd name="connsiteX20" fmla="*/ 458258 w 680890"/>
              <a:gd name="connsiteY20" fmla="*/ 71164 h 288856"/>
              <a:gd name="connsiteX21" fmla="*/ 454385 w 680890"/>
              <a:gd name="connsiteY21" fmla="*/ 86978 h 288856"/>
              <a:gd name="connsiteX22" fmla="*/ 474874 w 680890"/>
              <a:gd name="connsiteY22" fmla="*/ 101928 h 288856"/>
              <a:gd name="connsiteX23" fmla="*/ 508856 w 680890"/>
              <a:gd name="connsiteY23" fmla="*/ 92538 h 288856"/>
              <a:gd name="connsiteX24" fmla="*/ 536342 w 680890"/>
              <a:gd name="connsiteY24" fmla="*/ 99951 h 288856"/>
              <a:gd name="connsiteX25" fmla="*/ 593561 w 680890"/>
              <a:gd name="connsiteY25" fmla="*/ 137386 h 288856"/>
              <a:gd name="connsiteX26" fmla="*/ 612052 w 680890"/>
              <a:gd name="connsiteY26" fmla="*/ 166173 h 288856"/>
              <a:gd name="connsiteX27" fmla="*/ 627918 w 680890"/>
              <a:gd name="connsiteY27" fmla="*/ 166050 h 288856"/>
              <a:gd name="connsiteX28" fmla="*/ 635539 w 680890"/>
              <a:gd name="connsiteY28" fmla="*/ 156536 h 288856"/>
              <a:gd name="connsiteX29" fmla="*/ 660026 w 680890"/>
              <a:gd name="connsiteY29" fmla="*/ 156166 h 288856"/>
              <a:gd name="connsiteX30" fmla="*/ 674519 w 680890"/>
              <a:gd name="connsiteY30" fmla="*/ 170003 h 288856"/>
              <a:gd name="connsiteX31" fmla="*/ 680890 w 680890"/>
              <a:gd name="connsiteY31" fmla="*/ 193972 h 288856"/>
              <a:gd name="connsiteX32" fmla="*/ 638288 w 680890"/>
              <a:gd name="connsiteY32" fmla="*/ 191871 h 288856"/>
              <a:gd name="connsiteX33" fmla="*/ 619298 w 680890"/>
              <a:gd name="connsiteY33" fmla="*/ 210404 h 288856"/>
              <a:gd name="connsiteX34" fmla="*/ 596310 w 680890"/>
              <a:gd name="connsiteY34" fmla="*/ 213245 h 288856"/>
              <a:gd name="connsiteX35" fmla="*/ 571573 w 680890"/>
              <a:gd name="connsiteY35" fmla="*/ 239932 h 288856"/>
              <a:gd name="connsiteX36" fmla="*/ 538091 w 680890"/>
              <a:gd name="connsiteY36" fmla="*/ 245862 h 288856"/>
              <a:gd name="connsiteX37" fmla="*/ 503609 w 680890"/>
              <a:gd name="connsiteY37" fmla="*/ 259823 h 288856"/>
              <a:gd name="connsiteX38" fmla="*/ 494739 w 680890"/>
              <a:gd name="connsiteY38" fmla="*/ 253028 h 288856"/>
              <a:gd name="connsiteX39" fmla="*/ 473500 w 680890"/>
              <a:gd name="connsiteY39" fmla="*/ 254510 h 288856"/>
              <a:gd name="connsiteX40" fmla="*/ 452386 w 680890"/>
              <a:gd name="connsiteY40" fmla="*/ 269830 h 288856"/>
              <a:gd name="connsiteX41" fmla="*/ 411658 w 680890"/>
              <a:gd name="connsiteY41" fmla="*/ 262418 h 288856"/>
              <a:gd name="connsiteX42" fmla="*/ 395291 w 680890"/>
              <a:gd name="connsiteY42" fmla="*/ 251298 h 288856"/>
              <a:gd name="connsiteX43" fmla="*/ 371054 w 680890"/>
              <a:gd name="connsiteY43" fmla="*/ 257599 h 288856"/>
              <a:gd name="connsiteX44" fmla="*/ 345193 w 680890"/>
              <a:gd name="connsiteY44" fmla="*/ 257352 h 288856"/>
              <a:gd name="connsiteX45" fmla="*/ 322080 w 680890"/>
              <a:gd name="connsiteY45" fmla="*/ 242650 h 288856"/>
              <a:gd name="connsiteX46" fmla="*/ 288223 w 680890"/>
              <a:gd name="connsiteY46" fmla="*/ 242773 h 288856"/>
              <a:gd name="connsiteX47" fmla="*/ 269483 w 680890"/>
              <a:gd name="connsiteY47" fmla="*/ 236349 h 288856"/>
              <a:gd name="connsiteX48" fmla="*/ 262861 w 680890"/>
              <a:gd name="connsiteY48" fmla="*/ 253646 h 288856"/>
              <a:gd name="connsiteX49" fmla="*/ 253991 w 680890"/>
              <a:gd name="connsiteY49" fmla="*/ 262541 h 288856"/>
              <a:gd name="connsiteX50" fmla="*/ 253366 w 680890"/>
              <a:gd name="connsiteY50" fmla="*/ 276379 h 288856"/>
              <a:gd name="connsiteX51" fmla="*/ 228254 w 680890"/>
              <a:gd name="connsiteY51" fmla="*/ 278726 h 288856"/>
              <a:gd name="connsiteX52" fmla="*/ 220009 w 680890"/>
              <a:gd name="connsiteY52" fmla="*/ 288857 h 288856"/>
              <a:gd name="connsiteX53" fmla="*/ 172659 w 680890"/>
              <a:gd name="connsiteY53" fmla="*/ 264765 h 288856"/>
              <a:gd name="connsiteX54" fmla="*/ 159666 w 680890"/>
              <a:gd name="connsiteY54" fmla="*/ 263900 h 288856"/>
              <a:gd name="connsiteX55" fmla="*/ 159791 w 680890"/>
              <a:gd name="connsiteY55" fmla="*/ 263282 h 288856"/>
              <a:gd name="connsiteX56" fmla="*/ 121186 w 680890"/>
              <a:gd name="connsiteY56" fmla="*/ 222882 h 288856"/>
              <a:gd name="connsiteX57" fmla="*/ 102821 w 680890"/>
              <a:gd name="connsiteY57" fmla="*/ 211763 h 288856"/>
              <a:gd name="connsiteX58" fmla="*/ 70338 w 680890"/>
              <a:gd name="connsiteY58" fmla="*/ 191871 h 288856"/>
              <a:gd name="connsiteX59" fmla="*/ 52097 w 680890"/>
              <a:gd name="connsiteY59" fmla="*/ 182729 h 288856"/>
              <a:gd name="connsiteX60" fmla="*/ 46475 w 680890"/>
              <a:gd name="connsiteY60" fmla="*/ 169509 h 288856"/>
              <a:gd name="connsiteX61" fmla="*/ 46850 w 680890"/>
              <a:gd name="connsiteY61" fmla="*/ 147517 h 288856"/>
              <a:gd name="connsiteX62" fmla="*/ 26486 w 680890"/>
              <a:gd name="connsiteY62" fmla="*/ 118730 h 288856"/>
              <a:gd name="connsiteX63" fmla="*/ 1624 w 680890"/>
              <a:gd name="connsiteY63" fmla="*/ 105387 h 288856"/>
              <a:gd name="connsiteX64" fmla="*/ 0 w 680890"/>
              <a:gd name="connsiteY64" fmla="*/ 91920 h 288856"/>
              <a:gd name="connsiteX65" fmla="*/ 7746 w 680890"/>
              <a:gd name="connsiteY65" fmla="*/ 85743 h 288856"/>
              <a:gd name="connsiteX66" fmla="*/ 16866 w 680890"/>
              <a:gd name="connsiteY66" fmla="*/ 92538 h 288856"/>
              <a:gd name="connsiteX67" fmla="*/ 32358 w 680890"/>
              <a:gd name="connsiteY67" fmla="*/ 99086 h 288856"/>
              <a:gd name="connsiteX68" fmla="*/ 63466 w 680890"/>
              <a:gd name="connsiteY68" fmla="*/ 68322 h 288856"/>
              <a:gd name="connsiteX69" fmla="*/ 79333 w 680890"/>
              <a:gd name="connsiteY69" fmla="*/ 66346 h 288856"/>
              <a:gd name="connsiteX70" fmla="*/ 96199 w 680890"/>
              <a:gd name="connsiteY70" fmla="*/ 45342 h 288856"/>
              <a:gd name="connsiteX71" fmla="*/ 116064 w 680890"/>
              <a:gd name="connsiteY71" fmla="*/ 43736 h 288856"/>
              <a:gd name="connsiteX72" fmla="*/ 125309 w 680890"/>
              <a:gd name="connsiteY72" fmla="*/ 28293 h 288856"/>
              <a:gd name="connsiteX73" fmla="*/ 155668 w 680890"/>
              <a:gd name="connsiteY73" fmla="*/ 26439 h 288856"/>
              <a:gd name="connsiteX74" fmla="*/ 169036 w 680890"/>
              <a:gd name="connsiteY74" fmla="*/ 29158 h 288856"/>
              <a:gd name="connsiteX75" fmla="*/ 183903 w 680890"/>
              <a:gd name="connsiteY75" fmla="*/ 19274 h 288856"/>
              <a:gd name="connsiteX76" fmla="*/ 183153 w 680890"/>
              <a:gd name="connsiteY76" fmla="*/ 2965 h 288856"/>
              <a:gd name="connsiteX77" fmla="*/ 211888 w 680890"/>
              <a:gd name="connsiteY77" fmla="*/ 8278 h 288856"/>
              <a:gd name="connsiteX78" fmla="*/ 223382 w 680890"/>
              <a:gd name="connsiteY78" fmla="*/ 0 h 288856"/>
              <a:gd name="connsiteX79" fmla="*/ 236875 w 680890"/>
              <a:gd name="connsiteY79" fmla="*/ 5930 h 288856"/>
              <a:gd name="connsiteX80" fmla="*/ 240123 w 680890"/>
              <a:gd name="connsiteY80" fmla="*/ 247 h 28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80890" h="288856">
                <a:moveTo>
                  <a:pt x="240123" y="247"/>
                </a:moveTo>
                <a:lnTo>
                  <a:pt x="247494" y="14332"/>
                </a:lnTo>
                <a:lnTo>
                  <a:pt x="254990" y="4818"/>
                </a:lnTo>
                <a:lnTo>
                  <a:pt x="270982" y="7166"/>
                </a:lnTo>
                <a:lnTo>
                  <a:pt x="279852" y="2100"/>
                </a:lnTo>
                <a:lnTo>
                  <a:pt x="317457" y="6177"/>
                </a:lnTo>
                <a:lnTo>
                  <a:pt x="316583" y="16679"/>
                </a:lnTo>
                <a:lnTo>
                  <a:pt x="333199" y="32123"/>
                </a:lnTo>
                <a:lnTo>
                  <a:pt x="348066" y="29528"/>
                </a:lnTo>
                <a:lnTo>
                  <a:pt x="362059" y="40400"/>
                </a:lnTo>
                <a:lnTo>
                  <a:pt x="353938" y="60786"/>
                </a:lnTo>
                <a:lnTo>
                  <a:pt x="361809" y="71288"/>
                </a:lnTo>
                <a:lnTo>
                  <a:pt x="368555" y="74623"/>
                </a:lnTo>
                <a:lnTo>
                  <a:pt x="368430" y="92044"/>
                </a:lnTo>
                <a:lnTo>
                  <a:pt x="381174" y="96739"/>
                </a:lnTo>
                <a:lnTo>
                  <a:pt x="389419" y="87225"/>
                </a:lnTo>
                <a:lnTo>
                  <a:pt x="401288" y="86608"/>
                </a:lnTo>
                <a:lnTo>
                  <a:pt x="378925" y="60045"/>
                </a:lnTo>
                <a:lnTo>
                  <a:pt x="387295" y="53867"/>
                </a:lnTo>
                <a:lnTo>
                  <a:pt x="431272" y="75612"/>
                </a:lnTo>
                <a:lnTo>
                  <a:pt x="458258" y="71164"/>
                </a:lnTo>
                <a:lnTo>
                  <a:pt x="454385" y="86978"/>
                </a:lnTo>
                <a:lnTo>
                  <a:pt x="474874" y="101928"/>
                </a:lnTo>
                <a:lnTo>
                  <a:pt x="508856" y="92538"/>
                </a:lnTo>
                <a:lnTo>
                  <a:pt x="536342" y="99951"/>
                </a:lnTo>
                <a:lnTo>
                  <a:pt x="593561" y="137386"/>
                </a:lnTo>
                <a:lnTo>
                  <a:pt x="612052" y="166173"/>
                </a:lnTo>
                <a:lnTo>
                  <a:pt x="627918" y="166050"/>
                </a:lnTo>
                <a:lnTo>
                  <a:pt x="635539" y="156536"/>
                </a:lnTo>
                <a:lnTo>
                  <a:pt x="660026" y="156166"/>
                </a:lnTo>
                <a:lnTo>
                  <a:pt x="674519" y="170003"/>
                </a:lnTo>
                <a:lnTo>
                  <a:pt x="680890" y="193972"/>
                </a:lnTo>
                <a:lnTo>
                  <a:pt x="638288" y="191871"/>
                </a:lnTo>
                <a:lnTo>
                  <a:pt x="619298" y="210404"/>
                </a:lnTo>
                <a:lnTo>
                  <a:pt x="596310" y="213245"/>
                </a:lnTo>
                <a:lnTo>
                  <a:pt x="571573" y="239932"/>
                </a:lnTo>
                <a:lnTo>
                  <a:pt x="538091" y="245862"/>
                </a:lnTo>
                <a:lnTo>
                  <a:pt x="503609" y="259823"/>
                </a:lnTo>
                <a:lnTo>
                  <a:pt x="494739" y="253028"/>
                </a:lnTo>
                <a:lnTo>
                  <a:pt x="473500" y="254510"/>
                </a:lnTo>
                <a:lnTo>
                  <a:pt x="452386" y="269830"/>
                </a:lnTo>
                <a:lnTo>
                  <a:pt x="411658" y="262418"/>
                </a:lnTo>
                <a:lnTo>
                  <a:pt x="395291" y="251298"/>
                </a:lnTo>
                <a:lnTo>
                  <a:pt x="371054" y="257599"/>
                </a:lnTo>
                <a:lnTo>
                  <a:pt x="345193" y="257352"/>
                </a:lnTo>
                <a:lnTo>
                  <a:pt x="322080" y="242650"/>
                </a:lnTo>
                <a:lnTo>
                  <a:pt x="288223" y="242773"/>
                </a:lnTo>
                <a:lnTo>
                  <a:pt x="269483" y="236349"/>
                </a:lnTo>
                <a:lnTo>
                  <a:pt x="262861" y="253646"/>
                </a:lnTo>
                <a:lnTo>
                  <a:pt x="253991" y="262541"/>
                </a:lnTo>
                <a:lnTo>
                  <a:pt x="253366" y="276379"/>
                </a:lnTo>
                <a:lnTo>
                  <a:pt x="228254" y="278726"/>
                </a:lnTo>
                <a:lnTo>
                  <a:pt x="220009" y="288857"/>
                </a:lnTo>
                <a:lnTo>
                  <a:pt x="172659" y="264765"/>
                </a:lnTo>
                <a:lnTo>
                  <a:pt x="159666" y="263900"/>
                </a:lnTo>
                <a:lnTo>
                  <a:pt x="159791" y="263282"/>
                </a:lnTo>
                <a:lnTo>
                  <a:pt x="121186" y="222882"/>
                </a:lnTo>
                <a:lnTo>
                  <a:pt x="102821" y="211763"/>
                </a:lnTo>
                <a:lnTo>
                  <a:pt x="70338" y="191871"/>
                </a:lnTo>
                <a:lnTo>
                  <a:pt x="52097" y="182729"/>
                </a:lnTo>
                <a:lnTo>
                  <a:pt x="46475" y="169509"/>
                </a:lnTo>
                <a:lnTo>
                  <a:pt x="46850" y="147517"/>
                </a:lnTo>
                <a:lnTo>
                  <a:pt x="26486" y="118730"/>
                </a:lnTo>
                <a:lnTo>
                  <a:pt x="1624" y="105387"/>
                </a:lnTo>
                <a:lnTo>
                  <a:pt x="0" y="91920"/>
                </a:lnTo>
                <a:lnTo>
                  <a:pt x="7746" y="85743"/>
                </a:lnTo>
                <a:lnTo>
                  <a:pt x="16866" y="92538"/>
                </a:lnTo>
                <a:lnTo>
                  <a:pt x="32358" y="99086"/>
                </a:lnTo>
                <a:lnTo>
                  <a:pt x="63466" y="68322"/>
                </a:lnTo>
                <a:lnTo>
                  <a:pt x="79333" y="66346"/>
                </a:lnTo>
                <a:lnTo>
                  <a:pt x="96199" y="45342"/>
                </a:lnTo>
                <a:lnTo>
                  <a:pt x="116064" y="43736"/>
                </a:lnTo>
                <a:lnTo>
                  <a:pt x="125309" y="28293"/>
                </a:lnTo>
                <a:lnTo>
                  <a:pt x="155668" y="26439"/>
                </a:lnTo>
                <a:lnTo>
                  <a:pt x="169036" y="29158"/>
                </a:lnTo>
                <a:lnTo>
                  <a:pt x="183903" y="19274"/>
                </a:lnTo>
                <a:lnTo>
                  <a:pt x="183153" y="2965"/>
                </a:lnTo>
                <a:lnTo>
                  <a:pt x="211888" y="8278"/>
                </a:lnTo>
                <a:lnTo>
                  <a:pt x="223382" y="0"/>
                </a:lnTo>
                <a:lnTo>
                  <a:pt x="236875" y="5930"/>
                </a:lnTo>
                <a:lnTo>
                  <a:pt x="240123" y="247"/>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Graphic 138">
            <a:extLst>
              <a:ext uri="{FF2B5EF4-FFF2-40B4-BE49-F238E27FC236}">
                <a16:creationId xmlns:a16="http://schemas.microsoft.com/office/drawing/2014/main" id="{8D908C1F-25DF-732D-79AA-46C311DFCEBD}"/>
              </a:ext>
            </a:extLst>
          </p:cNvPr>
          <p:cNvSpPr/>
          <p:nvPr/>
        </p:nvSpPr>
        <p:spPr>
          <a:xfrm rot="1141104">
            <a:off x="7337812" y="3494191"/>
            <a:ext cx="267234" cy="183600"/>
          </a:xfrm>
          <a:custGeom>
            <a:avLst/>
            <a:gdLst>
              <a:gd name="connsiteX0" fmla="*/ 10619 w 267234"/>
              <a:gd name="connsiteY0" fmla="*/ 178157 h 178157"/>
              <a:gd name="connsiteX1" fmla="*/ 42852 w 267234"/>
              <a:gd name="connsiteY1" fmla="*/ 174945 h 178157"/>
              <a:gd name="connsiteX2" fmla="*/ 65840 w 267234"/>
              <a:gd name="connsiteY2" fmla="*/ 156907 h 178157"/>
              <a:gd name="connsiteX3" fmla="*/ 84206 w 267234"/>
              <a:gd name="connsiteY3" fmla="*/ 150853 h 178157"/>
              <a:gd name="connsiteX4" fmla="*/ 119312 w 267234"/>
              <a:gd name="connsiteY4" fmla="*/ 165061 h 178157"/>
              <a:gd name="connsiteX5" fmla="*/ 137802 w 267234"/>
              <a:gd name="connsiteY5" fmla="*/ 162961 h 178157"/>
              <a:gd name="connsiteX6" fmla="*/ 141675 w 267234"/>
              <a:gd name="connsiteY6" fmla="*/ 131332 h 178157"/>
              <a:gd name="connsiteX7" fmla="*/ 170285 w 267234"/>
              <a:gd name="connsiteY7" fmla="*/ 115642 h 178157"/>
              <a:gd name="connsiteX8" fmla="*/ 173159 w 267234"/>
              <a:gd name="connsiteY8" fmla="*/ 91920 h 178157"/>
              <a:gd name="connsiteX9" fmla="*/ 227505 w 267234"/>
              <a:gd name="connsiteY9" fmla="*/ 60786 h 178157"/>
              <a:gd name="connsiteX10" fmla="*/ 267234 w 267234"/>
              <a:gd name="connsiteY10" fmla="*/ 59056 h 178157"/>
              <a:gd name="connsiteX11" fmla="*/ 261737 w 267234"/>
              <a:gd name="connsiteY11" fmla="*/ 25204 h 178157"/>
              <a:gd name="connsiteX12" fmla="*/ 237625 w 267234"/>
              <a:gd name="connsiteY12" fmla="*/ 0 h 178157"/>
              <a:gd name="connsiteX13" fmla="*/ 215636 w 267234"/>
              <a:gd name="connsiteY13" fmla="*/ 8154 h 178157"/>
              <a:gd name="connsiteX14" fmla="*/ 176407 w 267234"/>
              <a:gd name="connsiteY14" fmla="*/ 32246 h 178157"/>
              <a:gd name="connsiteX15" fmla="*/ 166787 w 267234"/>
              <a:gd name="connsiteY15" fmla="*/ 31628 h 178157"/>
              <a:gd name="connsiteX16" fmla="*/ 153669 w 267234"/>
              <a:gd name="connsiteY16" fmla="*/ 33852 h 178157"/>
              <a:gd name="connsiteX17" fmla="*/ 133180 w 267234"/>
              <a:gd name="connsiteY17" fmla="*/ 44230 h 178157"/>
              <a:gd name="connsiteX18" fmla="*/ 113315 w 267234"/>
              <a:gd name="connsiteY18" fmla="*/ 45095 h 178157"/>
              <a:gd name="connsiteX19" fmla="*/ 91827 w 267234"/>
              <a:gd name="connsiteY19" fmla="*/ 54609 h 178157"/>
              <a:gd name="connsiteX20" fmla="*/ 79333 w 267234"/>
              <a:gd name="connsiteY20" fmla="*/ 40895 h 178157"/>
              <a:gd name="connsiteX21" fmla="*/ 38230 w 267234"/>
              <a:gd name="connsiteY21" fmla="*/ 42995 h 178157"/>
              <a:gd name="connsiteX22" fmla="*/ 23737 w 267234"/>
              <a:gd name="connsiteY22" fmla="*/ 42007 h 178157"/>
              <a:gd name="connsiteX23" fmla="*/ 3873 w 267234"/>
              <a:gd name="connsiteY23" fmla="*/ 72894 h 178157"/>
              <a:gd name="connsiteX24" fmla="*/ 11119 w 267234"/>
              <a:gd name="connsiteY24" fmla="*/ 87102 h 178157"/>
              <a:gd name="connsiteX25" fmla="*/ 0 w 267234"/>
              <a:gd name="connsiteY25" fmla="*/ 105881 h 178157"/>
              <a:gd name="connsiteX26" fmla="*/ 5872 w 267234"/>
              <a:gd name="connsiteY26" fmla="*/ 136645 h 178157"/>
              <a:gd name="connsiteX27" fmla="*/ 7371 w 267234"/>
              <a:gd name="connsiteY27" fmla="*/ 137015 h 178157"/>
              <a:gd name="connsiteX28" fmla="*/ 25736 w 267234"/>
              <a:gd name="connsiteY28" fmla="*/ 144428 h 178157"/>
              <a:gd name="connsiteX29" fmla="*/ 25611 w 267234"/>
              <a:gd name="connsiteY29" fmla="*/ 156783 h 178157"/>
              <a:gd name="connsiteX30" fmla="*/ 10619 w 267234"/>
              <a:gd name="connsiteY30" fmla="*/ 161602 h 178157"/>
              <a:gd name="connsiteX31" fmla="*/ 10619 w 267234"/>
              <a:gd name="connsiteY31" fmla="*/ 178157 h 17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67234" h="178157">
                <a:moveTo>
                  <a:pt x="10619" y="178157"/>
                </a:moveTo>
                <a:lnTo>
                  <a:pt x="42852" y="174945"/>
                </a:lnTo>
                <a:lnTo>
                  <a:pt x="65840" y="156907"/>
                </a:lnTo>
                <a:lnTo>
                  <a:pt x="84206" y="150853"/>
                </a:lnTo>
                <a:lnTo>
                  <a:pt x="119312" y="165061"/>
                </a:lnTo>
                <a:lnTo>
                  <a:pt x="137802" y="162961"/>
                </a:lnTo>
                <a:lnTo>
                  <a:pt x="141675" y="131332"/>
                </a:lnTo>
                <a:lnTo>
                  <a:pt x="170285" y="115642"/>
                </a:lnTo>
                <a:lnTo>
                  <a:pt x="173159" y="91920"/>
                </a:lnTo>
                <a:lnTo>
                  <a:pt x="227505" y="60786"/>
                </a:lnTo>
                <a:lnTo>
                  <a:pt x="267234" y="59056"/>
                </a:lnTo>
                <a:lnTo>
                  <a:pt x="261737" y="25204"/>
                </a:lnTo>
                <a:lnTo>
                  <a:pt x="237625" y="0"/>
                </a:lnTo>
                <a:lnTo>
                  <a:pt x="215636" y="8154"/>
                </a:lnTo>
                <a:lnTo>
                  <a:pt x="176407" y="32246"/>
                </a:lnTo>
                <a:lnTo>
                  <a:pt x="166787" y="31628"/>
                </a:lnTo>
                <a:lnTo>
                  <a:pt x="153669" y="33852"/>
                </a:lnTo>
                <a:lnTo>
                  <a:pt x="133180" y="44230"/>
                </a:lnTo>
                <a:lnTo>
                  <a:pt x="113315" y="45095"/>
                </a:lnTo>
                <a:lnTo>
                  <a:pt x="91827" y="54609"/>
                </a:lnTo>
                <a:lnTo>
                  <a:pt x="79333" y="40895"/>
                </a:lnTo>
                <a:lnTo>
                  <a:pt x="38230" y="42995"/>
                </a:lnTo>
                <a:lnTo>
                  <a:pt x="23737" y="42007"/>
                </a:lnTo>
                <a:lnTo>
                  <a:pt x="3873" y="72894"/>
                </a:lnTo>
                <a:lnTo>
                  <a:pt x="11119" y="87102"/>
                </a:lnTo>
                <a:lnTo>
                  <a:pt x="0" y="105881"/>
                </a:lnTo>
                <a:lnTo>
                  <a:pt x="5872" y="136645"/>
                </a:lnTo>
                <a:lnTo>
                  <a:pt x="7371" y="137015"/>
                </a:lnTo>
                <a:lnTo>
                  <a:pt x="25736" y="144428"/>
                </a:lnTo>
                <a:lnTo>
                  <a:pt x="25611" y="156783"/>
                </a:lnTo>
                <a:lnTo>
                  <a:pt x="10619" y="161602"/>
                </a:lnTo>
                <a:lnTo>
                  <a:pt x="10619" y="178157"/>
                </a:lnTo>
                <a:close/>
              </a:path>
            </a:pathLst>
          </a:custGeom>
          <a:pattFill prst="pct10">
            <a:fgClr>
              <a:schemeClr val="accent2">
                <a:lumMod val="75000"/>
              </a:schemeClr>
            </a:fgClr>
            <a:bgClr>
              <a:schemeClr val="bg1"/>
            </a:bgClr>
          </a:pattFill>
          <a:ln w="6061" cap="flat">
            <a:solidFill>
              <a:srgbClr val="737373"/>
            </a:solidFill>
            <a:prstDash val="solid"/>
            <a:miter/>
          </a:ln>
        </p:spPr>
        <p:txBody>
          <a:bodyPr rtlCol="0" anchor="ctr"/>
          <a:lstStyle/>
          <a:p>
            <a:endParaRPr lang="en-GB"/>
          </a:p>
        </p:txBody>
      </p:sp>
      <p:sp>
        <p:nvSpPr>
          <p:cNvPr id="17" name="Graphic 4">
            <a:extLst>
              <a:ext uri="{FF2B5EF4-FFF2-40B4-BE49-F238E27FC236}">
                <a16:creationId xmlns:a16="http://schemas.microsoft.com/office/drawing/2014/main" id="{40D469F3-90DB-919C-2F06-AC6E08E1BD3C}"/>
              </a:ext>
            </a:extLst>
          </p:cNvPr>
          <p:cNvSpPr/>
          <p:nvPr/>
        </p:nvSpPr>
        <p:spPr>
          <a:xfrm rot="1141104">
            <a:off x="7284206" y="3578060"/>
            <a:ext cx="499862" cy="380282"/>
          </a:xfrm>
          <a:custGeom>
            <a:avLst/>
            <a:gdLst>
              <a:gd name="connsiteX0" fmla="*/ 476500 w 499862"/>
              <a:gd name="connsiteY0" fmla="*/ 146158 h 380282"/>
              <a:gd name="connsiteX1" fmla="*/ 473626 w 499862"/>
              <a:gd name="connsiteY1" fmla="*/ 131579 h 380282"/>
              <a:gd name="connsiteX2" fmla="*/ 491242 w 499862"/>
              <a:gd name="connsiteY2" fmla="*/ 124290 h 380282"/>
              <a:gd name="connsiteX3" fmla="*/ 499863 w 499862"/>
              <a:gd name="connsiteY3" fmla="*/ 123919 h 380282"/>
              <a:gd name="connsiteX4" fmla="*/ 499613 w 499862"/>
              <a:gd name="connsiteY4" fmla="*/ 116754 h 380282"/>
              <a:gd name="connsiteX5" fmla="*/ 482247 w 499862"/>
              <a:gd name="connsiteY5" fmla="*/ 113541 h 380282"/>
              <a:gd name="connsiteX6" fmla="*/ 472627 w 499862"/>
              <a:gd name="connsiteY6" fmla="*/ 106005 h 380282"/>
              <a:gd name="connsiteX7" fmla="*/ 466380 w 499862"/>
              <a:gd name="connsiteY7" fmla="*/ 82778 h 380282"/>
              <a:gd name="connsiteX8" fmla="*/ 453887 w 499862"/>
              <a:gd name="connsiteY8" fmla="*/ 56462 h 380282"/>
              <a:gd name="connsiteX9" fmla="*/ 441768 w 499862"/>
              <a:gd name="connsiteY9" fmla="*/ 50408 h 380282"/>
              <a:gd name="connsiteX10" fmla="*/ 428025 w 499862"/>
              <a:gd name="connsiteY10" fmla="*/ 69311 h 380282"/>
              <a:gd name="connsiteX11" fmla="*/ 393793 w 499862"/>
              <a:gd name="connsiteY11" fmla="*/ 58933 h 380282"/>
              <a:gd name="connsiteX12" fmla="*/ 345943 w 499862"/>
              <a:gd name="connsiteY12" fmla="*/ 53126 h 380282"/>
              <a:gd name="connsiteX13" fmla="*/ 330951 w 499862"/>
              <a:gd name="connsiteY13" fmla="*/ 42624 h 380282"/>
              <a:gd name="connsiteX14" fmla="*/ 311461 w 499862"/>
              <a:gd name="connsiteY14" fmla="*/ 36323 h 380282"/>
              <a:gd name="connsiteX15" fmla="*/ 272232 w 499862"/>
              <a:gd name="connsiteY15" fmla="*/ 2595 h 380282"/>
              <a:gd name="connsiteX16" fmla="*/ 255741 w 499862"/>
              <a:gd name="connsiteY16" fmla="*/ 0 h 380282"/>
              <a:gd name="connsiteX17" fmla="*/ 256490 w 499862"/>
              <a:gd name="connsiteY17" fmla="*/ 4201 h 380282"/>
              <a:gd name="connsiteX18" fmla="*/ 216761 w 499862"/>
              <a:gd name="connsiteY18" fmla="*/ 5930 h 380282"/>
              <a:gd name="connsiteX19" fmla="*/ 162415 w 499862"/>
              <a:gd name="connsiteY19" fmla="*/ 37065 h 380282"/>
              <a:gd name="connsiteX20" fmla="*/ 159541 w 499862"/>
              <a:gd name="connsiteY20" fmla="*/ 60786 h 380282"/>
              <a:gd name="connsiteX21" fmla="*/ 131056 w 499862"/>
              <a:gd name="connsiteY21" fmla="*/ 76477 h 380282"/>
              <a:gd name="connsiteX22" fmla="*/ 127183 w 499862"/>
              <a:gd name="connsiteY22" fmla="*/ 108105 h 380282"/>
              <a:gd name="connsiteX23" fmla="*/ 108693 w 499862"/>
              <a:gd name="connsiteY23" fmla="*/ 110205 h 380282"/>
              <a:gd name="connsiteX24" fmla="*/ 73586 w 499862"/>
              <a:gd name="connsiteY24" fmla="*/ 95997 h 380282"/>
              <a:gd name="connsiteX25" fmla="*/ 55221 w 499862"/>
              <a:gd name="connsiteY25" fmla="*/ 102051 h 380282"/>
              <a:gd name="connsiteX26" fmla="*/ 32108 w 499862"/>
              <a:gd name="connsiteY26" fmla="*/ 120089 h 380282"/>
              <a:gd name="connsiteX27" fmla="*/ 0 w 499862"/>
              <a:gd name="connsiteY27" fmla="*/ 123302 h 380282"/>
              <a:gd name="connsiteX28" fmla="*/ 0 w 499862"/>
              <a:gd name="connsiteY28" fmla="*/ 125278 h 380282"/>
              <a:gd name="connsiteX29" fmla="*/ 7121 w 499862"/>
              <a:gd name="connsiteY29" fmla="*/ 160737 h 380282"/>
              <a:gd name="connsiteX30" fmla="*/ 28735 w 499862"/>
              <a:gd name="connsiteY30" fmla="*/ 179022 h 380282"/>
              <a:gd name="connsiteX31" fmla="*/ 26986 w 499862"/>
              <a:gd name="connsiteY31" fmla="*/ 185941 h 380282"/>
              <a:gd name="connsiteX32" fmla="*/ 35606 w 499862"/>
              <a:gd name="connsiteY32" fmla="*/ 192489 h 380282"/>
              <a:gd name="connsiteX33" fmla="*/ 56220 w 499862"/>
              <a:gd name="connsiteY33" fmla="*/ 155795 h 380282"/>
              <a:gd name="connsiteX34" fmla="*/ 58844 w 499862"/>
              <a:gd name="connsiteY34" fmla="*/ 136398 h 380282"/>
              <a:gd name="connsiteX35" fmla="*/ 71962 w 499862"/>
              <a:gd name="connsiteY35" fmla="*/ 120089 h 380282"/>
              <a:gd name="connsiteX36" fmla="*/ 94201 w 499862"/>
              <a:gd name="connsiteY36" fmla="*/ 118483 h 380282"/>
              <a:gd name="connsiteX37" fmla="*/ 99823 w 499862"/>
              <a:gd name="connsiteY37" fmla="*/ 136027 h 380282"/>
              <a:gd name="connsiteX38" fmla="*/ 118438 w 499862"/>
              <a:gd name="connsiteY38" fmla="*/ 149741 h 380282"/>
              <a:gd name="connsiteX39" fmla="*/ 125184 w 499862"/>
              <a:gd name="connsiteY39" fmla="*/ 176304 h 380282"/>
              <a:gd name="connsiteX40" fmla="*/ 139427 w 499862"/>
              <a:gd name="connsiteY40" fmla="*/ 201137 h 380282"/>
              <a:gd name="connsiteX41" fmla="*/ 168287 w 499862"/>
              <a:gd name="connsiteY41" fmla="*/ 225353 h 380282"/>
              <a:gd name="connsiteX42" fmla="*/ 175283 w 499862"/>
              <a:gd name="connsiteY42" fmla="*/ 226465 h 380282"/>
              <a:gd name="connsiteX43" fmla="*/ 192024 w 499862"/>
              <a:gd name="connsiteY43" fmla="*/ 242897 h 380282"/>
              <a:gd name="connsiteX44" fmla="*/ 177907 w 499862"/>
              <a:gd name="connsiteY44" fmla="*/ 238696 h 380282"/>
              <a:gd name="connsiteX45" fmla="*/ 162040 w 499862"/>
              <a:gd name="connsiteY45" fmla="*/ 241414 h 380282"/>
              <a:gd name="connsiteX46" fmla="*/ 155793 w 499862"/>
              <a:gd name="connsiteY46" fmla="*/ 256734 h 380282"/>
              <a:gd name="connsiteX47" fmla="*/ 164788 w 499862"/>
              <a:gd name="connsiteY47" fmla="*/ 272178 h 380282"/>
              <a:gd name="connsiteX48" fmla="*/ 184903 w 499862"/>
              <a:gd name="connsiteY48" fmla="*/ 271313 h 380282"/>
              <a:gd name="connsiteX49" fmla="*/ 205767 w 499862"/>
              <a:gd name="connsiteY49" fmla="*/ 289722 h 380282"/>
              <a:gd name="connsiteX50" fmla="*/ 226256 w 499862"/>
              <a:gd name="connsiteY50" fmla="*/ 295776 h 380282"/>
              <a:gd name="connsiteX51" fmla="*/ 233877 w 499862"/>
              <a:gd name="connsiteY51" fmla="*/ 311219 h 380282"/>
              <a:gd name="connsiteX52" fmla="*/ 244122 w 499862"/>
              <a:gd name="connsiteY52" fmla="*/ 321721 h 380282"/>
              <a:gd name="connsiteX53" fmla="*/ 264736 w 499862"/>
              <a:gd name="connsiteY53" fmla="*/ 316779 h 380282"/>
              <a:gd name="connsiteX54" fmla="*/ 305215 w 499862"/>
              <a:gd name="connsiteY54" fmla="*/ 318385 h 380282"/>
              <a:gd name="connsiteX55" fmla="*/ 327953 w 499862"/>
              <a:gd name="connsiteY55" fmla="*/ 328392 h 380282"/>
              <a:gd name="connsiteX56" fmla="*/ 374428 w 499862"/>
              <a:gd name="connsiteY56" fmla="*/ 371758 h 380282"/>
              <a:gd name="connsiteX57" fmla="*/ 361935 w 499862"/>
              <a:gd name="connsiteY57" fmla="*/ 373735 h 380282"/>
              <a:gd name="connsiteX58" fmla="*/ 340571 w 499862"/>
              <a:gd name="connsiteY58" fmla="*/ 363604 h 380282"/>
              <a:gd name="connsiteX59" fmla="*/ 352315 w 499862"/>
              <a:gd name="connsiteY59" fmla="*/ 376824 h 380282"/>
              <a:gd name="connsiteX60" fmla="*/ 371555 w 499862"/>
              <a:gd name="connsiteY60" fmla="*/ 380283 h 380282"/>
              <a:gd name="connsiteX61" fmla="*/ 371555 w 499862"/>
              <a:gd name="connsiteY61" fmla="*/ 380283 h 380282"/>
              <a:gd name="connsiteX62" fmla="*/ 377427 w 499862"/>
              <a:gd name="connsiteY62" fmla="*/ 364222 h 380282"/>
              <a:gd name="connsiteX63" fmla="*/ 310212 w 499862"/>
              <a:gd name="connsiteY63" fmla="*/ 295776 h 380282"/>
              <a:gd name="connsiteX64" fmla="*/ 233377 w 499862"/>
              <a:gd name="connsiteY64" fmla="*/ 234866 h 380282"/>
              <a:gd name="connsiteX65" fmla="*/ 230254 w 499862"/>
              <a:gd name="connsiteY65" fmla="*/ 224488 h 380282"/>
              <a:gd name="connsiteX66" fmla="*/ 236001 w 499862"/>
              <a:gd name="connsiteY66" fmla="*/ 217693 h 380282"/>
              <a:gd name="connsiteX67" fmla="*/ 223383 w 499862"/>
              <a:gd name="connsiteY67" fmla="*/ 203114 h 380282"/>
              <a:gd name="connsiteX68" fmla="*/ 219385 w 499862"/>
              <a:gd name="connsiteY68" fmla="*/ 188288 h 380282"/>
              <a:gd name="connsiteX69" fmla="*/ 200020 w 499862"/>
              <a:gd name="connsiteY69" fmla="*/ 168150 h 380282"/>
              <a:gd name="connsiteX70" fmla="*/ 188151 w 499862"/>
              <a:gd name="connsiteY70" fmla="*/ 169385 h 380282"/>
              <a:gd name="connsiteX71" fmla="*/ 186902 w 499862"/>
              <a:gd name="connsiteY71" fmla="*/ 156289 h 380282"/>
              <a:gd name="connsiteX72" fmla="*/ 193898 w 499862"/>
              <a:gd name="connsiteY72" fmla="*/ 148753 h 380282"/>
              <a:gd name="connsiteX73" fmla="*/ 192899 w 499862"/>
              <a:gd name="connsiteY73" fmla="*/ 125155 h 380282"/>
              <a:gd name="connsiteX74" fmla="*/ 199895 w 499862"/>
              <a:gd name="connsiteY74" fmla="*/ 116383 h 380282"/>
              <a:gd name="connsiteX75" fmla="*/ 222383 w 499862"/>
              <a:gd name="connsiteY75" fmla="*/ 131703 h 380282"/>
              <a:gd name="connsiteX76" fmla="*/ 230129 w 499862"/>
              <a:gd name="connsiteY76" fmla="*/ 143811 h 380282"/>
              <a:gd name="connsiteX77" fmla="*/ 241998 w 499862"/>
              <a:gd name="connsiteY77" fmla="*/ 140722 h 380282"/>
              <a:gd name="connsiteX78" fmla="*/ 241998 w 499862"/>
              <a:gd name="connsiteY78" fmla="*/ 128244 h 380282"/>
              <a:gd name="connsiteX79" fmla="*/ 258489 w 499862"/>
              <a:gd name="connsiteY79" fmla="*/ 124908 h 380282"/>
              <a:gd name="connsiteX80" fmla="*/ 269733 w 499862"/>
              <a:gd name="connsiteY80" fmla="*/ 124908 h 380282"/>
              <a:gd name="connsiteX81" fmla="*/ 278604 w 499862"/>
              <a:gd name="connsiteY81" fmla="*/ 114900 h 380282"/>
              <a:gd name="connsiteX82" fmla="*/ 293471 w 499862"/>
              <a:gd name="connsiteY82" fmla="*/ 122807 h 380282"/>
              <a:gd name="connsiteX83" fmla="*/ 301092 w 499862"/>
              <a:gd name="connsiteY83" fmla="*/ 115271 h 380282"/>
              <a:gd name="connsiteX84" fmla="*/ 315709 w 499862"/>
              <a:gd name="connsiteY84" fmla="*/ 117865 h 380282"/>
              <a:gd name="connsiteX85" fmla="*/ 324330 w 499862"/>
              <a:gd name="connsiteY85" fmla="*/ 132568 h 380282"/>
              <a:gd name="connsiteX86" fmla="*/ 335949 w 499862"/>
              <a:gd name="connsiteY86" fmla="*/ 123549 h 380282"/>
              <a:gd name="connsiteX87" fmla="*/ 356813 w 499862"/>
              <a:gd name="connsiteY87" fmla="*/ 129850 h 380282"/>
              <a:gd name="connsiteX88" fmla="*/ 371055 w 499862"/>
              <a:gd name="connsiteY88" fmla="*/ 123425 h 380282"/>
              <a:gd name="connsiteX89" fmla="*/ 375928 w 499862"/>
              <a:gd name="connsiteY89" fmla="*/ 129108 h 380282"/>
              <a:gd name="connsiteX90" fmla="*/ 398291 w 499862"/>
              <a:gd name="connsiteY90" fmla="*/ 125525 h 380282"/>
              <a:gd name="connsiteX91" fmla="*/ 417781 w 499862"/>
              <a:gd name="connsiteY91" fmla="*/ 131950 h 380282"/>
              <a:gd name="connsiteX92" fmla="*/ 429524 w 499862"/>
              <a:gd name="connsiteY92" fmla="*/ 129479 h 380282"/>
              <a:gd name="connsiteX93" fmla="*/ 448639 w 499862"/>
              <a:gd name="connsiteY93" fmla="*/ 143687 h 380282"/>
              <a:gd name="connsiteX94" fmla="*/ 474501 w 499862"/>
              <a:gd name="connsiteY94" fmla="*/ 143193 h 380282"/>
              <a:gd name="connsiteX95" fmla="*/ 476875 w 499862"/>
              <a:gd name="connsiteY95" fmla="*/ 146035 h 380282"/>
              <a:gd name="connsiteX96" fmla="*/ 476875 w 499862"/>
              <a:gd name="connsiteY96" fmla="*/ 146035 h 380282"/>
              <a:gd name="connsiteX97" fmla="*/ 294970 w 499862"/>
              <a:gd name="connsiteY97" fmla="*/ 369411 h 380282"/>
              <a:gd name="connsiteX98" fmla="*/ 326703 w 499862"/>
              <a:gd name="connsiteY98" fmla="*/ 367434 h 380282"/>
              <a:gd name="connsiteX99" fmla="*/ 339072 w 499862"/>
              <a:gd name="connsiteY99" fmla="*/ 378059 h 380282"/>
              <a:gd name="connsiteX100" fmla="*/ 311212 w 499862"/>
              <a:gd name="connsiteY100" fmla="*/ 377318 h 380282"/>
              <a:gd name="connsiteX101" fmla="*/ 294970 w 499862"/>
              <a:gd name="connsiteY101" fmla="*/ 369534 h 380282"/>
              <a:gd name="connsiteX102" fmla="*/ 294970 w 499862"/>
              <a:gd name="connsiteY102" fmla="*/ 369534 h 380282"/>
              <a:gd name="connsiteX103" fmla="*/ 272982 w 499862"/>
              <a:gd name="connsiteY103" fmla="*/ 350755 h 380282"/>
              <a:gd name="connsiteX104" fmla="*/ 319957 w 499862"/>
              <a:gd name="connsiteY104" fmla="*/ 349396 h 380282"/>
              <a:gd name="connsiteX105" fmla="*/ 301217 w 499862"/>
              <a:gd name="connsiteY105" fmla="*/ 359403 h 380282"/>
              <a:gd name="connsiteX106" fmla="*/ 273107 w 499862"/>
              <a:gd name="connsiteY106" fmla="*/ 350755 h 380282"/>
              <a:gd name="connsiteX107" fmla="*/ 273107 w 499862"/>
              <a:gd name="connsiteY107" fmla="*/ 350755 h 380282"/>
              <a:gd name="connsiteX108" fmla="*/ 272732 w 499862"/>
              <a:gd name="connsiteY108" fmla="*/ 329875 h 380282"/>
              <a:gd name="connsiteX109" fmla="*/ 309088 w 499862"/>
              <a:gd name="connsiteY109" fmla="*/ 328269 h 380282"/>
              <a:gd name="connsiteX110" fmla="*/ 317208 w 499862"/>
              <a:gd name="connsiteY110" fmla="*/ 333211 h 380282"/>
              <a:gd name="connsiteX111" fmla="*/ 299718 w 499862"/>
              <a:gd name="connsiteY111" fmla="*/ 342477 h 380282"/>
              <a:gd name="connsiteX112" fmla="*/ 281727 w 499862"/>
              <a:gd name="connsiteY112" fmla="*/ 340624 h 380282"/>
              <a:gd name="connsiteX113" fmla="*/ 272607 w 499862"/>
              <a:gd name="connsiteY113" fmla="*/ 329875 h 380282"/>
              <a:gd name="connsiteX114" fmla="*/ 272607 w 499862"/>
              <a:gd name="connsiteY114" fmla="*/ 329875 h 380282"/>
              <a:gd name="connsiteX115" fmla="*/ 136803 w 499862"/>
              <a:gd name="connsiteY115" fmla="*/ 219793 h 380282"/>
              <a:gd name="connsiteX116" fmla="*/ 147423 w 499862"/>
              <a:gd name="connsiteY116" fmla="*/ 221893 h 380282"/>
              <a:gd name="connsiteX117" fmla="*/ 160041 w 499862"/>
              <a:gd name="connsiteY117" fmla="*/ 237090 h 380282"/>
              <a:gd name="connsiteX118" fmla="*/ 153669 w 499862"/>
              <a:gd name="connsiteY118" fmla="*/ 241908 h 380282"/>
              <a:gd name="connsiteX119" fmla="*/ 136803 w 499862"/>
              <a:gd name="connsiteY119" fmla="*/ 219670 h 380282"/>
              <a:gd name="connsiteX120" fmla="*/ 136803 w 499862"/>
              <a:gd name="connsiteY120" fmla="*/ 219670 h 380282"/>
              <a:gd name="connsiteX121" fmla="*/ 121186 w 499862"/>
              <a:gd name="connsiteY121" fmla="*/ 196195 h 380282"/>
              <a:gd name="connsiteX122" fmla="*/ 138427 w 499862"/>
              <a:gd name="connsiteY122" fmla="*/ 212504 h 380282"/>
              <a:gd name="connsiteX123" fmla="*/ 121061 w 499862"/>
              <a:gd name="connsiteY123" fmla="*/ 208674 h 380282"/>
              <a:gd name="connsiteX124" fmla="*/ 121061 w 499862"/>
              <a:gd name="connsiteY124" fmla="*/ 196195 h 380282"/>
              <a:gd name="connsiteX125" fmla="*/ 121061 w 499862"/>
              <a:gd name="connsiteY125" fmla="*/ 196195 h 380282"/>
              <a:gd name="connsiteX126" fmla="*/ 127558 w 499862"/>
              <a:gd name="connsiteY126" fmla="*/ 250927 h 380282"/>
              <a:gd name="connsiteX127" fmla="*/ 146673 w 499862"/>
              <a:gd name="connsiteY127" fmla="*/ 265136 h 380282"/>
              <a:gd name="connsiteX128" fmla="*/ 151920 w 499862"/>
              <a:gd name="connsiteY128" fmla="*/ 280703 h 380282"/>
              <a:gd name="connsiteX129" fmla="*/ 127433 w 499862"/>
              <a:gd name="connsiteY129" fmla="*/ 250927 h 380282"/>
              <a:gd name="connsiteX130" fmla="*/ 127433 w 499862"/>
              <a:gd name="connsiteY130" fmla="*/ 250927 h 380282"/>
              <a:gd name="connsiteX131" fmla="*/ 103196 w 499862"/>
              <a:gd name="connsiteY131" fmla="*/ 221770 h 380282"/>
              <a:gd name="connsiteX132" fmla="*/ 117313 w 499862"/>
              <a:gd name="connsiteY132" fmla="*/ 227083 h 380282"/>
              <a:gd name="connsiteX133" fmla="*/ 119937 w 499862"/>
              <a:gd name="connsiteY133" fmla="*/ 240055 h 380282"/>
              <a:gd name="connsiteX134" fmla="*/ 103196 w 499862"/>
              <a:gd name="connsiteY134" fmla="*/ 221770 h 380282"/>
              <a:gd name="connsiteX135" fmla="*/ 103196 w 499862"/>
              <a:gd name="connsiteY135" fmla="*/ 221770 h 380282"/>
              <a:gd name="connsiteX136" fmla="*/ 68589 w 499862"/>
              <a:gd name="connsiteY136" fmla="*/ 174080 h 380282"/>
              <a:gd name="connsiteX137" fmla="*/ 92451 w 499862"/>
              <a:gd name="connsiteY137" fmla="*/ 189400 h 380282"/>
              <a:gd name="connsiteX138" fmla="*/ 101447 w 499862"/>
              <a:gd name="connsiteY138" fmla="*/ 212627 h 380282"/>
              <a:gd name="connsiteX139" fmla="*/ 94201 w 499862"/>
              <a:gd name="connsiteY139" fmla="*/ 214233 h 380282"/>
              <a:gd name="connsiteX140" fmla="*/ 77584 w 499862"/>
              <a:gd name="connsiteY140" fmla="*/ 197925 h 380282"/>
              <a:gd name="connsiteX141" fmla="*/ 81332 w 499862"/>
              <a:gd name="connsiteY141" fmla="*/ 192489 h 380282"/>
              <a:gd name="connsiteX142" fmla="*/ 68589 w 499862"/>
              <a:gd name="connsiteY142" fmla="*/ 174080 h 380282"/>
              <a:gd name="connsiteX143" fmla="*/ 68589 w 499862"/>
              <a:gd name="connsiteY143" fmla="*/ 174080 h 380282"/>
              <a:gd name="connsiteX144" fmla="*/ 82207 w 499862"/>
              <a:gd name="connsiteY144" fmla="*/ 136892 h 380282"/>
              <a:gd name="connsiteX145" fmla="*/ 110442 w 499862"/>
              <a:gd name="connsiteY145" fmla="*/ 174945 h 380282"/>
              <a:gd name="connsiteX146" fmla="*/ 97449 w 499862"/>
              <a:gd name="connsiteY146" fmla="*/ 180752 h 380282"/>
              <a:gd name="connsiteX147" fmla="*/ 89828 w 499862"/>
              <a:gd name="connsiteY147" fmla="*/ 171856 h 380282"/>
              <a:gd name="connsiteX148" fmla="*/ 76460 w 499862"/>
              <a:gd name="connsiteY148" fmla="*/ 169138 h 380282"/>
              <a:gd name="connsiteX149" fmla="*/ 73336 w 499862"/>
              <a:gd name="connsiteY149" fmla="*/ 143687 h 380282"/>
              <a:gd name="connsiteX150" fmla="*/ 82332 w 499862"/>
              <a:gd name="connsiteY150" fmla="*/ 136768 h 380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99862" h="380282">
                <a:moveTo>
                  <a:pt x="476500" y="146158"/>
                </a:moveTo>
                <a:lnTo>
                  <a:pt x="473626" y="131579"/>
                </a:lnTo>
                <a:lnTo>
                  <a:pt x="491242" y="124290"/>
                </a:lnTo>
                <a:lnTo>
                  <a:pt x="499863" y="123919"/>
                </a:lnTo>
                <a:lnTo>
                  <a:pt x="499613" y="116754"/>
                </a:lnTo>
                <a:lnTo>
                  <a:pt x="482247" y="113541"/>
                </a:lnTo>
                <a:lnTo>
                  <a:pt x="472627" y="106005"/>
                </a:lnTo>
                <a:lnTo>
                  <a:pt x="466380" y="82778"/>
                </a:lnTo>
                <a:lnTo>
                  <a:pt x="453887" y="56462"/>
                </a:lnTo>
                <a:lnTo>
                  <a:pt x="441768" y="50408"/>
                </a:lnTo>
                <a:lnTo>
                  <a:pt x="428025" y="69311"/>
                </a:lnTo>
                <a:lnTo>
                  <a:pt x="393793" y="58933"/>
                </a:lnTo>
                <a:lnTo>
                  <a:pt x="345943" y="53126"/>
                </a:lnTo>
                <a:lnTo>
                  <a:pt x="330951" y="42624"/>
                </a:lnTo>
                <a:lnTo>
                  <a:pt x="311461" y="36323"/>
                </a:lnTo>
                <a:lnTo>
                  <a:pt x="272232" y="2595"/>
                </a:lnTo>
                <a:lnTo>
                  <a:pt x="255741" y="0"/>
                </a:lnTo>
                <a:lnTo>
                  <a:pt x="256490" y="4201"/>
                </a:lnTo>
                <a:lnTo>
                  <a:pt x="216761" y="5930"/>
                </a:lnTo>
                <a:lnTo>
                  <a:pt x="162415" y="37065"/>
                </a:lnTo>
                <a:lnTo>
                  <a:pt x="159541" y="60786"/>
                </a:lnTo>
                <a:lnTo>
                  <a:pt x="131056" y="76477"/>
                </a:lnTo>
                <a:lnTo>
                  <a:pt x="127183" y="108105"/>
                </a:lnTo>
                <a:lnTo>
                  <a:pt x="108693" y="110205"/>
                </a:lnTo>
                <a:lnTo>
                  <a:pt x="73586" y="95997"/>
                </a:lnTo>
                <a:lnTo>
                  <a:pt x="55221" y="102051"/>
                </a:lnTo>
                <a:lnTo>
                  <a:pt x="32108" y="120089"/>
                </a:lnTo>
                <a:lnTo>
                  <a:pt x="0" y="123302"/>
                </a:lnTo>
                <a:lnTo>
                  <a:pt x="0" y="125278"/>
                </a:lnTo>
                <a:cubicBezTo>
                  <a:pt x="0" y="125278"/>
                  <a:pt x="7121" y="160737"/>
                  <a:pt x="7121" y="160737"/>
                </a:cubicBezTo>
                <a:lnTo>
                  <a:pt x="28735" y="179022"/>
                </a:lnTo>
                <a:lnTo>
                  <a:pt x="26986" y="185941"/>
                </a:lnTo>
                <a:lnTo>
                  <a:pt x="35606" y="192489"/>
                </a:lnTo>
                <a:lnTo>
                  <a:pt x="56220" y="155795"/>
                </a:lnTo>
                <a:lnTo>
                  <a:pt x="58844" y="136398"/>
                </a:lnTo>
                <a:lnTo>
                  <a:pt x="71962" y="120089"/>
                </a:lnTo>
                <a:lnTo>
                  <a:pt x="94201" y="118483"/>
                </a:lnTo>
                <a:lnTo>
                  <a:pt x="99823" y="136027"/>
                </a:lnTo>
                <a:lnTo>
                  <a:pt x="118438" y="149741"/>
                </a:lnTo>
                <a:lnTo>
                  <a:pt x="125184" y="176304"/>
                </a:lnTo>
                <a:lnTo>
                  <a:pt x="139427" y="201137"/>
                </a:lnTo>
                <a:lnTo>
                  <a:pt x="168287" y="225353"/>
                </a:lnTo>
                <a:lnTo>
                  <a:pt x="175283" y="226465"/>
                </a:lnTo>
                <a:lnTo>
                  <a:pt x="192024" y="242897"/>
                </a:lnTo>
                <a:lnTo>
                  <a:pt x="177907" y="238696"/>
                </a:lnTo>
                <a:lnTo>
                  <a:pt x="162040" y="241414"/>
                </a:lnTo>
                <a:lnTo>
                  <a:pt x="155793" y="256734"/>
                </a:lnTo>
                <a:lnTo>
                  <a:pt x="164788" y="272178"/>
                </a:lnTo>
                <a:lnTo>
                  <a:pt x="184903" y="271313"/>
                </a:lnTo>
                <a:lnTo>
                  <a:pt x="205767" y="289722"/>
                </a:lnTo>
                <a:lnTo>
                  <a:pt x="226256" y="295776"/>
                </a:lnTo>
                <a:lnTo>
                  <a:pt x="233877" y="311219"/>
                </a:lnTo>
                <a:lnTo>
                  <a:pt x="244122" y="321721"/>
                </a:lnTo>
                <a:lnTo>
                  <a:pt x="264736" y="316779"/>
                </a:lnTo>
                <a:lnTo>
                  <a:pt x="305215" y="318385"/>
                </a:lnTo>
                <a:lnTo>
                  <a:pt x="327953" y="328392"/>
                </a:lnTo>
                <a:lnTo>
                  <a:pt x="374428" y="371758"/>
                </a:lnTo>
                <a:lnTo>
                  <a:pt x="361935" y="373735"/>
                </a:lnTo>
                <a:lnTo>
                  <a:pt x="340571" y="363604"/>
                </a:lnTo>
                <a:lnTo>
                  <a:pt x="352315" y="376824"/>
                </a:lnTo>
                <a:lnTo>
                  <a:pt x="371555" y="380283"/>
                </a:lnTo>
                <a:lnTo>
                  <a:pt x="371555" y="380283"/>
                </a:lnTo>
                <a:cubicBezTo>
                  <a:pt x="371555" y="380283"/>
                  <a:pt x="377427" y="364222"/>
                  <a:pt x="377427" y="364222"/>
                </a:cubicBezTo>
                <a:lnTo>
                  <a:pt x="310212" y="295776"/>
                </a:lnTo>
                <a:lnTo>
                  <a:pt x="233377" y="234866"/>
                </a:lnTo>
                <a:lnTo>
                  <a:pt x="230254" y="224488"/>
                </a:lnTo>
                <a:lnTo>
                  <a:pt x="236001" y="217693"/>
                </a:lnTo>
                <a:lnTo>
                  <a:pt x="223383" y="203114"/>
                </a:lnTo>
                <a:lnTo>
                  <a:pt x="219385" y="188288"/>
                </a:lnTo>
                <a:lnTo>
                  <a:pt x="200020" y="168150"/>
                </a:lnTo>
                <a:lnTo>
                  <a:pt x="188151" y="169385"/>
                </a:lnTo>
                <a:lnTo>
                  <a:pt x="186902" y="156289"/>
                </a:lnTo>
                <a:lnTo>
                  <a:pt x="193898" y="148753"/>
                </a:lnTo>
                <a:lnTo>
                  <a:pt x="192899" y="125155"/>
                </a:lnTo>
                <a:lnTo>
                  <a:pt x="199895" y="116383"/>
                </a:lnTo>
                <a:lnTo>
                  <a:pt x="222383" y="131703"/>
                </a:lnTo>
                <a:lnTo>
                  <a:pt x="230129" y="143811"/>
                </a:lnTo>
                <a:lnTo>
                  <a:pt x="241998" y="140722"/>
                </a:lnTo>
                <a:lnTo>
                  <a:pt x="241998" y="128244"/>
                </a:lnTo>
                <a:cubicBezTo>
                  <a:pt x="241998" y="128244"/>
                  <a:pt x="258489" y="124908"/>
                  <a:pt x="258489" y="124908"/>
                </a:cubicBezTo>
                <a:lnTo>
                  <a:pt x="269733" y="124908"/>
                </a:lnTo>
                <a:cubicBezTo>
                  <a:pt x="269733" y="124908"/>
                  <a:pt x="278604" y="114900"/>
                  <a:pt x="278604" y="114900"/>
                </a:cubicBezTo>
                <a:lnTo>
                  <a:pt x="293471" y="122807"/>
                </a:lnTo>
                <a:lnTo>
                  <a:pt x="301092" y="115271"/>
                </a:lnTo>
                <a:lnTo>
                  <a:pt x="315709" y="117865"/>
                </a:lnTo>
                <a:lnTo>
                  <a:pt x="324330" y="132568"/>
                </a:lnTo>
                <a:lnTo>
                  <a:pt x="335949" y="123549"/>
                </a:lnTo>
                <a:lnTo>
                  <a:pt x="356813" y="129850"/>
                </a:lnTo>
                <a:lnTo>
                  <a:pt x="371055" y="123425"/>
                </a:lnTo>
                <a:lnTo>
                  <a:pt x="375928" y="129108"/>
                </a:lnTo>
                <a:lnTo>
                  <a:pt x="398291" y="125525"/>
                </a:lnTo>
                <a:lnTo>
                  <a:pt x="417781" y="131950"/>
                </a:lnTo>
                <a:lnTo>
                  <a:pt x="429524" y="129479"/>
                </a:lnTo>
                <a:lnTo>
                  <a:pt x="448639" y="143687"/>
                </a:lnTo>
                <a:lnTo>
                  <a:pt x="474501" y="143193"/>
                </a:lnTo>
                <a:lnTo>
                  <a:pt x="476875" y="146035"/>
                </a:lnTo>
                <a:lnTo>
                  <a:pt x="476875" y="146035"/>
                </a:lnTo>
                <a:close/>
                <a:moveTo>
                  <a:pt x="294970" y="369411"/>
                </a:moveTo>
                <a:cubicBezTo>
                  <a:pt x="296219" y="368669"/>
                  <a:pt x="326703" y="367434"/>
                  <a:pt x="326703" y="367434"/>
                </a:cubicBezTo>
                <a:lnTo>
                  <a:pt x="339072" y="378059"/>
                </a:lnTo>
                <a:lnTo>
                  <a:pt x="311212" y="377318"/>
                </a:lnTo>
                <a:lnTo>
                  <a:pt x="294970" y="369534"/>
                </a:lnTo>
                <a:lnTo>
                  <a:pt x="294970" y="369534"/>
                </a:lnTo>
                <a:close/>
                <a:moveTo>
                  <a:pt x="272982" y="350755"/>
                </a:moveTo>
                <a:lnTo>
                  <a:pt x="319957" y="349396"/>
                </a:lnTo>
                <a:lnTo>
                  <a:pt x="301217" y="359403"/>
                </a:lnTo>
                <a:lnTo>
                  <a:pt x="273107" y="350755"/>
                </a:lnTo>
                <a:lnTo>
                  <a:pt x="273107" y="350755"/>
                </a:lnTo>
                <a:close/>
                <a:moveTo>
                  <a:pt x="272732" y="329875"/>
                </a:moveTo>
                <a:lnTo>
                  <a:pt x="309088" y="328269"/>
                </a:lnTo>
                <a:lnTo>
                  <a:pt x="317208" y="333211"/>
                </a:lnTo>
                <a:lnTo>
                  <a:pt x="299718" y="342477"/>
                </a:lnTo>
                <a:lnTo>
                  <a:pt x="281727" y="340624"/>
                </a:lnTo>
                <a:lnTo>
                  <a:pt x="272607" y="329875"/>
                </a:lnTo>
                <a:lnTo>
                  <a:pt x="272607" y="329875"/>
                </a:lnTo>
                <a:close/>
                <a:moveTo>
                  <a:pt x="136803" y="219793"/>
                </a:moveTo>
                <a:lnTo>
                  <a:pt x="147423" y="221893"/>
                </a:lnTo>
                <a:lnTo>
                  <a:pt x="160041" y="237090"/>
                </a:lnTo>
                <a:lnTo>
                  <a:pt x="153669" y="241908"/>
                </a:lnTo>
                <a:lnTo>
                  <a:pt x="136803" y="219670"/>
                </a:lnTo>
                <a:lnTo>
                  <a:pt x="136803" y="219670"/>
                </a:lnTo>
                <a:close/>
                <a:moveTo>
                  <a:pt x="121186" y="196195"/>
                </a:moveTo>
                <a:lnTo>
                  <a:pt x="138427" y="212504"/>
                </a:lnTo>
                <a:lnTo>
                  <a:pt x="121061" y="208674"/>
                </a:lnTo>
                <a:lnTo>
                  <a:pt x="121061" y="196195"/>
                </a:lnTo>
                <a:lnTo>
                  <a:pt x="121061" y="196195"/>
                </a:lnTo>
                <a:close/>
                <a:moveTo>
                  <a:pt x="127558" y="250927"/>
                </a:moveTo>
                <a:lnTo>
                  <a:pt x="146673" y="265136"/>
                </a:lnTo>
                <a:lnTo>
                  <a:pt x="151920" y="280703"/>
                </a:lnTo>
                <a:lnTo>
                  <a:pt x="127433" y="250927"/>
                </a:lnTo>
                <a:lnTo>
                  <a:pt x="127433" y="250927"/>
                </a:lnTo>
                <a:close/>
                <a:moveTo>
                  <a:pt x="103196" y="221770"/>
                </a:moveTo>
                <a:lnTo>
                  <a:pt x="117313" y="227083"/>
                </a:lnTo>
                <a:lnTo>
                  <a:pt x="119937" y="240055"/>
                </a:lnTo>
                <a:lnTo>
                  <a:pt x="103196" y="221770"/>
                </a:lnTo>
                <a:lnTo>
                  <a:pt x="103196" y="221770"/>
                </a:lnTo>
                <a:close/>
                <a:moveTo>
                  <a:pt x="68589" y="174080"/>
                </a:moveTo>
                <a:lnTo>
                  <a:pt x="92451" y="189400"/>
                </a:lnTo>
                <a:lnTo>
                  <a:pt x="101447" y="212627"/>
                </a:lnTo>
                <a:lnTo>
                  <a:pt x="94201" y="214233"/>
                </a:lnTo>
                <a:lnTo>
                  <a:pt x="77584" y="197925"/>
                </a:lnTo>
                <a:lnTo>
                  <a:pt x="81332" y="192489"/>
                </a:lnTo>
                <a:lnTo>
                  <a:pt x="68589" y="174080"/>
                </a:lnTo>
                <a:lnTo>
                  <a:pt x="68589" y="174080"/>
                </a:lnTo>
                <a:close/>
                <a:moveTo>
                  <a:pt x="82207" y="136892"/>
                </a:moveTo>
                <a:lnTo>
                  <a:pt x="110442" y="174945"/>
                </a:lnTo>
                <a:lnTo>
                  <a:pt x="97449" y="180752"/>
                </a:lnTo>
                <a:lnTo>
                  <a:pt x="89828" y="171856"/>
                </a:lnTo>
                <a:lnTo>
                  <a:pt x="76460" y="169138"/>
                </a:lnTo>
                <a:lnTo>
                  <a:pt x="73336" y="143687"/>
                </a:lnTo>
                <a:cubicBezTo>
                  <a:pt x="73336" y="143687"/>
                  <a:pt x="80957" y="136768"/>
                  <a:pt x="82332" y="136768"/>
                </a:cubicBez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8" name="Graphic 146">
            <a:extLst>
              <a:ext uri="{FF2B5EF4-FFF2-40B4-BE49-F238E27FC236}">
                <a16:creationId xmlns:a16="http://schemas.microsoft.com/office/drawing/2014/main" id="{728C4B61-44CD-1D1C-53C5-73F219AF9F0E}"/>
              </a:ext>
            </a:extLst>
          </p:cNvPr>
          <p:cNvSpPr/>
          <p:nvPr/>
        </p:nvSpPr>
        <p:spPr>
          <a:xfrm rot="1141104">
            <a:off x="7679210" y="4076710"/>
            <a:ext cx="174782" cy="328639"/>
          </a:xfrm>
          <a:custGeom>
            <a:avLst/>
            <a:gdLst>
              <a:gd name="connsiteX0" fmla="*/ 123310 w 174782"/>
              <a:gd name="connsiteY0" fmla="*/ 86484 h 328639"/>
              <a:gd name="connsiteX1" fmla="*/ 120187 w 174782"/>
              <a:gd name="connsiteY1" fmla="*/ 117865 h 328639"/>
              <a:gd name="connsiteX2" fmla="*/ 128557 w 174782"/>
              <a:gd name="connsiteY2" fmla="*/ 151347 h 328639"/>
              <a:gd name="connsiteX3" fmla="*/ 144299 w 174782"/>
              <a:gd name="connsiteY3" fmla="*/ 175933 h 328639"/>
              <a:gd name="connsiteX4" fmla="*/ 154793 w 174782"/>
              <a:gd name="connsiteY4" fmla="*/ 196813 h 328639"/>
              <a:gd name="connsiteX5" fmla="*/ 174783 w 174782"/>
              <a:gd name="connsiteY5" fmla="*/ 209785 h 328639"/>
              <a:gd name="connsiteX6" fmla="*/ 172159 w 174782"/>
              <a:gd name="connsiteY6" fmla="*/ 233630 h 328639"/>
              <a:gd name="connsiteX7" fmla="*/ 158791 w 174782"/>
              <a:gd name="connsiteY7" fmla="*/ 260317 h 328639"/>
              <a:gd name="connsiteX8" fmla="*/ 122935 w 174782"/>
              <a:gd name="connsiteY8" fmla="*/ 273660 h 328639"/>
              <a:gd name="connsiteX9" fmla="*/ 122435 w 174782"/>
              <a:gd name="connsiteY9" fmla="*/ 294663 h 328639"/>
              <a:gd name="connsiteX10" fmla="*/ 111066 w 174782"/>
              <a:gd name="connsiteY10" fmla="*/ 321967 h 328639"/>
              <a:gd name="connsiteX11" fmla="*/ 99447 w 174782"/>
              <a:gd name="connsiteY11" fmla="*/ 328639 h 328639"/>
              <a:gd name="connsiteX12" fmla="*/ 82831 w 174782"/>
              <a:gd name="connsiteY12" fmla="*/ 318261 h 328639"/>
              <a:gd name="connsiteX13" fmla="*/ 64341 w 174782"/>
              <a:gd name="connsiteY13" fmla="*/ 276378 h 328639"/>
              <a:gd name="connsiteX14" fmla="*/ 30859 w 174782"/>
              <a:gd name="connsiteY14" fmla="*/ 276502 h 328639"/>
              <a:gd name="connsiteX15" fmla="*/ 20614 w 174782"/>
              <a:gd name="connsiteY15" fmla="*/ 265876 h 328639"/>
              <a:gd name="connsiteX16" fmla="*/ 26736 w 174782"/>
              <a:gd name="connsiteY16" fmla="*/ 244997 h 328639"/>
              <a:gd name="connsiteX17" fmla="*/ 16366 w 174782"/>
              <a:gd name="connsiteY17" fmla="*/ 228935 h 328639"/>
              <a:gd name="connsiteX18" fmla="*/ 15367 w 174782"/>
              <a:gd name="connsiteY18" fmla="*/ 206944 h 328639"/>
              <a:gd name="connsiteX19" fmla="*/ 22863 w 174782"/>
              <a:gd name="connsiteY19" fmla="*/ 187300 h 328639"/>
              <a:gd name="connsiteX20" fmla="*/ 10494 w 174782"/>
              <a:gd name="connsiteY20" fmla="*/ 158883 h 328639"/>
              <a:gd name="connsiteX21" fmla="*/ 17116 w 174782"/>
              <a:gd name="connsiteY21" fmla="*/ 118730 h 328639"/>
              <a:gd name="connsiteX22" fmla="*/ 25237 w 174782"/>
              <a:gd name="connsiteY22" fmla="*/ 114282 h 328639"/>
              <a:gd name="connsiteX23" fmla="*/ 27361 w 174782"/>
              <a:gd name="connsiteY23" fmla="*/ 100445 h 328639"/>
              <a:gd name="connsiteX24" fmla="*/ 0 w 174782"/>
              <a:gd name="connsiteY24" fmla="*/ 88214 h 328639"/>
              <a:gd name="connsiteX25" fmla="*/ 125 w 174782"/>
              <a:gd name="connsiteY25" fmla="*/ 54979 h 328639"/>
              <a:gd name="connsiteX26" fmla="*/ 11619 w 174782"/>
              <a:gd name="connsiteY26" fmla="*/ 28169 h 328639"/>
              <a:gd name="connsiteX27" fmla="*/ 29734 w 174782"/>
              <a:gd name="connsiteY27" fmla="*/ 4571 h 328639"/>
              <a:gd name="connsiteX28" fmla="*/ 36481 w 174782"/>
              <a:gd name="connsiteY28" fmla="*/ 5560 h 328639"/>
              <a:gd name="connsiteX29" fmla="*/ 48349 w 174782"/>
              <a:gd name="connsiteY29" fmla="*/ 21374 h 328639"/>
              <a:gd name="connsiteX30" fmla="*/ 63342 w 174782"/>
              <a:gd name="connsiteY30" fmla="*/ 1112 h 328639"/>
              <a:gd name="connsiteX31" fmla="*/ 63591 w 174782"/>
              <a:gd name="connsiteY31" fmla="*/ 0 h 328639"/>
              <a:gd name="connsiteX32" fmla="*/ 70713 w 174782"/>
              <a:gd name="connsiteY32" fmla="*/ 4571 h 328639"/>
              <a:gd name="connsiteX33" fmla="*/ 83956 w 174782"/>
              <a:gd name="connsiteY33" fmla="*/ 24463 h 328639"/>
              <a:gd name="connsiteX34" fmla="*/ 92326 w 174782"/>
              <a:gd name="connsiteY34" fmla="*/ 26069 h 328639"/>
              <a:gd name="connsiteX35" fmla="*/ 111691 w 174782"/>
              <a:gd name="connsiteY35" fmla="*/ 37312 h 328639"/>
              <a:gd name="connsiteX36" fmla="*/ 117813 w 174782"/>
              <a:gd name="connsiteY36" fmla="*/ 50531 h 328639"/>
              <a:gd name="connsiteX37" fmla="*/ 118687 w 174782"/>
              <a:gd name="connsiteY37" fmla="*/ 78453 h 328639"/>
              <a:gd name="connsiteX38" fmla="*/ 123310 w 174782"/>
              <a:gd name="connsiteY38" fmla="*/ 86484 h 32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4782" h="328639">
                <a:moveTo>
                  <a:pt x="123310" y="86484"/>
                </a:moveTo>
                <a:lnTo>
                  <a:pt x="120187" y="117865"/>
                </a:lnTo>
                <a:lnTo>
                  <a:pt x="128557" y="151347"/>
                </a:lnTo>
                <a:lnTo>
                  <a:pt x="144299" y="175933"/>
                </a:lnTo>
                <a:lnTo>
                  <a:pt x="154793" y="196813"/>
                </a:lnTo>
                <a:lnTo>
                  <a:pt x="174783" y="209785"/>
                </a:lnTo>
                <a:lnTo>
                  <a:pt x="172159" y="233630"/>
                </a:lnTo>
                <a:lnTo>
                  <a:pt x="158791" y="260317"/>
                </a:lnTo>
                <a:lnTo>
                  <a:pt x="122935" y="273660"/>
                </a:lnTo>
                <a:lnTo>
                  <a:pt x="122435" y="294663"/>
                </a:lnTo>
                <a:lnTo>
                  <a:pt x="111066" y="321967"/>
                </a:lnTo>
                <a:lnTo>
                  <a:pt x="99447" y="328639"/>
                </a:lnTo>
                <a:lnTo>
                  <a:pt x="82831" y="318261"/>
                </a:lnTo>
                <a:lnTo>
                  <a:pt x="64341" y="276378"/>
                </a:lnTo>
                <a:lnTo>
                  <a:pt x="30859" y="276502"/>
                </a:lnTo>
                <a:lnTo>
                  <a:pt x="20614" y="265876"/>
                </a:lnTo>
                <a:lnTo>
                  <a:pt x="26736" y="244997"/>
                </a:lnTo>
                <a:lnTo>
                  <a:pt x="16366" y="228935"/>
                </a:lnTo>
                <a:lnTo>
                  <a:pt x="15367" y="206944"/>
                </a:lnTo>
                <a:lnTo>
                  <a:pt x="22863" y="187300"/>
                </a:lnTo>
                <a:lnTo>
                  <a:pt x="10494" y="158883"/>
                </a:lnTo>
                <a:lnTo>
                  <a:pt x="17116" y="118730"/>
                </a:lnTo>
                <a:lnTo>
                  <a:pt x="25237" y="114282"/>
                </a:lnTo>
                <a:lnTo>
                  <a:pt x="27361" y="100445"/>
                </a:lnTo>
                <a:lnTo>
                  <a:pt x="0" y="88214"/>
                </a:lnTo>
                <a:lnTo>
                  <a:pt x="125" y="54979"/>
                </a:lnTo>
                <a:lnTo>
                  <a:pt x="11619" y="28169"/>
                </a:lnTo>
                <a:lnTo>
                  <a:pt x="29734" y="4571"/>
                </a:lnTo>
                <a:lnTo>
                  <a:pt x="36481" y="5560"/>
                </a:lnTo>
                <a:lnTo>
                  <a:pt x="48349" y="21374"/>
                </a:lnTo>
                <a:lnTo>
                  <a:pt x="63342" y="1112"/>
                </a:lnTo>
                <a:lnTo>
                  <a:pt x="63591" y="0"/>
                </a:lnTo>
                <a:lnTo>
                  <a:pt x="70713" y="4571"/>
                </a:lnTo>
                <a:lnTo>
                  <a:pt x="83956" y="24463"/>
                </a:lnTo>
                <a:lnTo>
                  <a:pt x="92326" y="26069"/>
                </a:lnTo>
                <a:lnTo>
                  <a:pt x="111691" y="37312"/>
                </a:lnTo>
                <a:lnTo>
                  <a:pt x="117813" y="50531"/>
                </a:lnTo>
                <a:lnTo>
                  <a:pt x="118687" y="78453"/>
                </a:lnTo>
                <a:lnTo>
                  <a:pt x="123310" y="8648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9" name="Graphic 118">
            <a:extLst>
              <a:ext uri="{FF2B5EF4-FFF2-40B4-BE49-F238E27FC236}">
                <a16:creationId xmlns:a16="http://schemas.microsoft.com/office/drawing/2014/main" id="{529AEA60-0971-7B95-76E1-7A6F87306402}"/>
              </a:ext>
            </a:extLst>
          </p:cNvPr>
          <p:cNvSpPr/>
          <p:nvPr/>
        </p:nvSpPr>
        <p:spPr>
          <a:xfrm rot="1141104">
            <a:off x="8113783" y="4492511"/>
            <a:ext cx="1720520" cy="683477"/>
          </a:xfrm>
          <a:custGeom>
            <a:avLst/>
            <a:gdLst>
              <a:gd name="connsiteX0" fmla="*/ 23552 w 1720520"/>
              <a:gd name="connsiteY0" fmla="*/ 181740 h 683477"/>
              <a:gd name="connsiteX1" fmla="*/ 43345 w 1720520"/>
              <a:gd name="connsiteY1" fmla="*/ 175918 h 683477"/>
              <a:gd name="connsiteX2" fmla="*/ 53116 w 1720520"/>
              <a:gd name="connsiteY2" fmla="*/ 154485 h 683477"/>
              <a:gd name="connsiteX3" fmla="*/ 48231 w 1720520"/>
              <a:gd name="connsiteY3" fmla="*/ 134912 h 683477"/>
              <a:gd name="connsiteX4" fmla="*/ 71532 w 1720520"/>
              <a:gd name="connsiteY4" fmla="*/ 119426 h 683477"/>
              <a:gd name="connsiteX5" fmla="*/ 71908 w 1720520"/>
              <a:gd name="connsiteY5" fmla="*/ 97003 h 683477"/>
              <a:gd name="connsiteX6" fmla="*/ 52991 w 1720520"/>
              <a:gd name="connsiteY6" fmla="*/ 89941 h 683477"/>
              <a:gd name="connsiteX7" fmla="*/ 55872 w 1720520"/>
              <a:gd name="connsiteY7" fmla="*/ 64792 h 683477"/>
              <a:gd name="connsiteX8" fmla="*/ 69778 w 1720520"/>
              <a:gd name="connsiteY8" fmla="*/ 48439 h 683477"/>
              <a:gd name="connsiteX9" fmla="*/ 84310 w 1720520"/>
              <a:gd name="connsiteY9" fmla="*/ 46457 h 683477"/>
              <a:gd name="connsiteX10" fmla="*/ 94332 w 1720520"/>
              <a:gd name="connsiteY10" fmla="*/ 34192 h 683477"/>
              <a:gd name="connsiteX11" fmla="*/ 120890 w 1720520"/>
              <a:gd name="connsiteY11" fmla="*/ 33077 h 683477"/>
              <a:gd name="connsiteX12" fmla="*/ 146947 w 1720520"/>
              <a:gd name="connsiteY12" fmla="*/ 51660 h 683477"/>
              <a:gd name="connsiteX13" fmla="*/ 159725 w 1720520"/>
              <a:gd name="connsiteY13" fmla="*/ 40511 h 683477"/>
              <a:gd name="connsiteX14" fmla="*/ 180395 w 1720520"/>
              <a:gd name="connsiteY14" fmla="*/ 44723 h 683477"/>
              <a:gd name="connsiteX15" fmla="*/ 184529 w 1720520"/>
              <a:gd name="connsiteY15" fmla="*/ 77057 h 683477"/>
              <a:gd name="connsiteX16" fmla="*/ 213343 w 1720520"/>
              <a:gd name="connsiteY16" fmla="*/ 99976 h 683477"/>
              <a:gd name="connsiteX17" fmla="*/ 233637 w 1720520"/>
              <a:gd name="connsiteY17" fmla="*/ 101834 h 683477"/>
              <a:gd name="connsiteX18" fmla="*/ 255435 w 1720520"/>
              <a:gd name="connsiteY18" fmla="*/ 122275 h 683477"/>
              <a:gd name="connsiteX19" fmla="*/ 274602 w 1720520"/>
              <a:gd name="connsiteY19" fmla="*/ 131814 h 683477"/>
              <a:gd name="connsiteX20" fmla="*/ 275103 w 1720520"/>
              <a:gd name="connsiteY20" fmla="*/ 143460 h 683477"/>
              <a:gd name="connsiteX21" fmla="*/ 259819 w 1720520"/>
              <a:gd name="connsiteY21" fmla="*/ 159936 h 683477"/>
              <a:gd name="connsiteX22" fmla="*/ 236769 w 1720520"/>
              <a:gd name="connsiteY22" fmla="*/ 158821 h 683477"/>
              <a:gd name="connsiteX23" fmla="*/ 223991 w 1720520"/>
              <a:gd name="connsiteY23" fmla="*/ 152503 h 683477"/>
              <a:gd name="connsiteX24" fmla="*/ 203070 w 1720520"/>
              <a:gd name="connsiteY24" fmla="*/ 153371 h 683477"/>
              <a:gd name="connsiteX25" fmla="*/ 195053 w 1720520"/>
              <a:gd name="connsiteY25" fmla="*/ 161299 h 683477"/>
              <a:gd name="connsiteX26" fmla="*/ 163734 w 1720520"/>
              <a:gd name="connsiteY26" fmla="*/ 161919 h 683477"/>
              <a:gd name="connsiteX27" fmla="*/ 145318 w 1720520"/>
              <a:gd name="connsiteY27" fmla="*/ 170343 h 683477"/>
              <a:gd name="connsiteX28" fmla="*/ 136675 w 1720520"/>
              <a:gd name="connsiteY28" fmla="*/ 195492 h 683477"/>
              <a:gd name="connsiteX29" fmla="*/ 89697 w 1720520"/>
              <a:gd name="connsiteY29" fmla="*/ 221632 h 683477"/>
              <a:gd name="connsiteX30" fmla="*/ 52866 w 1720520"/>
              <a:gd name="connsiteY30" fmla="*/ 255576 h 683477"/>
              <a:gd name="connsiteX31" fmla="*/ 50987 w 1720520"/>
              <a:gd name="connsiteY31" fmla="*/ 243188 h 683477"/>
              <a:gd name="connsiteX32" fmla="*/ 58879 w 1720520"/>
              <a:gd name="connsiteY32" fmla="*/ 215933 h 683477"/>
              <a:gd name="connsiteX33" fmla="*/ 69277 w 1720520"/>
              <a:gd name="connsiteY33" fmla="*/ 214818 h 683477"/>
              <a:gd name="connsiteX34" fmla="*/ 86815 w 1720520"/>
              <a:gd name="connsiteY34" fmla="*/ 202305 h 683477"/>
              <a:gd name="connsiteX35" fmla="*/ 69527 w 1720520"/>
              <a:gd name="connsiteY35" fmla="*/ 205155 h 683477"/>
              <a:gd name="connsiteX36" fmla="*/ 58253 w 1720520"/>
              <a:gd name="connsiteY36" fmla="*/ 202181 h 683477"/>
              <a:gd name="connsiteX37" fmla="*/ 47855 w 1720520"/>
              <a:gd name="connsiteY37" fmla="*/ 205403 h 683477"/>
              <a:gd name="connsiteX38" fmla="*/ 32822 w 1720520"/>
              <a:gd name="connsiteY38" fmla="*/ 197102 h 683477"/>
              <a:gd name="connsiteX39" fmla="*/ 24554 w 1720520"/>
              <a:gd name="connsiteY39" fmla="*/ 181616 h 683477"/>
              <a:gd name="connsiteX40" fmla="*/ 23426 w 1720520"/>
              <a:gd name="connsiteY40" fmla="*/ 181369 h 683477"/>
              <a:gd name="connsiteX41" fmla="*/ 23426 w 1720520"/>
              <a:gd name="connsiteY41" fmla="*/ 181369 h 683477"/>
              <a:gd name="connsiteX42" fmla="*/ 1367497 w 1720520"/>
              <a:gd name="connsiteY42" fmla="*/ 13504 h 683477"/>
              <a:gd name="connsiteX43" fmla="*/ 1363488 w 1720520"/>
              <a:gd name="connsiteY43" fmla="*/ 19574 h 683477"/>
              <a:gd name="connsiteX44" fmla="*/ 1353341 w 1720520"/>
              <a:gd name="connsiteY44" fmla="*/ 43484 h 683477"/>
              <a:gd name="connsiteX45" fmla="*/ 1331042 w 1720520"/>
              <a:gd name="connsiteY45" fmla="*/ 58226 h 683477"/>
              <a:gd name="connsiteX46" fmla="*/ 1301102 w 1720520"/>
              <a:gd name="connsiteY46" fmla="*/ 74703 h 683477"/>
              <a:gd name="connsiteX47" fmla="*/ 1296091 w 1720520"/>
              <a:gd name="connsiteY47" fmla="*/ 88702 h 683477"/>
              <a:gd name="connsiteX48" fmla="*/ 1267653 w 1720520"/>
              <a:gd name="connsiteY48" fmla="*/ 91923 h 683477"/>
              <a:gd name="connsiteX49" fmla="*/ 1257005 w 1720520"/>
              <a:gd name="connsiteY49" fmla="*/ 101339 h 683477"/>
              <a:gd name="connsiteX50" fmla="*/ 1219047 w 1720520"/>
              <a:gd name="connsiteY50" fmla="*/ 94649 h 683477"/>
              <a:gd name="connsiteX51" fmla="*/ 1207647 w 1720520"/>
              <a:gd name="connsiteY51" fmla="*/ 88207 h 683477"/>
              <a:gd name="connsiteX52" fmla="*/ 1194368 w 1720520"/>
              <a:gd name="connsiteY52" fmla="*/ 88826 h 683477"/>
              <a:gd name="connsiteX53" fmla="*/ 1188605 w 1720520"/>
              <a:gd name="connsiteY53" fmla="*/ 85605 h 683477"/>
              <a:gd name="connsiteX54" fmla="*/ 1170816 w 1720520"/>
              <a:gd name="connsiteY54" fmla="*/ 91923 h 683477"/>
              <a:gd name="connsiteX55" fmla="*/ 1137493 w 1720520"/>
              <a:gd name="connsiteY55" fmla="*/ 95392 h 683477"/>
              <a:gd name="connsiteX56" fmla="*/ 1099159 w 1720520"/>
              <a:gd name="connsiteY56" fmla="*/ 112860 h 683477"/>
              <a:gd name="connsiteX57" fmla="*/ 1067590 w 1720520"/>
              <a:gd name="connsiteY57" fmla="*/ 108028 h 683477"/>
              <a:gd name="connsiteX58" fmla="*/ 1046043 w 1720520"/>
              <a:gd name="connsiteY58" fmla="*/ 94525 h 683477"/>
              <a:gd name="connsiteX59" fmla="*/ 1035269 w 1720520"/>
              <a:gd name="connsiteY59" fmla="*/ 102577 h 683477"/>
              <a:gd name="connsiteX60" fmla="*/ 999065 w 1720520"/>
              <a:gd name="connsiteY60" fmla="*/ 86844 h 683477"/>
              <a:gd name="connsiteX61" fmla="*/ 980900 w 1720520"/>
              <a:gd name="connsiteY61" fmla="*/ 84862 h 683477"/>
              <a:gd name="connsiteX62" fmla="*/ 947953 w 1720520"/>
              <a:gd name="connsiteY62" fmla="*/ 64916 h 683477"/>
              <a:gd name="connsiteX63" fmla="*/ 938181 w 1720520"/>
              <a:gd name="connsiteY63" fmla="*/ 65288 h 683477"/>
              <a:gd name="connsiteX64" fmla="*/ 930289 w 1720520"/>
              <a:gd name="connsiteY64" fmla="*/ 77305 h 683477"/>
              <a:gd name="connsiteX65" fmla="*/ 914880 w 1720520"/>
              <a:gd name="connsiteY65" fmla="*/ 74455 h 683477"/>
              <a:gd name="connsiteX66" fmla="*/ 897968 w 1720520"/>
              <a:gd name="connsiteY66" fmla="*/ 53890 h 683477"/>
              <a:gd name="connsiteX67" fmla="*/ 892832 w 1720520"/>
              <a:gd name="connsiteY67" fmla="*/ 32086 h 683477"/>
              <a:gd name="connsiteX68" fmla="*/ 877674 w 1720520"/>
              <a:gd name="connsiteY68" fmla="*/ 20317 h 683477"/>
              <a:gd name="connsiteX69" fmla="*/ 867401 w 1720520"/>
              <a:gd name="connsiteY69" fmla="*/ 22795 h 683477"/>
              <a:gd name="connsiteX70" fmla="*/ 846104 w 1720520"/>
              <a:gd name="connsiteY70" fmla="*/ 45714 h 683477"/>
              <a:gd name="connsiteX71" fmla="*/ 838337 w 1720520"/>
              <a:gd name="connsiteY71" fmla="*/ 42617 h 683477"/>
              <a:gd name="connsiteX72" fmla="*/ 830195 w 1720520"/>
              <a:gd name="connsiteY72" fmla="*/ 48439 h 683477"/>
              <a:gd name="connsiteX73" fmla="*/ 795494 w 1720520"/>
              <a:gd name="connsiteY73" fmla="*/ 19574 h 683477"/>
              <a:gd name="connsiteX74" fmla="*/ 791986 w 1720520"/>
              <a:gd name="connsiteY74" fmla="*/ 1858 h 683477"/>
              <a:gd name="connsiteX75" fmla="*/ 786348 w 1720520"/>
              <a:gd name="connsiteY75" fmla="*/ 0 h 683477"/>
              <a:gd name="connsiteX76" fmla="*/ 764551 w 1720520"/>
              <a:gd name="connsiteY76" fmla="*/ 11893 h 683477"/>
              <a:gd name="connsiteX77" fmla="*/ 735362 w 1720520"/>
              <a:gd name="connsiteY77" fmla="*/ 13132 h 683477"/>
              <a:gd name="connsiteX78" fmla="*/ 721206 w 1720520"/>
              <a:gd name="connsiteY78" fmla="*/ 8920 h 683477"/>
              <a:gd name="connsiteX79" fmla="*/ 703291 w 1720520"/>
              <a:gd name="connsiteY79" fmla="*/ 14495 h 683477"/>
              <a:gd name="connsiteX80" fmla="*/ 657942 w 1720520"/>
              <a:gd name="connsiteY80" fmla="*/ 14495 h 683477"/>
              <a:gd name="connsiteX81" fmla="*/ 635894 w 1720520"/>
              <a:gd name="connsiteY81" fmla="*/ 20069 h 683477"/>
              <a:gd name="connsiteX82" fmla="*/ 594303 w 1720520"/>
              <a:gd name="connsiteY82" fmla="*/ 40511 h 683477"/>
              <a:gd name="connsiteX83" fmla="*/ 574885 w 1720520"/>
              <a:gd name="connsiteY83" fmla="*/ 43360 h 683477"/>
              <a:gd name="connsiteX84" fmla="*/ 541061 w 1720520"/>
              <a:gd name="connsiteY84" fmla="*/ 51041 h 683477"/>
              <a:gd name="connsiteX85" fmla="*/ 531916 w 1720520"/>
              <a:gd name="connsiteY85" fmla="*/ 64544 h 683477"/>
              <a:gd name="connsiteX86" fmla="*/ 516131 w 1720520"/>
              <a:gd name="connsiteY86" fmla="*/ 69376 h 683477"/>
              <a:gd name="connsiteX87" fmla="*/ 501599 w 1720520"/>
              <a:gd name="connsiteY87" fmla="*/ 85853 h 683477"/>
              <a:gd name="connsiteX88" fmla="*/ 493457 w 1720520"/>
              <a:gd name="connsiteY88" fmla="*/ 91056 h 683477"/>
              <a:gd name="connsiteX89" fmla="*/ 485314 w 1720520"/>
              <a:gd name="connsiteY89" fmla="*/ 113479 h 683477"/>
              <a:gd name="connsiteX90" fmla="*/ 477171 w 1720520"/>
              <a:gd name="connsiteY90" fmla="*/ 119302 h 683477"/>
              <a:gd name="connsiteX91" fmla="*/ 478925 w 1720520"/>
              <a:gd name="connsiteY91" fmla="*/ 128841 h 683477"/>
              <a:gd name="connsiteX92" fmla="*/ 446353 w 1720520"/>
              <a:gd name="connsiteY92" fmla="*/ 132310 h 683477"/>
              <a:gd name="connsiteX93" fmla="*/ 396870 w 1720520"/>
              <a:gd name="connsiteY93" fmla="*/ 116453 h 683477"/>
              <a:gd name="connsiteX94" fmla="*/ 381586 w 1720520"/>
              <a:gd name="connsiteY94" fmla="*/ 117072 h 683477"/>
              <a:gd name="connsiteX95" fmla="*/ 370813 w 1720520"/>
              <a:gd name="connsiteY95" fmla="*/ 125744 h 683477"/>
              <a:gd name="connsiteX96" fmla="*/ 350393 w 1720520"/>
              <a:gd name="connsiteY96" fmla="*/ 122523 h 683477"/>
              <a:gd name="connsiteX97" fmla="*/ 322833 w 1720520"/>
              <a:gd name="connsiteY97" fmla="*/ 130576 h 683477"/>
              <a:gd name="connsiteX98" fmla="*/ 308677 w 1720520"/>
              <a:gd name="connsiteY98" fmla="*/ 126363 h 683477"/>
              <a:gd name="connsiteX99" fmla="*/ 286002 w 1720520"/>
              <a:gd name="connsiteY99" fmla="*/ 133549 h 683477"/>
              <a:gd name="connsiteX100" fmla="*/ 282369 w 1720520"/>
              <a:gd name="connsiteY100" fmla="*/ 146061 h 683477"/>
              <a:gd name="connsiteX101" fmla="*/ 300283 w 1720520"/>
              <a:gd name="connsiteY101" fmla="*/ 172821 h 683477"/>
              <a:gd name="connsiteX102" fmla="*/ 325964 w 1720520"/>
              <a:gd name="connsiteY102" fmla="*/ 172449 h 683477"/>
              <a:gd name="connsiteX103" fmla="*/ 347637 w 1720520"/>
              <a:gd name="connsiteY103" fmla="*/ 174927 h 683477"/>
              <a:gd name="connsiteX104" fmla="*/ 344630 w 1720520"/>
              <a:gd name="connsiteY104" fmla="*/ 184714 h 683477"/>
              <a:gd name="connsiteX105" fmla="*/ 307173 w 1720520"/>
              <a:gd name="connsiteY105" fmla="*/ 186944 h 683477"/>
              <a:gd name="connsiteX106" fmla="*/ 274978 w 1720520"/>
              <a:gd name="connsiteY106" fmla="*/ 197969 h 683477"/>
              <a:gd name="connsiteX107" fmla="*/ 263828 w 1720520"/>
              <a:gd name="connsiteY107" fmla="*/ 213579 h 683477"/>
              <a:gd name="connsiteX108" fmla="*/ 270468 w 1720520"/>
              <a:gd name="connsiteY108" fmla="*/ 222251 h 683477"/>
              <a:gd name="connsiteX109" fmla="*/ 287630 w 1720520"/>
              <a:gd name="connsiteY109" fmla="*/ 216057 h 683477"/>
              <a:gd name="connsiteX110" fmla="*/ 295022 w 1720520"/>
              <a:gd name="connsiteY110" fmla="*/ 226091 h 683477"/>
              <a:gd name="connsiteX111" fmla="*/ 281367 w 1720520"/>
              <a:gd name="connsiteY111" fmla="*/ 231542 h 683477"/>
              <a:gd name="connsiteX112" fmla="*/ 238899 w 1720520"/>
              <a:gd name="connsiteY112" fmla="*/ 234020 h 683477"/>
              <a:gd name="connsiteX113" fmla="*/ 220358 w 1720520"/>
              <a:gd name="connsiteY113" fmla="*/ 225224 h 683477"/>
              <a:gd name="connsiteX114" fmla="*/ 199187 w 1720520"/>
              <a:gd name="connsiteY114" fmla="*/ 235755 h 683477"/>
              <a:gd name="connsiteX115" fmla="*/ 188162 w 1720520"/>
              <a:gd name="connsiteY115" fmla="*/ 221012 h 683477"/>
              <a:gd name="connsiteX116" fmla="*/ 176387 w 1720520"/>
              <a:gd name="connsiteY116" fmla="*/ 222251 h 683477"/>
              <a:gd name="connsiteX117" fmla="*/ 161228 w 1720520"/>
              <a:gd name="connsiteY117" fmla="*/ 240834 h 683477"/>
              <a:gd name="connsiteX118" fmla="*/ 145820 w 1720520"/>
              <a:gd name="connsiteY118" fmla="*/ 240834 h 683477"/>
              <a:gd name="connsiteX119" fmla="*/ 122769 w 1720520"/>
              <a:gd name="connsiteY119" fmla="*/ 224481 h 683477"/>
              <a:gd name="connsiteX120" fmla="*/ 101222 w 1720520"/>
              <a:gd name="connsiteY120" fmla="*/ 225348 h 683477"/>
              <a:gd name="connsiteX121" fmla="*/ 60883 w 1720520"/>
              <a:gd name="connsiteY121" fmla="*/ 258797 h 683477"/>
              <a:gd name="connsiteX122" fmla="*/ 55371 w 1720520"/>
              <a:gd name="connsiteY122" fmla="*/ 275646 h 683477"/>
              <a:gd name="connsiteX123" fmla="*/ 49108 w 1720520"/>
              <a:gd name="connsiteY123" fmla="*/ 291751 h 683477"/>
              <a:gd name="connsiteX124" fmla="*/ 56499 w 1720520"/>
              <a:gd name="connsiteY124" fmla="*/ 303148 h 683477"/>
              <a:gd name="connsiteX125" fmla="*/ 56499 w 1720520"/>
              <a:gd name="connsiteY125" fmla="*/ 321731 h 683477"/>
              <a:gd name="connsiteX126" fmla="*/ 50736 w 1720520"/>
              <a:gd name="connsiteY126" fmla="*/ 329536 h 683477"/>
              <a:gd name="connsiteX127" fmla="*/ 57501 w 1720520"/>
              <a:gd name="connsiteY127" fmla="*/ 340314 h 683477"/>
              <a:gd name="connsiteX128" fmla="*/ 81554 w 1720520"/>
              <a:gd name="connsiteY128" fmla="*/ 331023 h 683477"/>
              <a:gd name="connsiteX129" fmla="*/ 88569 w 1720520"/>
              <a:gd name="connsiteY129" fmla="*/ 333500 h 683477"/>
              <a:gd name="connsiteX130" fmla="*/ 106483 w 1720520"/>
              <a:gd name="connsiteY130" fmla="*/ 328545 h 683477"/>
              <a:gd name="connsiteX131" fmla="*/ 128782 w 1720520"/>
              <a:gd name="connsiteY131" fmla="*/ 328297 h 683477"/>
              <a:gd name="connsiteX132" fmla="*/ 108112 w 1720520"/>
              <a:gd name="connsiteY132" fmla="*/ 349110 h 683477"/>
              <a:gd name="connsiteX133" fmla="*/ 111494 w 1720520"/>
              <a:gd name="connsiteY133" fmla="*/ 362737 h 683477"/>
              <a:gd name="connsiteX134" fmla="*/ 121141 w 1720520"/>
              <a:gd name="connsiteY134" fmla="*/ 376860 h 683477"/>
              <a:gd name="connsiteX135" fmla="*/ 121141 w 1720520"/>
              <a:gd name="connsiteY135" fmla="*/ 387886 h 683477"/>
              <a:gd name="connsiteX136" fmla="*/ 119637 w 1720520"/>
              <a:gd name="connsiteY136" fmla="*/ 395815 h 683477"/>
              <a:gd name="connsiteX137" fmla="*/ 125650 w 1720520"/>
              <a:gd name="connsiteY137" fmla="*/ 399655 h 683477"/>
              <a:gd name="connsiteX138" fmla="*/ 141811 w 1720520"/>
              <a:gd name="connsiteY138" fmla="*/ 388258 h 683477"/>
              <a:gd name="connsiteX139" fmla="*/ 143690 w 1720520"/>
              <a:gd name="connsiteY139" fmla="*/ 397425 h 683477"/>
              <a:gd name="connsiteX140" fmla="*/ 133042 w 1720520"/>
              <a:gd name="connsiteY140" fmla="*/ 409195 h 683477"/>
              <a:gd name="connsiteX141" fmla="*/ 110743 w 1720520"/>
              <a:gd name="connsiteY141" fmla="*/ 424185 h 683477"/>
              <a:gd name="connsiteX142" fmla="*/ 118886 w 1720520"/>
              <a:gd name="connsiteY142" fmla="*/ 429388 h 683477"/>
              <a:gd name="connsiteX143" fmla="*/ 132165 w 1720520"/>
              <a:gd name="connsiteY143" fmla="*/ 430131 h 683477"/>
              <a:gd name="connsiteX144" fmla="*/ 119387 w 1720520"/>
              <a:gd name="connsiteY144" fmla="*/ 439299 h 683477"/>
              <a:gd name="connsiteX145" fmla="*/ 112121 w 1720520"/>
              <a:gd name="connsiteY145" fmla="*/ 455404 h 683477"/>
              <a:gd name="connsiteX146" fmla="*/ 102349 w 1720520"/>
              <a:gd name="connsiteY146" fmla="*/ 455776 h 683477"/>
              <a:gd name="connsiteX147" fmla="*/ 91200 w 1720520"/>
              <a:gd name="connsiteY147" fmla="*/ 432237 h 683477"/>
              <a:gd name="connsiteX148" fmla="*/ 84185 w 1720520"/>
              <a:gd name="connsiteY148" fmla="*/ 429140 h 683477"/>
              <a:gd name="connsiteX149" fmla="*/ 81679 w 1720520"/>
              <a:gd name="connsiteY149" fmla="*/ 444378 h 683477"/>
              <a:gd name="connsiteX150" fmla="*/ 88694 w 1720520"/>
              <a:gd name="connsiteY150" fmla="*/ 460979 h 683477"/>
              <a:gd name="connsiteX151" fmla="*/ 81178 w 1720520"/>
              <a:gd name="connsiteY151" fmla="*/ 470270 h 683477"/>
              <a:gd name="connsiteX152" fmla="*/ 84560 w 1720520"/>
              <a:gd name="connsiteY152" fmla="*/ 483154 h 683477"/>
              <a:gd name="connsiteX153" fmla="*/ 100220 w 1720520"/>
              <a:gd name="connsiteY153" fmla="*/ 492198 h 683477"/>
              <a:gd name="connsiteX154" fmla="*/ 103352 w 1720520"/>
              <a:gd name="connsiteY154" fmla="*/ 484517 h 683477"/>
              <a:gd name="connsiteX155" fmla="*/ 122143 w 1720520"/>
              <a:gd name="connsiteY155" fmla="*/ 498888 h 683477"/>
              <a:gd name="connsiteX156" fmla="*/ 135923 w 1720520"/>
              <a:gd name="connsiteY156" fmla="*/ 495543 h 683477"/>
              <a:gd name="connsiteX157" fmla="*/ 157345 w 1720520"/>
              <a:gd name="connsiteY157" fmla="*/ 507064 h 683477"/>
              <a:gd name="connsiteX158" fmla="*/ 163859 w 1720520"/>
              <a:gd name="connsiteY158" fmla="*/ 528125 h 683477"/>
              <a:gd name="connsiteX159" fmla="*/ 149954 w 1720520"/>
              <a:gd name="connsiteY159" fmla="*/ 543239 h 683477"/>
              <a:gd name="connsiteX160" fmla="*/ 162231 w 1720520"/>
              <a:gd name="connsiteY160" fmla="*/ 553769 h 683477"/>
              <a:gd name="connsiteX161" fmla="*/ 163358 w 1720520"/>
              <a:gd name="connsiteY161" fmla="*/ 564795 h 683477"/>
              <a:gd name="connsiteX162" fmla="*/ 175259 w 1720520"/>
              <a:gd name="connsiteY162" fmla="*/ 565043 h 683477"/>
              <a:gd name="connsiteX163" fmla="*/ 199187 w 1720520"/>
              <a:gd name="connsiteY163" fmla="*/ 586103 h 683477"/>
              <a:gd name="connsiteX164" fmla="*/ 191420 w 1720520"/>
              <a:gd name="connsiteY164" fmla="*/ 600846 h 683477"/>
              <a:gd name="connsiteX165" fmla="*/ 176637 w 1720520"/>
              <a:gd name="connsiteY165" fmla="*/ 597377 h 683477"/>
              <a:gd name="connsiteX166" fmla="*/ 173631 w 1720520"/>
              <a:gd name="connsiteY166" fmla="*/ 607783 h 683477"/>
              <a:gd name="connsiteX167" fmla="*/ 185657 w 1720520"/>
              <a:gd name="connsiteY167" fmla="*/ 612119 h 683477"/>
              <a:gd name="connsiteX168" fmla="*/ 213217 w 1720520"/>
              <a:gd name="connsiteY168" fmla="*/ 604067 h 683477"/>
              <a:gd name="connsiteX169" fmla="*/ 252178 w 1720520"/>
              <a:gd name="connsiteY169" fmla="*/ 602456 h 683477"/>
              <a:gd name="connsiteX170" fmla="*/ 249797 w 1720520"/>
              <a:gd name="connsiteY170" fmla="*/ 610137 h 683477"/>
              <a:gd name="connsiteX171" fmla="*/ 241279 w 1720520"/>
              <a:gd name="connsiteY171" fmla="*/ 619924 h 683477"/>
              <a:gd name="connsiteX172" fmla="*/ 221736 w 1720520"/>
              <a:gd name="connsiteY172" fmla="*/ 629339 h 683477"/>
              <a:gd name="connsiteX173" fmla="*/ 191921 w 1720520"/>
              <a:gd name="connsiteY173" fmla="*/ 629339 h 683477"/>
              <a:gd name="connsiteX174" fmla="*/ 185406 w 1720520"/>
              <a:gd name="connsiteY174" fmla="*/ 639994 h 683477"/>
              <a:gd name="connsiteX175" fmla="*/ 196556 w 1720520"/>
              <a:gd name="connsiteY175" fmla="*/ 642347 h 683477"/>
              <a:gd name="connsiteX176" fmla="*/ 211589 w 1720520"/>
              <a:gd name="connsiteY176" fmla="*/ 636773 h 683477"/>
              <a:gd name="connsiteX177" fmla="*/ 232134 w 1720520"/>
              <a:gd name="connsiteY177" fmla="*/ 635782 h 683477"/>
              <a:gd name="connsiteX178" fmla="*/ 241780 w 1720520"/>
              <a:gd name="connsiteY178" fmla="*/ 630578 h 683477"/>
              <a:gd name="connsiteX179" fmla="*/ 242406 w 1720520"/>
              <a:gd name="connsiteY179" fmla="*/ 643710 h 683477"/>
              <a:gd name="connsiteX180" fmla="*/ 248169 w 1720520"/>
              <a:gd name="connsiteY180" fmla="*/ 648294 h 683477"/>
              <a:gd name="connsiteX181" fmla="*/ 258066 w 1720520"/>
              <a:gd name="connsiteY181" fmla="*/ 634790 h 683477"/>
              <a:gd name="connsiteX182" fmla="*/ 269841 w 1720520"/>
              <a:gd name="connsiteY182" fmla="*/ 619181 h 683477"/>
              <a:gd name="connsiteX183" fmla="*/ 282995 w 1720520"/>
              <a:gd name="connsiteY183" fmla="*/ 617942 h 683477"/>
              <a:gd name="connsiteX184" fmla="*/ 292516 w 1720520"/>
              <a:gd name="connsiteY184" fmla="*/ 628596 h 683477"/>
              <a:gd name="connsiteX185" fmla="*/ 304417 w 1720520"/>
              <a:gd name="connsiteY185" fmla="*/ 628101 h 683477"/>
              <a:gd name="connsiteX186" fmla="*/ 322206 w 1720520"/>
              <a:gd name="connsiteY186" fmla="*/ 637640 h 683477"/>
              <a:gd name="connsiteX187" fmla="*/ 330099 w 1720520"/>
              <a:gd name="connsiteY187" fmla="*/ 625623 h 683477"/>
              <a:gd name="connsiteX188" fmla="*/ 344129 w 1720520"/>
              <a:gd name="connsiteY188" fmla="*/ 627110 h 683477"/>
              <a:gd name="connsiteX189" fmla="*/ 342375 w 1720520"/>
              <a:gd name="connsiteY189" fmla="*/ 636773 h 683477"/>
              <a:gd name="connsiteX190" fmla="*/ 335611 w 1720520"/>
              <a:gd name="connsiteY190" fmla="*/ 640489 h 683477"/>
              <a:gd name="connsiteX191" fmla="*/ 344505 w 1720520"/>
              <a:gd name="connsiteY191" fmla="*/ 652506 h 683477"/>
              <a:gd name="connsiteX192" fmla="*/ 347136 w 1720520"/>
              <a:gd name="connsiteY192" fmla="*/ 664771 h 683477"/>
              <a:gd name="connsiteX193" fmla="*/ 367305 w 1720520"/>
              <a:gd name="connsiteY193" fmla="*/ 679761 h 683477"/>
              <a:gd name="connsiteX194" fmla="*/ 374070 w 1720520"/>
              <a:gd name="connsiteY194" fmla="*/ 676044 h 683477"/>
              <a:gd name="connsiteX195" fmla="*/ 395367 w 1720520"/>
              <a:gd name="connsiteY195" fmla="*/ 683477 h 683477"/>
              <a:gd name="connsiteX196" fmla="*/ 417540 w 1720520"/>
              <a:gd name="connsiteY196" fmla="*/ 679018 h 683477"/>
              <a:gd name="connsiteX197" fmla="*/ 427562 w 1720520"/>
              <a:gd name="connsiteY197" fmla="*/ 670346 h 683477"/>
              <a:gd name="connsiteX198" fmla="*/ 445602 w 1720520"/>
              <a:gd name="connsiteY198" fmla="*/ 669602 h 683477"/>
              <a:gd name="connsiteX199" fmla="*/ 455624 w 1720520"/>
              <a:gd name="connsiteY199" fmla="*/ 660187 h 683477"/>
              <a:gd name="connsiteX200" fmla="*/ 471909 w 1720520"/>
              <a:gd name="connsiteY200" fmla="*/ 667744 h 683477"/>
              <a:gd name="connsiteX201" fmla="*/ 482808 w 1720520"/>
              <a:gd name="connsiteY201" fmla="*/ 661054 h 683477"/>
              <a:gd name="connsiteX202" fmla="*/ 479802 w 1720520"/>
              <a:gd name="connsiteY202" fmla="*/ 639870 h 683477"/>
              <a:gd name="connsiteX203" fmla="*/ 482808 w 1720520"/>
              <a:gd name="connsiteY203" fmla="*/ 628720 h 683477"/>
              <a:gd name="connsiteX204" fmla="*/ 478424 w 1720520"/>
              <a:gd name="connsiteY204" fmla="*/ 608898 h 683477"/>
              <a:gd name="connsiteX205" fmla="*/ 517259 w 1720520"/>
              <a:gd name="connsiteY205" fmla="*/ 603819 h 683477"/>
              <a:gd name="connsiteX206" fmla="*/ 550707 w 1720520"/>
              <a:gd name="connsiteY206" fmla="*/ 605182 h 683477"/>
              <a:gd name="connsiteX207" fmla="*/ 596307 w 1720520"/>
              <a:gd name="connsiteY207" fmla="*/ 625995 h 683477"/>
              <a:gd name="connsiteX208" fmla="*/ 612217 w 1720520"/>
              <a:gd name="connsiteY208" fmla="*/ 625375 h 683477"/>
              <a:gd name="connsiteX209" fmla="*/ 643160 w 1720520"/>
              <a:gd name="connsiteY209" fmla="*/ 662665 h 683477"/>
              <a:gd name="connsiteX210" fmla="*/ 668966 w 1720520"/>
              <a:gd name="connsiteY210" fmla="*/ 677407 h 683477"/>
              <a:gd name="connsiteX211" fmla="*/ 752023 w 1720520"/>
              <a:gd name="connsiteY211" fmla="*/ 663532 h 683477"/>
              <a:gd name="connsiteX212" fmla="*/ 776577 w 1720520"/>
              <a:gd name="connsiteY212" fmla="*/ 652134 h 683477"/>
              <a:gd name="connsiteX213" fmla="*/ 784970 w 1720520"/>
              <a:gd name="connsiteY213" fmla="*/ 651763 h 683477"/>
              <a:gd name="connsiteX214" fmla="*/ 789355 w 1720520"/>
              <a:gd name="connsiteY214" fmla="*/ 655727 h 683477"/>
              <a:gd name="connsiteX215" fmla="*/ 800755 w 1720520"/>
              <a:gd name="connsiteY215" fmla="*/ 646931 h 683477"/>
              <a:gd name="connsiteX216" fmla="*/ 804263 w 1720520"/>
              <a:gd name="connsiteY216" fmla="*/ 631569 h 683477"/>
              <a:gd name="connsiteX217" fmla="*/ 841970 w 1720520"/>
              <a:gd name="connsiteY217" fmla="*/ 585112 h 683477"/>
              <a:gd name="connsiteX218" fmla="*/ 851617 w 1720520"/>
              <a:gd name="connsiteY218" fmla="*/ 582635 h 683477"/>
              <a:gd name="connsiteX219" fmla="*/ 889700 w 1720520"/>
              <a:gd name="connsiteY219" fmla="*/ 594156 h 683477"/>
              <a:gd name="connsiteX220" fmla="*/ 913126 w 1720520"/>
              <a:gd name="connsiteY220" fmla="*/ 603447 h 683477"/>
              <a:gd name="connsiteX221" fmla="*/ 941438 w 1720520"/>
              <a:gd name="connsiteY221" fmla="*/ 596757 h 683477"/>
              <a:gd name="connsiteX222" fmla="*/ 943192 w 1720520"/>
              <a:gd name="connsiteY222" fmla="*/ 588457 h 683477"/>
              <a:gd name="connsiteX223" fmla="*/ 962735 w 1720520"/>
              <a:gd name="connsiteY223" fmla="*/ 573095 h 683477"/>
              <a:gd name="connsiteX224" fmla="*/ 978269 w 1720520"/>
              <a:gd name="connsiteY224" fmla="*/ 577307 h 683477"/>
              <a:gd name="connsiteX225" fmla="*/ 980900 w 1720520"/>
              <a:gd name="connsiteY225" fmla="*/ 590315 h 683477"/>
              <a:gd name="connsiteX226" fmla="*/ 967997 w 1720520"/>
              <a:gd name="connsiteY226" fmla="*/ 612863 h 683477"/>
              <a:gd name="connsiteX227" fmla="*/ 950458 w 1720520"/>
              <a:gd name="connsiteY227" fmla="*/ 628101 h 683477"/>
              <a:gd name="connsiteX228" fmla="*/ 951586 w 1720520"/>
              <a:gd name="connsiteY228" fmla="*/ 637020 h 683477"/>
              <a:gd name="connsiteX229" fmla="*/ 969124 w 1720520"/>
              <a:gd name="connsiteY229" fmla="*/ 655603 h 683477"/>
              <a:gd name="connsiteX230" fmla="*/ 965992 w 1720520"/>
              <a:gd name="connsiteY230" fmla="*/ 668363 h 683477"/>
              <a:gd name="connsiteX231" fmla="*/ 984282 w 1720520"/>
              <a:gd name="connsiteY231" fmla="*/ 670965 h 683477"/>
              <a:gd name="connsiteX232" fmla="*/ 1003324 w 1720520"/>
              <a:gd name="connsiteY232" fmla="*/ 666877 h 683477"/>
              <a:gd name="connsiteX233" fmla="*/ 1020988 w 1720520"/>
              <a:gd name="connsiteY233" fmla="*/ 659568 h 683477"/>
              <a:gd name="connsiteX234" fmla="*/ 1018106 w 1720520"/>
              <a:gd name="connsiteY234" fmla="*/ 639374 h 683477"/>
              <a:gd name="connsiteX235" fmla="*/ 1029757 w 1720520"/>
              <a:gd name="connsiteY235" fmla="*/ 631693 h 683477"/>
              <a:gd name="connsiteX236" fmla="*/ 1028880 w 1720520"/>
              <a:gd name="connsiteY236" fmla="*/ 597625 h 683477"/>
              <a:gd name="connsiteX237" fmla="*/ 1033640 w 1720520"/>
              <a:gd name="connsiteY237" fmla="*/ 583006 h 683477"/>
              <a:gd name="connsiteX238" fmla="*/ 1060449 w 1720520"/>
              <a:gd name="connsiteY238" fmla="*/ 588457 h 683477"/>
              <a:gd name="connsiteX239" fmla="*/ 1076484 w 1720520"/>
              <a:gd name="connsiteY239" fmla="*/ 591678 h 683477"/>
              <a:gd name="connsiteX240" fmla="*/ 1120205 w 1720520"/>
              <a:gd name="connsiteY240" fmla="*/ 572724 h 683477"/>
              <a:gd name="connsiteX241" fmla="*/ 1130728 w 1720520"/>
              <a:gd name="connsiteY241" fmla="*/ 570989 h 683477"/>
              <a:gd name="connsiteX242" fmla="*/ 1143632 w 1720520"/>
              <a:gd name="connsiteY242" fmla="*/ 562565 h 683477"/>
              <a:gd name="connsiteX243" fmla="*/ 1191111 w 1720520"/>
              <a:gd name="connsiteY243" fmla="*/ 555999 h 683477"/>
              <a:gd name="connsiteX244" fmla="*/ 1208524 w 1720520"/>
              <a:gd name="connsiteY244" fmla="*/ 559840 h 683477"/>
              <a:gd name="connsiteX245" fmla="*/ 1218170 w 1720520"/>
              <a:gd name="connsiteY245" fmla="*/ 568016 h 683477"/>
              <a:gd name="connsiteX246" fmla="*/ 1248361 w 1720520"/>
              <a:gd name="connsiteY246" fmla="*/ 572600 h 683477"/>
              <a:gd name="connsiteX247" fmla="*/ 1290078 w 1720520"/>
              <a:gd name="connsiteY247" fmla="*/ 572104 h 683477"/>
              <a:gd name="connsiteX248" fmla="*/ 1293711 w 1720520"/>
              <a:gd name="connsiteY248" fmla="*/ 564052 h 683477"/>
              <a:gd name="connsiteX249" fmla="*/ 1317262 w 1720520"/>
              <a:gd name="connsiteY249" fmla="*/ 555875 h 683477"/>
              <a:gd name="connsiteX250" fmla="*/ 1330541 w 1720520"/>
              <a:gd name="connsiteY250" fmla="*/ 540266 h 683477"/>
              <a:gd name="connsiteX251" fmla="*/ 1362612 w 1720520"/>
              <a:gd name="connsiteY251" fmla="*/ 528992 h 683477"/>
              <a:gd name="connsiteX252" fmla="*/ 1385787 w 1720520"/>
              <a:gd name="connsiteY252" fmla="*/ 528001 h 683477"/>
              <a:gd name="connsiteX253" fmla="*/ 1403451 w 1720520"/>
              <a:gd name="connsiteY253" fmla="*/ 523913 h 683477"/>
              <a:gd name="connsiteX254" fmla="*/ 1449928 w 1720520"/>
              <a:gd name="connsiteY254" fmla="*/ 524532 h 683477"/>
              <a:gd name="connsiteX255" fmla="*/ 1485882 w 1720520"/>
              <a:gd name="connsiteY255" fmla="*/ 510533 h 683477"/>
              <a:gd name="connsiteX256" fmla="*/ 1511688 w 1720520"/>
              <a:gd name="connsiteY256" fmla="*/ 508799 h 683477"/>
              <a:gd name="connsiteX257" fmla="*/ 1519330 w 1720520"/>
              <a:gd name="connsiteY257" fmla="*/ 514497 h 683477"/>
              <a:gd name="connsiteX258" fmla="*/ 1543508 w 1720520"/>
              <a:gd name="connsiteY258" fmla="*/ 493065 h 683477"/>
              <a:gd name="connsiteX259" fmla="*/ 1565431 w 1720520"/>
              <a:gd name="connsiteY259" fmla="*/ 492074 h 683477"/>
              <a:gd name="connsiteX260" fmla="*/ 1574326 w 1720520"/>
              <a:gd name="connsiteY260" fmla="*/ 484517 h 683477"/>
              <a:gd name="connsiteX261" fmla="*/ 1612033 w 1720520"/>
              <a:gd name="connsiteY261" fmla="*/ 482907 h 683477"/>
              <a:gd name="connsiteX262" fmla="*/ 1644229 w 1720520"/>
              <a:gd name="connsiteY262" fmla="*/ 489472 h 683477"/>
              <a:gd name="connsiteX263" fmla="*/ 1667780 w 1720520"/>
              <a:gd name="connsiteY263" fmla="*/ 481915 h 683477"/>
              <a:gd name="connsiteX264" fmla="*/ 1680684 w 1720520"/>
              <a:gd name="connsiteY264" fmla="*/ 489225 h 683477"/>
              <a:gd name="connsiteX265" fmla="*/ 1680684 w 1720520"/>
              <a:gd name="connsiteY265" fmla="*/ 506940 h 683477"/>
              <a:gd name="connsiteX266" fmla="*/ 1696343 w 1720520"/>
              <a:gd name="connsiteY266" fmla="*/ 513506 h 683477"/>
              <a:gd name="connsiteX267" fmla="*/ 1716512 w 1720520"/>
              <a:gd name="connsiteY267" fmla="*/ 506693 h 683477"/>
              <a:gd name="connsiteX268" fmla="*/ 1720521 w 1720520"/>
              <a:gd name="connsiteY268" fmla="*/ 490835 h 683477"/>
              <a:gd name="connsiteX269" fmla="*/ 1711000 w 1720520"/>
              <a:gd name="connsiteY269" fmla="*/ 470270 h 683477"/>
              <a:gd name="connsiteX270" fmla="*/ 1689578 w 1720520"/>
              <a:gd name="connsiteY270" fmla="*/ 435706 h 683477"/>
              <a:gd name="connsiteX271" fmla="*/ 1664649 w 1720520"/>
              <a:gd name="connsiteY271" fmla="*/ 427530 h 683477"/>
              <a:gd name="connsiteX272" fmla="*/ 1666152 w 1720520"/>
              <a:gd name="connsiteY272" fmla="*/ 416999 h 683477"/>
              <a:gd name="connsiteX273" fmla="*/ 1663646 w 1720520"/>
              <a:gd name="connsiteY273" fmla="*/ 390859 h 683477"/>
              <a:gd name="connsiteX274" fmla="*/ 1674295 w 1720520"/>
              <a:gd name="connsiteY274" fmla="*/ 362861 h 683477"/>
              <a:gd name="connsiteX275" fmla="*/ 1667906 w 1720520"/>
              <a:gd name="connsiteY275" fmla="*/ 351959 h 683477"/>
              <a:gd name="connsiteX276" fmla="*/ 1646609 w 1720520"/>
              <a:gd name="connsiteY276" fmla="*/ 350225 h 683477"/>
              <a:gd name="connsiteX277" fmla="*/ 1644855 w 1720520"/>
              <a:gd name="connsiteY277" fmla="*/ 325324 h 683477"/>
              <a:gd name="connsiteX278" fmla="*/ 1646734 w 1720520"/>
              <a:gd name="connsiteY278" fmla="*/ 308104 h 683477"/>
              <a:gd name="connsiteX279" fmla="*/ 1636712 w 1720520"/>
              <a:gd name="connsiteY279" fmla="*/ 274407 h 683477"/>
              <a:gd name="connsiteX280" fmla="*/ 1625939 w 1720520"/>
              <a:gd name="connsiteY280" fmla="*/ 257063 h 683477"/>
              <a:gd name="connsiteX281" fmla="*/ 1624811 w 1720520"/>
              <a:gd name="connsiteY281" fmla="*/ 247895 h 683477"/>
              <a:gd name="connsiteX282" fmla="*/ 1650618 w 1720520"/>
              <a:gd name="connsiteY282" fmla="*/ 244798 h 683477"/>
              <a:gd name="connsiteX283" fmla="*/ 1658886 w 1720520"/>
              <a:gd name="connsiteY283" fmla="*/ 220145 h 683477"/>
              <a:gd name="connsiteX284" fmla="*/ 1668532 w 1720520"/>
              <a:gd name="connsiteY284" fmla="*/ 211225 h 683477"/>
              <a:gd name="connsiteX285" fmla="*/ 1657132 w 1720520"/>
              <a:gd name="connsiteY285" fmla="*/ 194624 h 683477"/>
              <a:gd name="connsiteX286" fmla="*/ 1640596 w 1720520"/>
              <a:gd name="connsiteY286" fmla="*/ 179510 h 683477"/>
              <a:gd name="connsiteX287" fmla="*/ 1622681 w 1720520"/>
              <a:gd name="connsiteY287" fmla="*/ 181616 h 683477"/>
              <a:gd name="connsiteX288" fmla="*/ 1594119 w 1720520"/>
              <a:gd name="connsiteY288" fmla="*/ 181616 h 683477"/>
              <a:gd name="connsiteX289" fmla="*/ 1566934 w 1720520"/>
              <a:gd name="connsiteY289" fmla="*/ 166874 h 683477"/>
              <a:gd name="connsiteX290" fmla="*/ 1564053 w 1720520"/>
              <a:gd name="connsiteY290" fmla="*/ 130823 h 683477"/>
              <a:gd name="connsiteX291" fmla="*/ 1568813 w 1720520"/>
              <a:gd name="connsiteY291" fmla="*/ 102330 h 683477"/>
              <a:gd name="connsiteX292" fmla="*/ 1558040 w 1720520"/>
              <a:gd name="connsiteY292" fmla="*/ 83747 h 683477"/>
              <a:gd name="connsiteX293" fmla="*/ 1541253 w 1720520"/>
              <a:gd name="connsiteY293" fmla="*/ 80526 h 683477"/>
              <a:gd name="connsiteX294" fmla="*/ 1539499 w 1720520"/>
              <a:gd name="connsiteY294" fmla="*/ 69376 h 683477"/>
              <a:gd name="connsiteX295" fmla="*/ 1522838 w 1720520"/>
              <a:gd name="connsiteY295" fmla="*/ 53023 h 683477"/>
              <a:gd name="connsiteX296" fmla="*/ 1506176 w 1720520"/>
              <a:gd name="connsiteY296" fmla="*/ 49802 h 683477"/>
              <a:gd name="connsiteX297" fmla="*/ 1466339 w 1720520"/>
              <a:gd name="connsiteY297" fmla="*/ 19326 h 683477"/>
              <a:gd name="connsiteX298" fmla="*/ 1450930 w 1720520"/>
              <a:gd name="connsiteY298" fmla="*/ 16105 h 683477"/>
              <a:gd name="connsiteX299" fmla="*/ 1438152 w 1720520"/>
              <a:gd name="connsiteY299" fmla="*/ 27750 h 683477"/>
              <a:gd name="connsiteX300" fmla="*/ 1427003 w 1720520"/>
              <a:gd name="connsiteY300" fmla="*/ 30228 h 683477"/>
              <a:gd name="connsiteX301" fmla="*/ 1402699 w 1720520"/>
              <a:gd name="connsiteY301" fmla="*/ 22052 h 683477"/>
              <a:gd name="connsiteX302" fmla="*/ 1394557 w 1720520"/>
              <a:gd name="connsiteY302" fmla="*/ 33573 h 683477"/>
              <a:gd name="connsiteX303" fmla="*/ 1383783 w 1720520"/>
              <a:gd name="connsiteY303" fmla="*/ 30724 h 683477"/>
              <a:gd name="connsiteX304" fmla="*/ 1379148 w 1720520"/>
              <a:gd name="connsiteY304" fmla="*/ 14495 h 683477"/>
              <a:gd name="connsiteX305" fmla="*/ 1367623 w 1720520"/>
              <a:gd name="connsiteY305" fmla="*/ 13627 h 683477"/>
              <a:gd name="connsiteX306" fmla="*/ 1367623 w 1720520"/>
              <a:gd name="connsiteY306" fmla="*/ 13627 h 683477"/>
              <a:gd name="connsiteX307" fmla="*/ 220483 w 1720520"/>
              <a:gd name="connsiteY307" fmla="*/ 652506 h 683477"/>
              <a:gd name="connsiteX308" fmla="*/ 226496 w 1720520"/>
              <a:gd name="connsiteY308" fmla="*/ 645692 h 683477"/>
              <a:gd name="connsiteX309" fmla="*/ 234138 w 1720520"/>
              <a:gd name="connsiteY309" fmla="*/ 645692 h 683477"/>
              <a:gd name="connsiteX310" fmla="*/ 236393 w 1720520"/>
              <a:gd name="connsiteY310" fmla="*/ 652134 h 683477"/>
              <a:gd name="connsiteX311" fmla="*/ 228501 w 1720520"/>
              <a:gd name="connsiteY311" fmla="*/ 654736 h 683477"/>
              <a:gd name="connsiteX312" fmla="*/ 220483 w 1720520"/>
              <a:gd name="connsiteY312" fmla="*/ 652382 h 683477"/>
              <a:gd name="connsiteX313" fmla="*/ 220483 w 1720520"/>
              <a:gd name="connsiteY313" fmla="*/ 652382 h 683477"/>
              <a:gd name="connsiteX314" fmla="*/ 0 w 1720520"/>
              <a:gd name="connsiteY314" fmla="*/ 254957 h 683477"/>
              <a:gd name="connsiteX315" fmla="*/ 14532 w 1720520"/>
              <a:gd name="connsiteY315" fmla="*/ 259912 h 683477"/>
              <a:gd name="connsiteX316" fmla="*/ 32571 w 1720520"/>
              <a:gd name="connsiteY316" fmla="*/ 254214 h 683477"/>
              <a:gd name="connsiteX317" fmla="*/ 34826 w 1720520"/>
              <a:gd name="connsiteY317" fmla="*/ 244303 h 683477"/>
              <a:gd name="connsiteX318" fmla="*/ 25932 w 1720520"/>
              <a:gd name="connsiteY318" fmla="*/ 239099 h 683477"/>
              <a:gd name="connsiteX319" fmla="*/ 16662 w 1720520"/>
              <a:gd name="connsiteY319" fmla="*/ 246780 h 683477"/>
              <a:gd name="connsiteX320" fmla="*/ 3382 w 1720520"/>
              <a:gd name="connsiteY320" fmla="*/ 247648 h 683477"/>
              <a:gd name="connsiteX321" fmla="*/ 125 w 1720520"/>
              <a:gd name="connsiteY321" fmla="*/ 254957 h 683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1720520" h="683477">
                <a:moveTo>
                  <a:pt x="23552" y="181740"/>
                </a:moveTo>
                <a:lnTo>
                  <a:pt x="43345" y="175918"/>
                </a:lnTo>
                <a:lnTo>
                  <a:pt x="53116" y="154485"/>
                </a:lnTo>
                <a:lnTo>
                  <a:pt x="48231" y="134912"/>
                </a:lnTo>
                <a:lnTo>
                  <a:pt x="71532" y="119426"/>
                </a:lnTo>
                <a:lnTo>
                  <a:pt x="71908" y="97003"/>
                </a:lnTo>
                <a:lnTo>
                  <a:pt x="52991" y="89941"/>
                </a:lnTo>
                <a:lnTo>
                  <a:pt x="55872" y="64792"/>
                </a:lnTo>
                <a:lnTo>
                  <a:pt x="69778" y="48439"/>
                </a:lnTo>
                <a:lnTo>
                  <a:pt x="84310" y="46457"/>
                </a:lnTo>
                <a:lnTo>
                  <a:pt x="94332" y="34192"/>
                </a:lnTo>
                <a:lnTo>
                  <a:pt x="120890" y="33077"/>
                </a:lnTo>
                <a:lnTo>
                  <a:pt x="146947" y="51660"/>
                </a:lnTo>
                <a:lnTo>
                  <a:pt x="159725" y="40511"/>
                </a:lnTo>
                <a:lnTo>
                  <a:pt x="180395" y="44723"/>
                </a:lnTo>
                <a:lnTo>
                  <a:pt x="184529" y="77057"/>
                </a:lnTo>
                <a:lnTo>
                  <a:pt x="213343" y="99976"/>
                </a:lnTo>
                <a:lnTo>
                  <a:pt x="233637" y="101834"/>
                </a:lnTo>
                <a:lnTo>
                  <a:pt x="255435" y="122275"/>
                </a:lnTo>
                <a:lnTo>
                  <a:pt x="274602" y="131814"/>
                </a:lnTo>
                <a:lnTo>
                  <a:pt x="275103" y="143460"/>
                </a:lnTo>
                <a:lnTo>
                  <a:pt x="259819" y="159936"/>
                </a:lnTo>
                <a:lnTo>
                  <a:pt x="236769" y="158821"/>
                </a:lnTo>
                <a:lnTo>
                  <a:pt x="223991" y="152503"/>
                </a:lnTo>
                <a:lnTo>
                  <a:pt x="203070" y="153371"/>
                </a:lnTo>
                <a:lnTo>
                  <a:pt x="195053" y="161299"/>
                </a:lnTo>
                <a:lnTo>
                  <a:pt x="163734" y="161919"/>
                </a:lnTo>
                <a:lnTo>
                  <a:pt x="145318" y="170343"/>
                </a:lnTo>
                <a:lnTo>
                  <a:pt x="136675" y="195492"/>
                </a:lnTo>
                <a:lnTo>
                  <a:pt x="89697" y="221632"/>
                </a:lnTo>
                <a:lnTo>
                  <a:pt x="52866" y="255576"/>
                </a:lnTo>
                <a:lnTo>
                  <a:pt x="50987" y="243188"/>
                </a:lnTo>
                <a:lnTo>
                  <a:pt x="58879" y="215933"/>
                </a:lnTo>
                <a:lnTo>
                  <a:pt x="69277" y="214818"/>
                </a:lnTo>
                <a:lnTo>
                  <a:pt x="86815" y="202305"/>
                </a:lnTo>
                <a:lnTo>
                  <a:pt x="69527" y="205155"/>
                </a:lnTo>
                <a:lnTo>
                  <a:pt x="58253" y="202181"/>
                </a:lnTo>
                <a:lnTo>
                  <a:pt x="47855" y="205403"/>
                </a:lnTo>
                <a:lnTo>
                  <a:pt x="32822" y="197102"/>
                </a:lnTo>
                <a:lnTo>
                  <a:pt x="24554" y="181616"/>
                </a:lnTo>
                <a:lnTo>
                  <a:pt x="23426" y="181369"/>
                </a:lnTo>
                <a:lnTo>
                  <a:pt x="23426" y="181369"/>
                </a:lnTo>
                <a:close/>
                <a:moveTo>
                  <a:pt x="1367497" y="13504"/>
                </a:moveTo>
                <a:lnTo>
                  <a:pt x="1363488" y="19574"/>
                </a:lnTo>
                <a:lnTo>
                  <a:pt x="1353341" y="43484"/>
                </a:lnTo>
                <a:lnTo>
                  <a:pt x="1331042" y="58226"/>
                </a:lnTo>
                <a:lnTo>
                  <a:pt x="1301102" y="74703"/>
                </a:lnTo>
                <a:lnTo>
                  <a:pt x="1296091" y="88702"/>
                </a:lnTo>
                <a:lnTo>
                  <a:pt x="1267653" y="91923"/>
                </a:lnTo>
                <a:lnTo>
                  <a:pt x="1257005" y="101339"/>
                </a:lnTo>
                <a:lnTo>
                  <a:pt x="1219047" y="94649"/>
                </a:lnTo>
                <a:lnTo>
                  <a:pt x="1207647" y="88207"/>
                </a:lnTo>
                <a:lnTo>
                  <a:pt x="1194368" y="88826"/>
                </a:lnTo>
                <a:lnTo>
                  <a:pt x="1188605" y="85605"/>
                </a:lnTo>
                <a:lnTo>
                  <a:pt x="1170816" y="91923"/>
                </a:lnTo>
                <a:lnTo>
                  <a:pt x="1137493" y="95392"/>
                </a:lnTo>
                <a:lnTo>
                  <a:pt x="1099159" y="112860"/>
                </a:lnTo>
                <a:lnTo>
                  <a:pt x="1067590" y="108028"/>
                </a:lnTo>
                <a:lnTo>
                  <a:pt x="1046043" y="94525"/>
                </a:lnTo>
                <a:lnTo>
                  <a:pt x="1035269" y="102577"/>
                </a:lnTo>
                <a:lnTo>
                  <a:pt x="999065" y="86844"/>
                </a:lnTo>
                <a:lnTo>
                  <a:pt x="980900" y="84862"/>
                </a:lnTo>
                <a:lnTo>
                  <a:pt x="947953" y="64916"/>
                </a:lnTo>
                <a:lnTo>
                  <a:pt x="938181" y="65288"/>
                </a:lnTo>
                <a:lnTo>
                  <a:pt x="930289" y="77305"/>
                </a:lnTo>
                <a:lnTo>
                  <a:pt x="914880" y="74455"/>
                </a:lnTo>
                <a:lnTo>
                  <a:pt x="897968" y="53890"/>
                </a:lnTo>
                <a:lnTo>
                  <a:pt x="892832" y="32086"/>
                </a:lnTo>
                <a:lnTo>
                  <a:pt x="877674" y="20317"/>
                </a:lnTo>
                <a:lnTo>
                  <a:pt x="867401" y="22795"/>
                </a:lnTo>
                <a:lnTo>
                  <a:pt x="846104" y="45714"/>
                </a:lnTo>
                <a:lnTo>
                  <a:pt x="838337" y="42617"/>
                </a:lnTo>
                <a:lnTo>
                  <a:pt x="830195" y="48439"/>
                </a:lnTo>
                <a:lnTo>
                  <a:pt x="795494" y="19574"/>
                </a:lnTo>
                <a:lnTo>
                  <a:pt x="791986" y="1858"/>
                </a:lnTo>
                <a:lnTo>
                  <a:pt x="786348" y="0"/>
                </a:lnTo>
                <a:lnTo>
                  <a:pt x="764551" y="11893"/>
                </a:lnTo>
                <a:lnTo>
                  <a:pt x="735362" y="13132"/>
                </a:lnTo>
                <a:lnTo>
                  <a:pt x="721206" y="8920"/>
                </a:lnTo>
                <a:lnTo>
                  <a:pt x="703291" y="14495"/>
                </a:lnTo>
                <a:lnTo>
                  <a:pt x="657942" y="14495"/>
                </a:lnTo>
                <a:cubicBezTo>
                  <a:pt x="657942" y="14495"/>
                  <a:pt x="635894" y="20069"/>
                  <a:pt x="635894" y="20069"/>
                </a:cubicBezTo>
                <a:lnTo>
                  <a:pt x="594303" y="40511"/>
                </a:lnTo>
                <a:lnTo>
                  <a:pt x="574885" y="43360"/>
                </a:lnTo>
                <a:lnTo>
                  <a:pt x="541061" y="51041"/>
                </a:lnTo>
                <a:lnTo>
                  <a:pt x="531916" y="64544"/>
                </a:lnTo>
                <a:lnTo>
                  <a:pt x="516131" y="69376"/>
                </a:lnTo>
                <a:lnTo>
                  <a:pt x="501599" y="85853"/>
                </a:lnTo>
                <a:lnTo>
                  <a:pt x="493457" y="91056"/>
                </a:lnTo>
                <a:lnTo>
                  <a:pt x="485314" y="113479"/>
                </a:lnTo>
                <a:lnTo>
                  <a:pt x="477171" y="119302"/>
                </a:lnTo>
                <a:lnTo>
                  <a:pt x="478925" y="128841"/>
                </a:lnTo>
                <a:lnTo>
                  <a:pt x="446353" y="132310"/>
                </a:lnTo>
                <a:lnTo>
                  <a:pt x="396870" y="116453"/>
                </a:lnTo>
                <a:lnTo>
                  <a:pt x="381586" y="117072"/>
                </a:lnTo>
                <a:lnTo>
                  <a:pt x="370813" y="125744"/>
                </a:lnTo>
                <a:lnTo>
                  <a:pt x="350393" y="122523"/>
                </a:lnTo>
                <a:lnTo>
                  <a:pt x="322833" y="130576"/>
                </a:lnTo>
                <a:lnTo>
                  <a:pt x="308677" y="126363"/>
                </a:lnTo>
                <a:lnTo>
                  <a:pt x="286002" y="133549"/>
                </a:lnTo>
                <a:lnTo>
                  <a:pt x="282369" y="146061"/>
                </a:lnTo>
                <a:lnTo>
                  <a:pt x="300283" y="172821"/>
                </a:lnTo>
                <a:lnTo>
                  <a:pt x="325964" y="172449"/>
                </a:lnTo>
                <a:lnTo>
                  <a:pt x="347637" y="174927"/>
                </a:lnTo>
                <a:lnTo>
                  <a:pt x="344630" y="184714"/>
                </a:lnTo>
                <a:lnTo>
                  <a:pt x="307173" y="186944"/>
                </a:lnTo>
                <a:lnTo>
                  <a:pt x="274978" y="197969"/>
                </a:lnTo>
                <a:lnTo>
                  <a:pt x="263828" y="213579"/>
                </a:lnTo>
                <a:lnTo>
                  <a:pt x="270468" y="222251"/>
                </a:lnTo>
                <a:lnTo>
                  <a:pt x="287630" y="216057"/>
                </a:lnTo>
                <a:lnTo>
                  <a:pt x="295022" y="226091"/>
                </a:lnTo>
                <a:lnTo>
                  <a:pt x="281367" y="231542"/>
                </a:lnTo>
                <a:lnTo>
                  <a:pt x="238899" y="234020"/>
                </a:lnTo>
                <a:lnTo>
                  <a:pt x="220358" y="225224"/>
                </a:lnTo>
                <a:lnTo>
                  <a:pt x="199187" y="235755"/>
                </a:lnTo>
                <a:lnTo>
                  <a:pt x="188162" y="221012"/>
                </a:lnTo>
                <a:lnTo>
                  <a:pt x="176387" y="222251"/>
                </a:lnTo>
                <a:lnTo>
                  <a:pt x="161228" y="240834"/>
                </a:lnTo>
                <a:lnTo>
                  <a:pt x="145820" y="240834"/>
                </a:lnTo>
                <a:cubicBezTo>
                  <a:pt x="145820" y="240834"/>
                  <a:pt x="122769" y="224481"/>
                  <a:pt x="122769" y="224481"/>
                </a:cubicBezTo>
                <a:lnTo>
                  <a:pt x="101222" y="225348"/>
                </a:lnTo>
                <a:lnTo>
                  <a:pt x="60883" y="258797"/>
                </a:lnTo>
                <a:lnTo>
                  <a:pt x="55371" y="275646"/>
                </a:lnTo>
                <a:lnTo>
                  <a:pt x="49108" y="291751"/>
                </a:lnTo>
                <a:lnTo>
                  <a:pt x="56499" y="303148"/>
                </a:lnTo>
                <a:lnTo>
                  <a:pt x="56499" y="321731"/>
                </a:lnTo>
                <a:cubicBezTo>
                  <a:pt x="56499" y="321731"/>
                  <a:pt x="50736" y="329536"/>
                  <a:pt x="50736" y="329536"/>
                </a:cubicBezTo>
                <a:lnTo>
                  <a:pt x="57501" y="340314"/>
                </a:lnTo>
                <a:lnTo>
                  <a:pt x="81554" y="331023"/>
                </a:lnTo>
                <a:lnTo>
                  <a:pt x="88569" y="333500"/>
                </a:lnTo>
                <a:lnTo>
                  <a:pt x="106483" y="328545"/>
                </a:lnTo>
                <a:lnTo>
                  <a:pt x="128782" y="328297"/>
                </a:lnTo>
                <a:lnTo>
                  <a:pt x="108112" y="349110"/>
                </a:lnTo>
                <a:lnTo>
                  <a:pt x="111494" y="362737"/>
                </a:lnTo>
                <a:lnTo>
                  <a:pt x="121141" y="376860"/>
                </a:lnTo>
                <a:lnTo>
                  <a:pt x="121141" y="387886"/>
                </a:lnTo>
                <a:cubicBezTo>
                  <a:pt x="121141" y="387886"/>
                  <a:pt x="119637" y="395815"/>
                  <a:pt x="119637" y="395815"/>
                </a:cubicBezTo>
                <a:lnTo>
                  <a:pt x="125650" y="399655"/>
                </a:lnTo>
                <a:lnTo>
                  <a:pt x="141811" y="388258"/>
                </a:lnTo>
                <a:lnTo>
                  <a:pt x="143690" y="397425"/>
                </a:lnTo>
                <a:lnTo>
                  <a:pt x="133042" y="409195"/>
                </a:lnTo>
                <a:lnTo>
                  <a:pt x="110743" y="424185"/>
                </a:lnTo>
                <a:lnTo>
                  <a:pt x="118886" y="429388"/>
                </a:lnTo>
                <a:lnTo>
                  <a:pt x="132165" y="430131"/>
                </a:lnTo>
                <a:lnTo>
                  <a:pt x="119387" y="439299"/>
                </a:lnTo>
                <a:lnTo>
                  <a:pt x="112121" y="455404"/>
                </a:lnTo>
                <a:lnTo>
                  <a:pt x="102349" y="455776"/>
                </a:lnTo>
                <a:lnTo>
                  <a:pt x="91200" y="432237"/>
                </a:lnTo>
                <a:lnTo>
                  <a:pt x="84185" y="429140"/>
                </a:lnTo>
                <a:lnTo>
                  <a:pt x="81679" y="444378"/>
                </a:lnTo>
                <a:lnTo>
                  <a:pt x="88694" y="460979"/>
                </a:lnTo>
                <a:lnTo>
                  <a:pt x="81178" y="470270"/>
                </a:lnTo>
                <a:lnTo>
                  <a:pt x="84560" y="483154"/>
                </a:lnTo>
                <a:lnTo>
                  <a:pt x="100220" y="492198"/>
                </a:lnTo>
                <a:lnTo>
                  <a:pt x="103352" y="484517"/>
                </a:lnTo>
                <a:lnTo>
                  <a:pt x="122143" y="498888"/>
                </a:lnTo>
                <a:lnTo>
                  <a:pt x="135923" y="495543"/>
                </a:lnTo>
                <a:lnTo>
                  <a:pt x="157345" y="507064"/>
                </a:lnTo>
                <a:lnTo>
                  <a:pt x="163859" y="528125"/>
                </a:lnTo>
                <a:lnTo>
                  <a:pt x="149954" y="543239"/>
                </a:lnTo>
                <a:lnTo>
                  <a:pt x="162231" y="553769"/>
                </a:lnTo>
                <a:lnTo>
                  <a:pt x="163358" y="564795"/>
                </a:lnTo>
                <a:lnTo>
                  <a:pt x="175259" y="565043"/>
                </a:lnTo>
                <a:lnTo>
                  <a:pt x="199187" y="586103"/>
                </a:lnTo>
                <a:lnTo>
                  <a:pt x="191420" y="600846"/>
                </a:lnTo>
                <a:lnTo>
                  <a:pt x="176637" y="597377"/>
                </a:lnTo>
                <a:lnTo>
                  <a:pt x="173631" y="607783"/>
                </a:lnTo>
                <a:lnTo>
                  <a:pt x="185657" y="612119"/>
                </a:lnTo>
                <a:lnTo>
                  <a:pt x="213217" y="604067"/>
                </a:lnTo>
                <a:lnTo>
                  <a:pt x="252178" y="602456"/>
                </a:lnTo>
                <a:lnTo>
                  <a:pt x="249797" y="610137"/>
                </a:lnTo>
                <a:lnTo>
                  <a:pt x="241279" y="619924"/>
                </a:lnTo>
                <a:lnTo>
                  <a:pt x="221736" y="629339"/>
                </a:lnTo>
                <a:lnTo>
                  <a:pt x="191921" y="629339"/>
                </a:lnTo>
                <a:cubicBezTo>
                  <a:pt x="191921" y="629339"/>
                  <a:pt x="185406" y="639994"/>
                  <a:pt x="185406" y="639994"/>
                </a:cubicBezTo>
                <a:lnTo>
                  <a:pt x="196556" y="642347"/>
                </a:lnTo>
                <a:lnTo>
                  <a:pt x="211589" y="636773"/>
                </a:lnTo>
                <a:lnTo>
                  <a:pt x="232134" y="635782"/>
                </a:lnTo>
                <a:lnTo>
                  <a:pt x="241780" y="630578"/>
                </a:lnTo>
                <a:lnTo>
                  <a:pt x="242406" y="643710"/>
                </a:lnTo>
                <a:lnTo>
                  <a:pt x="248169" y="648294"/>
                </a:lnTo>
                <a:lnTo>
                  <a:pt x="258066" y="634790"/>
                </a:lnTo>
                <a:lnTo>
                  <a:pt x="269841" y="619181"/>
                </a:lnTo>
                <a:lnTo>
                  <a:pt x="282995" y="617942"/>
                </a:lnTo>
                <a:lnTo>
                  <a:pt x="292516" y="628596"/>
                </a:lnTo>
                <a:lnTo>
                  <a:pt x="304417" y="628101"/>
                </a:lnTo>
                <a:lnTo>
                  <a:pt x="322206" y="637640"/>
                </a:lnTo>
                <a:lnTo>
                  <a:pt x="330099" y="625623"/>
                </a:lnTo>
                <a:lnTo>
                  <a:pt x="344129" y="627110"/>
                </a:lnTo>
                <a:lnTo>
                  <a:pt x="342375" y="636773"/>
                </a:lnTo>
                <a:lnTo>
                  <a:pt x="335611" y="640489"/>
                </a:lnTo>
                <a:lnTo>
                  <a:pt x="344505" y="652506"/>
                </a:lnTo>
                <a:lnTo>
                  <a:pt x="347136" y="664771"/>
                </a:lnTo>
                <a:lnTo>
                  <a:pt x="367305" y="679761"/>
                </a:lnTo>
                <a:lnTo>
                  <a:pt x="374070" y="676044"/>
                </a:lnTo>
                <a:lnTo>
                  <a:pt x="395367" y="683477"/>
                </a:lnTo>
                <a:lnTo>
                  <a:pt x="417540" y="679018"/>
                </a:lnTo>
                <a:lnTo>
                  <a:pt x="427562" y="670346"/>
                </a:lnTo>
                <a:lnTo>
                  <a:pt x="445602" y="669602"/>
                </a:lnTo>
                <a:lnTo>
                  <a:pt x="455624" y="660187"/>
                </a:lnTo>
                <a:lnTo>
                  <a:pt x="471909" y="667744"/>
                </a:lnTo>
                <a:lnTo>
                  <a:pt x="482808" y="661054"/>
                </a:lnTo>
                <a:lnTo>
                  <a:pt x="479802" y="639870"/>
                </a:lnTo>
                <a:lnTo>
                  <a:pt x="482808" y="628720"/>
                </a:lnTo>
                <a:lnTo>
                  <a:pt x="478424" y="608898"/>
                </a:lnTo>
                <a:lnTo>
                  <a:pt x="517259" y="603819"/>
                </a:lnTo>
                <a:lnTo>
                  <a:pt x="550707" y="605182"/>
                </a:lnTo>
                <a:lnTo>
                  <a:pt x="596307" y="625995"/>
                </a:lnTo>
                <a:lnTo>
                  <a:pt x="612217" y="625375"/>
                </a:lnTo>
                <a:lnTo>
                  <a:pt x="643160" y="662665"/>
                </a:lnTo>
                <a:lnTo>
                  <a:pt x="668966" y="677407"/>
                </a:lnTo>
                <a:lnTo>
                  <a:pt x="752023" y="663532"/>
                </a:lnTo>
                <a:lnTo>
                  <a:pt x="776577" y="652134"/>
                </a:lnTo>
                <a:lnTo>
                  <a:pt x="784970" y="651763"/>
                </a:lnTo>
                <a:lnTo>
                  <a:pt x="789355" y="655727"/>
                </a:lnTo>
                <a:lnTo>
                  <a:pt x="800755" y="646931"/>
                </a:lnTo>
                <a:lnTo>
                  <a:pt x="804263" y="631569"/>
                </a:lnTo>
                <a:lnTo>
                  <a:pt x="841970" y="585112"/>
                </a:lnTo>
                <a:lnTo>
                  <a:pt x="851617" y="582635"/>
                </a:lnTo>
                <a:lnTo>
                  <a:pt x="889700" y="594156"/>
                </a:lnTo>
                <a:lnTo>
                  <a:pt x="913126" y="603447"/>
                </a:lnTo>
                <a:lnTo>
                  <a:pt x="941438" y="596757"/>
                </a:lnTo>
                <a:lnTo>
                  <a:pt x="943192" y="588457"/>
                </a:lnTo>
                <a:lnTo>
                  <a:pt x="962735" y="573095"/>
                </a:lnTo>
                <a:lnTo>
                  <a:pt x="978269" y="577307"/>
                </a:lnTo>
                <a:lnTo>
                  <a:pt x="980900" y="590315"/>
                </a:lnTo>
                <a:lnTo>
                  <a:pt x="967997" y="612863"/>
                </a:lnTo>
                <a:lnTo>
                  <a:pt x="950458" y="628101"/>
                </a:lnTo>
                <a:lnTo>
                  <a:pt x="951586" y="637020"/>
                </a:lnTo>
                <a:lnTo>
                  <a:pt x="969124" y="655603"/>
                </a:lnTo>
                <a:lnTo>
                  <a:pt x="965992" y="668363"/>
                </a:lnTo>
                <a:lnTo>
                  <a:pt x="984282" y="670965"/>
                </a:lnTo>
                <a:lnTo>
                  <a:pt x="1003324" y="666877"/>
                </a:lnTo>
                <a:lnTo>
                  <a:pt x="1020988" y="659568"/>
                </a:lnTo>
                <a:lnTo>
                  <a:pt x="1018106" y="639374"/>
                </a:lnTo>
                <a:lnTo>
                  <a:pt x="1029757" y="631693"/>
                </a:lnTo>
                <a:lnTo>
                  <a:pt x="1028880" y="597625"/>
                </a:lnTo>
                <a:lnTo>
                  <a:pt x="1033640" y="583006"/>
                </a:lnTo>
                <a:lnTo>
                  <a:pt x="1060449" y="588457"/>
                </a:lnTo>
                <a:lnTo>
                  <a:pt x="1076484" y="591678"/>
                </a:lnTo>
                <a:lnTo>
                  <a:pt x="1120205" y="572724"/>
                </a:lnTo>
                <a:lnTo>
                  <a:pt x="1130728" y="570989"/>
                </a:lnTo>
                <a:lnTo>
                  <a:pt x="1143632" y="562565"/>
                </a:lnTo>
                <a:lnTo>
                  <a:pt x="1191111" y="555999"/>
                </a:lnTo>
                <a:lnTo>
                  <a:pt x="1208524" y="559840"/>
                </a:lnTo>
                <a:lnTo>
                  <a:pt x="1218170" y="568016"/>
                </a:lnTo>
                <a:lnTo>
                  <a:pt x="1248361" y="572600"/>
                </a:lnTo>
                <a:lnTo>
                  <a:pt x="1290078" y="572104"/>
                </a:lnTo>
                <a:lnTo>
                  <a:pt x="1293711" y="564052"/>
                </a:lnTo>
                <a:lnTo>
                  <a:pt x="1317262" y="555875"/>
                </a:lnTo>
                <a:lnTo>
                  <a:pt x="1330541" y="540266"/>
                </a:lnTo>
                <a:lnTo>
                  <a:pt x="1362612" y="528992"/>
                </a:lnTo>
                <a:lnTo>
                  <a:pt x="1385787" y="528001"/>
                </a:lnTo>
                <a:lnTo>
                  <a:pt x="1403451" y="523913"/>
                </a:lnTo>
                <a:lnTo>
                  <a:pt x="1449928" y="524532"/>
                </a:lnTo>
                <a:lnTo>
                  <a:pt x="1485882" y="510533"/>
                </a:lnTo>
                <a:lnTo>
                  <a:pt x="1511688" y="508799"/>
                </a:lnTo>
                <a:lnTo>
                  <a:pt x="1519330" y="514497"/>
                </a:lnTo>
                <a:lnTo>
                  <a:pt x="1543508" y="493065"/>
                </a:lnTo>
                <a:lnTo>
                  <a:pt x="1565431" y="492074"/>
                </a:lnTo>
                <a:lnTo>
                  <a:pt x="1574326" y="484517"/>
                </a:lnTo>
                <a:lnTo>
                  <a:pt x="1612033" y="482907"/>
                </a:lnTo>
                <a:lnTo>
                  <a:pt x="1644229" y="489472"/>
                </a:lnTo>
                <a:lnTo>
                  <a:pt x="1667780" y="481915"/>
                </a:lnTo>
                <a:lnTo>
                  <a:pt x="1680684" y="489225"/>
                </a:lnTo>
                <a:lnTo>
                  <a:pt x="1680684" y="506940"/>
                </a:lnTo>
                <a:cubicBezTo>
                  <a:pt x="1680684" y="506940"/>
                  <a:pt x="1696343" y="513506"/>
                  <a:pt x="1696343" y="513506"/>
                </a:cubicBezTo>
                <a:lnTo>
                  <a:pt x="1716512" y="506693"/>
                </a:lnTo>
                <a:lnTo>
                  <a:pt x="1720521" y="490835"/>
                </a:lnTo>
                <a:lnTo>
                  <a:pt x="1711000" y="470270"/>
                </a:lnTo>
                <a:lnTo>
                  <a:pt x="1689578" y="435706"/>
                </a:lnTo>
                <a:lnTo>
                  <a:pt x="1664649" y="427530"/>
                </a:lnTo>
                <a:lnTo>
                  <a:pt x="1666152" y="416999"/>
                </a:lnTo>
                <a:lnTo>
                  <a:pt x="1663646" y="390859"/>
                </a:lnTo>
                <a:lnTo>
                  <a:pt x="1674295" y="362861"/>
                </a:lnTo>
                <a:lnTo>
                  <a:pt x="1667906" y="351959"/>
                </a:lnTo>
                <a:lnTo>
                  <a:pt x="1646609" y="350225"/>
                </a:lnTo>
                <a:lnTo>
                  <a:pt x="1644855" y="325324"/>
                </a:lnTo>
                <a:lnTo>
                  <a:pt x="1646734" y="308104"/>
                </a:lnTo>
                <a:lnTo>
                  <a:pt x="1636712" y="274407"/>
                </a:lnTo>
                <a:lnTo>
                  <a:pt x="1625939" y="257063"/>
                </a:lnTo>
                <a:lnTo>
                  <a:pt x="1624811" y="247895"/>
                </a:lnTo>
                <a:lnTo>
                  <a:pt x="1650618" y="244798"/>
                </a:lnTo>
                <a:lnTo>
                  <a:pt x="1658886" y="220145"/>
                </a:lnTo>
                <a:lnTo>
                  <a:pt x="1668532" y="211225"/>
                </a:lnTo>
                <a:lnTo>
                  <a:pt x="1657132" y="194624"/>
                </a:lnTo>
                <a:lnTo>
                  <a:pt x="1640596" y="179510"/>
                </a:lnTo>
                <a:lnTo>
                  <a:pt x="1622681" y="181616"/>
                </a:lnTo>
                <a:lnTo>
                  <a:pt x="1594119" y="181616"/>
                </a:lnTo>
                <a:cubicBezTo>
                  <a:pt x="1594119" y="181616"/>
                  <a:pt x="1566934" y="166874"/>
                  <a:pt x="1566934" y="166874"/>
                </a:cubicBezTo>
                <a:lnTo>
                  <a:pt x="1564053" y="130823"/>
                </a:lnTo>
                <a:lnTo>
                  <a:pt x="1568813" y="102330"/>
                </a:lnTo>
                <a:lnTo>
                  <a:pt x="1558040" y="83747"/>
                </a:lnTo>
                <a:lnTo>
                  <a:pt x="1541253" y="80526"/>
                </a:lnTo>
                <a:lnTo>
                  <a:pt x="1539499" y="69376"/>
                </a:lnTo>
                <a:lnTo>
                  <a:pt x="1522838" y="53023"/>
                </a:lnTo>
                <a:lnTo>
                  <a:pt x="1506176" y="49802"/>
                </a:lnTo>
                <a:lnTo>
                  <a:pt x="1466339" y="19326"/>
                </a:lnTo>
                <a:lnTo>
                  <a:pt x="1450930" y="16105"/>
                </a:lnTo>
                <a:lnTo>
                  <a:pt x="1438152" y="27750"/>
                </a:lnTo>
                <a:lnTo>
                  <a:pt x="1427003" y="30228"/>
                </a:lnTo>
                <a:lnTo>
                  <a:pt x="1402699" y="22052"/>
                </a:lnTo>
                <a:lnTo>
                  <a:pt x="1394557" y="33573"/>
                </a:lnTo>
                <a:lnTo>
                  <a:pt x="1383783" y="30724"/>
                </a:lnTo>
                <a:lnTo>
                  <a:pt x="1379148" y="14495"/>
                </a:lnTo>
                <a:lnTo>
                  <a:pt x="1367623" y="13627"/>
                </a:lnTo>
                <a:lnTo>
                  <a:pt x="1367623" y="13627"/>
                </a:lnTo>
                <a:close/>
                <a:moveTo>
                  <a:pt x="220483" y="652506"/>
                </a:moveTo>
                <a:lnTo>
                  <a:pt x="226496" y="645692"/>
                </a:lnTo>
                <a:lnTo>
                  <a:pt x="234138" y="645692"/>
                </a:lnTo>
                <a:cubicBezTo>
                  <a:pt x="234138" y="645692"/>
                  <a:pt x="236393" y="652134"/>
                  <a:pt x="236393" y="652134"/>
                </a:cubicBezTo>
                <a:lnTo>
                  <a:pt x="228501" y="654736"/>
                </a:lnTo>
                <a:lnTo>
                  <a:pt x="220483" y="652382"/>
                </a:lnTo>
                <a:lnTo>
                  <a:pt x="220483" y="652382"/>
                </a:lnTo>
                <a:close/>
                <a:moveTo>
                  <a:pt x="0" y="254957"/>
                </a:moveTo>
                <a:lnTo>
                  <a:pt x="14532" y="259912"/>
                </a:lnTo>
                <a:lnTo>
                  <a:pt x="32571" y="254214"/>
                </a:lnTo>
                <a:lnTo>
                  <a:pt x="34826" y="244303"/>
                </a:lnTo>
                <a:lnTo>
                  <a:pt x="25932" y="239099"/>
                </a:lnTo>
                <a:lnTo>
                  <a:pt x="16662" y="246780"/>
                </a:lnTo>
                <a:lnTo>
                  <a:pt x="3382" y="247648"/>
                </a:lnTo>
                <a:lnTo>
                  <a:pt x="125" y="254957"/>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0" name="Graphic 125">
            <a:extLst>
              <a:ext uri="{FF2B5EF4-FFF2-40B4-BE49-F238E27FC236}">
                <a16:creationId xmlns:a16="http://schemas.microsoft.com/office/drawing/2014/main" id="{0974AE01-C814-6D91-227C-7E0CA7D31251}"/>
              </a:ext>
            </a:extLst>
          </p:cNvPr>
          <p:cNvSpPr/>
          <p:nvPr/>
        </p:nvSpPr>
        <p:spPr>
          <a:xfrm rot="1141104">
            <a:off x="7612265" y="4224968"/>
            <a:ext cx="809947" cy="764395"/>
          </a:xfrm>
          <a:custGeom>
            <a:avLst/>
            <a:gdLst>
              <a:gd name="connsiteX0" fmla="*/ 585441 w 809947"/>
              <a:gd name="connsiteY0" fmla="*/ 0 h 764395"/>
              <a:gd name="connsiteX1" fmla="*/ 574322 w 809947"/>
              <a:gd name="connsiteY1" fmla="*/ 494 h 764395"/>
              <a:gd name="connsiteX2" fmla="*/ 553208 w 809947"/>
              <a:gd name="connsiteY2" fmla="*/ 17791 h 764395"/>
              <a:gd name="connsiteX3" fmla="*/ 552833 w 809947"/>
              <a:gd name="connsiteY3" fmla="*/ 38794 h 764395"/>
              <a:gd name="connsiteX4" fmla="*/ 560704 w 809947"/>
              <a:gd name="connsiteY4" fmla="*/ 54238 h 764395"/>
              <a:gd name="connsiteX5" fmla="*/ 549210 w 809947"/>
              <a:gd name="connsiteY5" fmla="*/ 64492 h 764395"/>
              <a:gd name="connsiteX6" fmla="*/ 510106 w 809947"/>
              <a:gd name="connsiteY6" fmla="*/ 63504 h 764395"/>
              <a:gd name="connsiteX7" fmla="*/ 492615 w 809947"/>
              <a:gd name="connsiteY7" fmla="*/ 72770 h 764395"/>
              <a:gd name="connsiteX8" fmla="*/ 476373 w 809947"/>
              <a:gd name="connsiteY8" fmla="*/ 64245 h 764395"/>
              <a:gd name="connsiteX9" fmla="*/ 458508 w 809947"/>
              <a:gd name="connsiteY9" fmla="*/ 64987 h 764395"/>
              <a:gd name="connsiteX10" fmla="*/ 446389 w 809947"/>
              <a:gd name="connsiteY10" fmla="*/ 75365 h 764395"/>
              <a:gd name="connsiteX11" fmla="*/ 429148 w 809947"/>
              <a:gd name="connsiteY11" fmla="*/ 74747 h 764395"/>
              <a:gd name="connsiteX12" fmla="*/ 425900 w 809947"/>
              <a:gd name="connsiteY12" fmla="*/ 59798 h 764395"/>
              <a:gd name="connsiteX13" fmla="*/ 402163 w 809947"/>
              <a:gd name="connsiteY13" fmla="*/ 61404 h 764395"/>
              <a:gd name="connsiteX14" fmla="*/ 379550 w 809947"/>
              <a:gd name="connsiteY14" fmla="*/ 58439 h 764395"/>
              <a:gd name="connsiteX15" fmla="*/ 364308 w 809947"/>
              <a:gd name="connsiteY15" fmla="*/ 74129 h 764395"/>
              <a:gd name="connsiteX16" fmla="*/ 341445 w 809947"/>
              <a:gd name="connsiteY16" fmla="*/ 81048 h 764395"/>
              <a:gd name="connsiteX17" fmla="*/ 311086 w 809947"/>
              <a:gd name="connsiteY17" fmla="*/ 81666 h 764395"/>
              <a:gd name="connsiteX18" fmla="*/ 301591 w 809947"/>
              <a:gd name="connsiteY18" fmla="*/ 77465 h 764395"/>
              <a:gd name="connsiteX19" fmla="*/ 290222 w 809947"/>
              <a:gd name="connsiteY19" fmla="*/ 88461 h 764395"/>
              <a:gd name="connsiteX20" fmla="*/ 273730 w 809947"/>
              <a:gd name="connsiteY20" fmla="*/ 89820 h 764395"/>
              <a:gd name="connsiteX21" fmla="*/ 253241 w 809947"/>
              <a:gd name="connsiteY21" fmla="*/ 103781 h 764395"/>
              <a:gd name="connsiteX22" fmla="*/ 207515 w 809947"/>
              <a:gd name="connsiteY22" fmla="*/ 103781 h 764395"/>
              <a:gd name="connsiteX23" fmla="*/ 188775 w 809947"/>
              <a:gd name="connsiteY23" fmla="*/ 115024 h 764395"/>
              <a:gd name="connsiteX24" fmla="*/ 187776 w 809947"/>
              <a:gd name="connsiteY24" fmla="*/ 122931 h 764395"/>
              <a:gd name="connsiteX25" fmla="*/ 162414 w 809947"/>
              <a:gd name="connsiteY25" fmla="*/ 133186 h 764395"/>
              <a:gd name="connsiteX26" fmla="*/ 127058 w 809947"/>
              <a:gd name="connsiteY26" fmla="*/ 157030 h 764395"/>
              <a:gd name="connsiteX27" fmla="*/ 124184 w 809947"/>
              <a:gd name="connsiteY27" fmla="*/ 182729 h 764395"/>
              <a:gd name="connsiteX28" fmla="*/ 110816 w 809947"/>
              <a:gd name="connsiteY28" fmla="*/ 209539 h 764395"/>
              <a:gd name="connsiteX29" fmla="*/ 74960 w 809947"/>
              <a:gd name="connsiteY29" fmla="*/ 222882 h 764395"/>
              <a:gd name="connsiteX30" fmla="*/ 74461 w 809947"/>
              <a:gd name="connsiteY30" fmla="*/ 243885 h 764395"/>
              <a:gd name="connsiteX31" fmla="*/ 63092 w 809947"/>
              <a:gd name="connsiteY31" fmla="*/ 271189 h 764395"/>
              <a:gd name="connsiteX32" fmla="*/ 51348 w 809947"/>
              <a:gd name="connsiteY32" fmla="*/ 277861 h 764395"/>
              <a:gd name="connsiteX33" fmla="*/ 53347 w 809947"/>
              <a:gd name="connsiteY33" fmla="*/ 279097 h 764395"/>
              <a:gd name="connsiteX34" fmla="*/ 55970 w 809947"/>
              <a:gd name="connsiteY34" fmla="*/ 305165 h 764395"/>
              <a:gd name="connsiteX35" fmla="*/ 90327 w 809947"/>
              <a:gd name="connsiteY35" fmla="*/ 328516 h 764395"/>
              <a:gd name="connsiteX36" fmla="*/ 110442 w 809947"/>
              <a:gd name="connsiteY36" fmla="*/ 354708 h 764395"/>
              <a:gd name="connsiteX37" fmla="*/ 119562 w 809947"/>
              <a:gd name="connsiteY37" fmla="*/ 356314 h 764395"/>
              <a:gd name="connsiteX38" fmla="*/ 117813 w 809947"/>
              <a:gd name="connsiteY38" fmla="*/ 364592 h 764395"/>
              <a:gd name="connsiteX39" fmla="*/ 145048 w 809947"/>
              <a:gd name="connsiteY39" fmla="*/ 399186 h 764395"/>
              <a:gd name="connsiteX40" fmla="*/ 152419 w 809947"/>
              <a:gd name="connsiteY40" fmla="*/ 423649 h 764395"/>
              <a:gd name="connsiteX41" fmla="*/ 164413 w 809947"/>
              <a:gd name="connsiteY41" fmla="*/ 427973 h 764395"/>
              <a:gd name="connsiteX42" fmla="*/ 178906 w 809947"/>
              <a:gd name="connsiteY42" fmla="*/ 408823 h 764395"/>
              <a:gd name="connsiteX43" fmla="*/ 193523 w 809947"/>
              <a:gd name="connsiteY43" fmla="*/ 425378 h 764395"/>
              <a:gd name="connsiteX44" fmla="*/ 215136 w 809947"/>
              <a:gd name="connsiteY44" fmla="*/ 427231 h 764395"/>
              <a:gd name="connsiteX45" fmla="*/ 223507 w 809947"/>
              <a:gd name="connsiteY45" fmla="*/ 413147 h 764395"/>
              <a:gd name="connsiteX46" fmla="*/ 238749 w 809947"/>
              <a:gd name="connsiteY46" fmla="*/ 413888 h 764395"/>
              <a:gd name="connsiteX47" fmla="*/ 263736 w 809947"/>
              <a:gd name="connsiteY47" fmla="*/ 427231 h 764395"/>
              <a:gd name="connsiteX48" fmla="*/ 277978 w 809947"/>
              <a:gd name="connsiteY48" fmla="*/ 419819 h 764395"/>
              <a:gd name="connsiteX49" fmla="*/ 281226 w 809947"/>
              <a:gd name="connsiteY49" fmla="*/ 432050 h 764395"/>
              <a:gd name="connsiteX50" fmla="*/ 292970 w 809947"/>
              <a:gd name="connsiteY50" fmla="*/ 430814 h 764395"/>
              <a:gd name="connsiteX51" fmla="*/ 302965 w 809947"/>
              <a:gd name="connsiteY51" fmla="*/ 437980 h 764395"/>
              <a:gd name="connsiteX52" fmla="*/ 322580 w 809947"/>
              <a:gd name="connsiteY52" fmla="*/ 440575 h 764395"/>
              <a:gd name="connsiteX53" fmla="*/ 309087 w 809947"/>
              <a:gd name="connsiteY53" fmla="*/ 449347 h 764395"/>
              <a:gd name="connsiteX54" fmla="*/ 297093 w 809947"/>
              <a:gd name="connsiteY54" fmla="*/ 462196 h 764395"/>
              <a:gd name="connsiteX55" fmla="*/ 284100 w 809947"/>
              <a:gd name="connsiteY55" fmla="*/ 452435 h 764395"/>
              <a:gd name="connsiteX56" fmla="*/ 267234 w 809947"/>
              <a:gd name="connsiteY56" fmla="*/ 448976 h 764395"/>
              <a:gd name="connsiteX57" fmla="*/ 230128 w 809947"/>
              <a:gd name="connsiteY57" fmla="*/ 427231 h 764395"/>
              <a:gd name="connsiteX58" fmla="*/ 214387 w 809947"/>
              <a:gd name="connsiteY58" fmla="*/ 433409 h 764395"/>
              <a:gd name="connsiteX59" fmla="*/ 199520 w 809947"/>
              <a:gd name="connsiteY59" fmla="*/ 443046 h 764395"/>
              <a:gd name="connsiteX60" fmla="*/ 183278 w 809947"/>
              <a:gd name="connsiteY60" fmla="*/ 436127 h 764395"/>
              <a:gd name="connsiteX61" fmla="*/ 170785 w 809947"/>
              <a:gd name="connsiteY61" fmla="*/ 453177 h 764395"/>
              <a:gd name="connsiteX62" fmla="*/ 161165 w 809947"/>
              <a:gd name="connsiteY62" fmla="*/ 456389 h 764395"/>
              <a:gd name="connsiteX63" fmla="*/ 155668 w 809947"/>
              <a:gd name="connsiteY63" fmla="*/ 472450 h 764395"/>
              <a:gd name="connsiteX64" fmla="*/ 176032 w 809947"/>
              <a:gd name="connsiteY64" fmla="*/ 493577 h 764395"/>
              <a:gd name="connsiteX65" fmla="*/ 196646 w 809947"/>
              <a:gd name="connsiteY65" fmla="*/ 502349 h 764395"/>
              <a:gd name="connsiteX66" fmla="*/ 216885 w 809947"/>
              <a:gd name="connsiteY66" fmla="*/ 519399 h 764395"/>
              <a:gd name="connsiteX67" fmla="*/ 219509 w 809947"/>
              <a:gd name="connsiteY67" fmla="*/ 532371 h 764395"/>
              <a:gd name="connsiteX68" fmla="*/ 212263 w 809947"/>
              <a:gd name="connsiteY68" fmla="*/ 541638 h 764395"/>
              <a:gd name="connsiteX69" fmla="*/ 214387 w 809947"/>
              <a:gd name="connsiteY69" fmla="*/ 558687 h 764395"/>
              <a:gd name="connsiteX70" fmla="*/ 232002 w 809947"/>
              <a:gd name="connsiteY70" fmla="*/ 579196 h 764395"/>
              <a:gd name="connsiteX71" fmla="*/ 243621 w 809947"/>
              <a:gd name="connsiteY71" fmla="*/ 591057 h 764395"/>
              <a:gd name="connsiteX72" fmla="*/ 247994 w 809947"/>
              <a:gd name="connsiteY72" fmla="*/ 579196 h 764395"/>
              <a:gd name="connsiteX73" fmla="*/ 243496 w 809947"/>
              <a:gd name="connsiteY73" fmla="*/ 570424 h 764395"/>
              <a:gd name="connsiteX74" fmla="*/ 249743 w 809947"/>
              <a:gd name="connsiteY74" fmla="*/ 554363 h 764395"/>
              <a:gd name="connsiteX75" fmla="*/ 256864 w 809947"/>
              <a:gd name="connsiteY75" fmla="*/ 574007 h 764395"/>
              <a:gd name="connsiteX76" fmla="*/ 281601 w 809947"/>
              <a:gd name="connsiteY76" fmla="*/ 583274 h 764395"/>
              <a:gd name="connsiteX77" fmla="*/ 287723 w 809947"/>
              <a:gd name="connsiteY77" fmla="*/ 595999 h 764395"/>
              <a:gd name="connsiteX78" fmla="*/ 284850 w 809947"/>
              <a:gd name="connsiteY78" fmla="*/ 611195 h 764395"/>
              <a:gd name="connsiteX79" fmla="*/ 295719 w 809947"/>
              <a:gd name="connsiteY79" fmla="*/ 623056 h 764395"/>
              <a:gd name="connsiteX80" fmla="*/ 294594 w 809947"/>
              <a:gd name="connsiteY80" fmla="*/ 597605 h 764395"/>
              <a:gd name="connsiteX81" fmla="*/ 302715 w 809947"/>
              <a:gd name="connsiteY81" fmla="*/ 576602 h 764395"/>
              <a:gd name="connsiteX82" fmla="*/ 317957 w 809947"/>
              <a:gd name="connsiteY82" fmla="*/ 575984 h 764395"/>
              <a:gd name="connsiteX83" fmla="*/ 325578 w 809947"/>
              <a:gd name="connsiteY83" fmla="*/ 592169 h 764395"/>
              <a:gd name="connsiteX84" fmla="*/ 353438 w 809947"/>
              <a:gd name="connsiteY84" fmla="*/ 608848 h 764395"/>
              <a:gd name="connsiteX85" fmla="*/ 341570 w 809947"/>
              <a:gd name="connsiteY85" fmla="*/ 590810 h 764395"/>
              <a:gd name="connsiteX86" fmla="*/ 343818 w 809947"/>
              <a:gd name="connsiteY86" fmla="*/ 578332 h 764395"/>
              <a:gd name="connsiteX87" fmla="*/ 333324 w 809947"/>
              <a:gd name="connsiteY87" fmla="*/ 560911 h 764395"/>
              <a:gd name="connsiteX88" fmla="*/ 319581 w 809947"/>
              <a:gd name="connsiteY88" fmla="*/ 532001 h 764395"/>
              <a:gd name="connsiteX89" fmla="*/ 307712 w 809947"/>
              <a:gd name="connsiteY89" fmla="*/ 515322 h 764395"/>
              <a:gd name="connsiteX90" fmla="*/ 308087 w 809947"/>
              <a:gd name="connsiteY90" fmla="*/ 508403 h 764395"/>
              <a:gd name="connsiteX91" fmla="*/ 319206 w 809947"/>
              <a:gd name="connsiteY91" fmla="*/ 506550 h 764395"/>
              <a:gd name="connsiteX92" fmla="*/ 339696 w 809947"/>
              <a:gd name="connsiteY92" fmla="*/ 515939 h 764395"/>
              <a:gd name="connsiteX93" fmla="*/ 333824 w 809947"/>
              <a:gd name="connsiteY93" fmla="*/ 523847 h 764395"/>
              <a:gd name="connsiteX94" fmla="*/ 340320 w 809947"/>
              <a:gd name="connsiteY94" fmla="*/ 530395 h 764395"/>
              <a:gd name="connsiteX95" fmla="*/ 350315 w 809947"/>
              <a:gd name="connsiteY95" fmla="*/ 519028 h 764395"/>
              <a:gd name="connsiteX96" fmla="*/ 371429 w 809947"/>
              <a:gd name="connsiteY96" fmla="*/ 524958 h 764395"/>
              <a:gd name="connsiteX97" fmla="*/ 371804 w 809947"/>
              <a:gd name="connsiteY97" fmla="*/ 518040 h 764395"/>
              <a:gd name="connsiteX98" fmla="*/ 363183 w 809947"/>
              <a:gd name="connsiteY98" fmla="*/ 512233 h 764395"/>
              <a:gd name="connsiteX99" fmla="*/ 361184 w 809947"/>
              <a:gd name="connsiteY99" fmla="*/ 504697 h 764395"/>
              <a:gd name="connsiteX100" fmla="*/ 353813 w 809947"/>
              <a:gd name="connsiteY100" fmla="*/ 502967 h 764395"/>
              <a:gd name="connsiteX101" fmla="*/ 338196 w 809947"/>
              <a:gd name="connsiteY101" fmla="*/ 494071 h 764395"/>
              <a:gd name="connsiteX102" fmla="*/ 339196 w 809947"/>
              <a:gd name="connsiteY102" fmla="*/ 485052 h 764395"/>
              <a:gd name="connsiteX103" fmla="*/ 320581 w 809947"/>
              <a:gd name="connsiteY103" fmla="*/ 472080 h 764395"/>
              <a:gd name="connsiteX104" fmla="*/ 337572 w 809947"/>
              <a:gd name="connsiteY104" fmla="*/ 463802 h 764395"/>
              <a:gd name="connsiteX105" fmla="*/ 353563 w 809947"/>
              <a:gd name="connsiteY105" fmla="*/ 463802 h 764395"/>
              <a:gd name="connsiteX106" fmla="*/ 362933 w 809947"/>
              <a:gd name="connsiteY106" fmla="*/ 455153 h 764395"/>
              <a:gd name="connsiteX107" fmla="*/ 388670 w 809947"/>
              <a:gd name="connsiteY107" fmla="*/ 471215 h 764395"/>
              <a:gd name="connsiteX108" fmla="*/ 391793 w 809947"/>
              <a:gd name="connsiteY108" fmla="*/ 478628 h 764395"/>
              <a:gd name="connsiteX109" fmla="*/ 409284 w 809947"/>
              <a:gd name="connsiteY109" fmla="*/ 479987 h 764395"/>
              <a:gd name="connsiteX110" fmla="*/ 413656 w 809947"/>
              <a:gd name="connsiteY110" fmla="*/ 469485 h 764395"/>
              <a:gd name="connsiteX111" fmla="*/ 397415 w 809947"/>
              <a:gd name="connsiteY111" fmla="*/ 448235 h 764395"/>
              <a:gd name="connsiteX112" fmla="*/ 400663 w 809947"/>
              <a:gd name="connsiteY112" fmla="*/ 427479 h 764395"/>
              <a:gd name="connsiteX113" fmla="*/ 393917 w 809947"/>
              <a:gd name="connsiteY113" fmla="*/ 416112 h 764395"/>
              <a:gd name="connsiteX114" fmla="*/ 350440 w 809947"/>
              <a:gd name="connsiteY114" fmla="*/ 391897 h 764395"/>
              <a:gd name="connsiteX115" fmla="*/ 337072 w 809947"/>
              <a:gd name="connsiteY115" fmla="*/ 389055 h 764395"/>
              <a:gd name="connsiteX116" fmla="*/ 330326 w 809947"/>
              <a:gd name="connsiteY116" fmla="*/ 379047 h 764395"/>
              <a:gd name="connsiteX117" fmla="*/ 318582 w 809947"/>
              <a:gd name="connsiteY117" fmla="*/ 380283 h 764395"/>
              <a:gd name="connsiteX118" fmla="*/ 310461 w 809947"/>
              <a:gd name="connsiteY118" fmla="*/ 371017 h 764395"/>
              <a:gd name="connsiteX119" fmla="*/ 292346 w 809947"/>
              <a:gd name="connsiteY119" fmla="*/ 369781 h 764395"/>
              <a:gd name="connsiteX120" fmla="*/ 273605 w 809947"/>
              <a:gd name="connsiteY120" fmla="*/ 354832 h 764395"/>
              <a:gd name="connsiteX121" fmla="*/ 292845 w 809947"/>
              <a:gd name="connsiteY121" fmla="*/ 351249 h 764395"/>
              <a:gd name="connsiteX122" fmla="*/ 303465 w 809947"/>
              <a:gd name="connsiteY122" fmla="*/ 337782 h 764395"/>
              <a:gd name="connsiteX123" fmla="*/ 302340 w 809947"/>
              <a:gd name="connsiteY123" fmla="*/ 328145 h 764395"/>
              <a:gd name="connsiteX124" fmla="*/ 284100 w 809947"/>
              <a:gd name="connsiteY124" fmla="*/ 324068 h 764395"/>
              <a:gd name="connsiteX125" fmla="*/ 293220 w 809947"/>
              <a:gd name="connsiteY125" fmla="*/ 311343 h 764395"/>
              <a:gd name="connsiteX126" fmla="*/ 291971 w 809947"/>
              <a:gd name="connsiteY126" fmla="*/ 301088 h 764395"/>
              <a:gd name="connsiteX127" fmla="*/ 306213 w 809947"/>
              <a:gd name="connsiteY127" fmla="*/ 305660 h 764395"/>
              <a:gd name="connsiteX128" fmla="*/ 318082 w 809947"/>
              <a:gd name="connsiteY128" fmla="*/ 314431 h 764395"/>
              <a:gd name="connsiteX129" fmla="*/ 313959 w 809947"/>
              <a:gd name="connsiteY129" fmla="*/ 324562 h 764395"/>
              <a:gd name="connsiteX130" fmla="*/ 315708 w 809947"/>
              <a:gd name="connsiteY130" fmla="*/ 334076 h 764395"/>
              <a:gd name="connsiteX131" fmla="*/ 325703 w 809947"/>
              <a:gd name="connsiteY131" fmla="*/ 331234 h 764395"/>
              <a:gd name="connsiteX132" fmla="*/ 330950 w 809947"/>
              <a:gd name="connsiteY132" fmla="*/ 309737 h 764395"/>
              <a:gd name="connsiteX133" fmla="*/ 318207 w 809947"/>
              <a:gd name="connsiteY133" fmla="*/ 295899 h 764395"/>
              <a:gd name="connsiteX134" fmla="*/ 288972 w 809947"/>
              <a:gd name="connsiteY134" fmla="*/ 263406 h 764395"/>
              <a:gd name="connsiteX135" fmla="*/ 276729 w 809947"/>
              <a:gd name="connsiteY135" fmla="*/ 255005 h 764395"/>
              <a:gd name="connsiteX136" fmla="*/ 273481 w 809947"/>
              <a:gd name="connsiteY136" fmla="*/ 242773 h 764395"/>
              <a:gd name="connsiteX137" fmla="*/ 251242 w 809947"/>
              <a:gd name="connsiteY137" fmla="*/ 225847 h 764395"/>
              <a:gd name="connsiteX138" fmla="*/ 258488 w 809947"/>
              <a:gd name="connsiteY138" fmla="*/ 215963 h 764395"/>
              <a:gd name="connsiteX139" fmla="*/ 253491 w 809947"/>
              <a:gd name="connsiteY139" fmla="*/ 180381 h 764395"/>
              <a:gd name="connsiteX140" fmla="*/ 264485 w 809947"/>
              <a:gd name="connsiteY140" fmla="*/ 161355 h 764395"/>
              <a:gd name="connsiteX141" fmla="*/ 286474 w 809947"/>
              <a:gd name="connsiteY141" fmla="*/ 155671 h 764395"/>
              <a:gd name="connsiteX142" fmla="*/ 289972 w 809947"/>
              <a:gd name="connsiteY142" fmla="*/ 173339 h 764395"/>
              <a:gd name="connsiteX143" fmla="*/ 279602 w 809947"/>
              <a:gd name="connsiteY143" fmla="*/ 173833 h 764395"/>
              <a:gd name="connsiteX144" fmla="*/ 282101 w 809947"/>
              <a:gd name="connsiteY144" fmla="*/ 183346 h 764395"/>
              <a:gd name="connsiteX145" fmla="*/ 311086 w 809947"/>
              <a:gd name="connsiteY145" fmla="*/ 195207 h 764395"/>
              <a:gd name="connsiteX146" fmla="*/ 314834 w 809947"/>
              <a:gd name="connsiteY146" fmla="*/ 217075 h 764395"/>
              <a:gd name="connsiteX147" fmla="*/ 333449 w 809947"/>
              <a:gd name="connsiteY147" fmla="*/ 230665 h 764395"/>
              <a:gd name="connsiteX148" fmla="*/ 353563 w 809947"/>
              <a:gd name="connsiteY148" fmla="*/ 229183 h 764395"/>
              <a:gd name="connsiteX149" fmla="*/ 338571 w 809947"/>
              <a:gd name="connsiteY149" fmla="*/ 220164 h 764395"/>
              <a:gd name="connsiteX150" fmla="*/ 330326 w 809947"/>
              <a:gd name="connsiteY150" fmla="*/ 206821 h 764395"/>
              <a:gd name="connsiteX151" fmla="*/ 332574 w 809947"/>
              <a:gd name="connsiteY151" fmla="*/ 194342 h 764395"/>
              <a:gd name="connsiteX152" fmla="*/ 351564 w 809947"/>
              <a:gd name="connsiteY152" fmla="*/ 199778 h 764395"/>
              <a:gd name="connsiteX153" fmla="*/ 366931 w 809947"/>
              <a:gd name="connsiteY153" fmla="*/ 219052 h 764395"/>
              <a:gd name="connsiteX154" fmla="*/ 379674 w 809947"/>
              <a:gd name="connsiteY154" fmla="*/ 223376 h 764395"/>
              <a:gd name="connsiteX155" fmla="*/ 386171 w 809947"/>
              <a:gd name="connsiteY155" fmla="*/ 211392 h 764395"/>
              <a:gd name="connsiteX156" fmla="*/ 371804 w 809947"/>
              <a:gd name="connsiteY156" fmla="*/ 201632 h 764395"/>
              <a:gd name="connsiteX157" fmla="*/ 359060 w 809947"/>
              <a:gd name="connsiteY157" fmla="*/ 197431 h 764395"/>
              <a:gd name="connsiteX158" fmla="*/ 359310 w 809947"/>
              <a:gd name="connsiteY158" fmla="*/ 187053 h 764395"/>
              <a:gd name="connsiteX159" fmla="*/ 393417 w 809947"/>
              <a:gd name="connsiteY159" fmla="*/ 187053 h 764395"/>
              <a:gd name="connsiteX160" fmla="*/ 406410 w 809947"/>
              <a:gd name="connsiteY160" fmla="*/ 198790 h 764395"/>
              <a:gd name="connsiteX161" fmla="*/ 411783 w 809947"/>
              <a:gd name="connsiteY161" fmla="*/ 192365 h 764395"/>
              <a:gd name="connsiteX162" fmla="*/ 391543 w 809947"/>
              <a:gd name="connsiteY162" fmla="*/ 175316 h 764395"/>
              <a:gd name="connsiteX163" fmla="*/ 371304 w 809947"/>
              <a:gd name="connsiteY163" fmla="*/ 173462 h 764395"/>
              <a:gd name="connsiteX164" fmla="*/ 353813 w 809947"/>
              <a:gd name="connsiteY164" fmla="*/ 154930 h 764395"/>
              <a:gd name="connsiteX165" fmla="*/ 363058 w 809947"/>
              <a:gd name="connsiteY165" fmla="*/ 143564 h 764395"/>
              <a:gd name="connsiteX166" fmla="*/ 381299 w 809947"/>
              <a:gd name="connsiteY166" fmla="*/ 148258 h 764395"/>
              <a:gd name="connsiteX167" fmla="*/ 395541 w 809947"/>
              <a:gd name="connsiteY167" fmla="*/ 139487 h 764395"/>
              <a:gd name="connsiteX168" fmla="*/ 401413 w 809947"/>
              <a:gd name="connsiteY168" fmla="*/ 115147 h 764395"/>
              <a:gd name="connsiteX169" fmla="*/ 414406 w 809947"/>
              <a:gd name="connsiteY169" fmla="*/ 109835 h 764395"/>
              <a:gd name="connsiteX170" fmla="*/ 435145 w 809947"/>
              <a:gd name="connsiteY170" fmla="*/ 124043 h 764395"/>
              <a:gd name="connsiteX171" fmla="*/ 450512 w 809947"/>
              <a:gd name="connsiteY171" fmla="*/ 124784 h 764395"/>
              <a:gd name="connsiteX172" fmla="*/ 466379 w 809947"/>
              <a:gd name="connsiteY172" fmla="*/ 106870 h 764395"/>
              <a:gd name="connsiteX173" fmla="*/ 466629 w 809947"/>
              <a:gd name="connsiteY173" fmla="*/ 97974 h 764395"/>
              <a:gd name="connsiteX174" fmla="*/ 474250 w 809947"/>
              <a:gd name="connsiteY174" fmla="*/ 97603 h 764395"/>
              <a:gd name="connsiteX175" fmla="*/ 487368 w 809947"/>
              <a:gd name="connsiteY175" fmla="*/ 111441 h 764395"/>
              <a:gd name="connsiteX176" fmla="*/ 524848 w 809947"/>
              <a:gd name="connsiteY176" fmla="*/ 109835 h 764395"/>
              <a:gd name="connsiteX177" fmla="*/ 553208 w 809947"/>
              <a:gd name="connsiteY177" fmla="*/ 115889 h 764395"/>
              <a:gd name="connsiteX178" fmla="*/ 572947 w 809947"/>
              <a:gd name="connsiteY178" fmla="*/ 110082 h 764395"/>
              <a:gd name="connsiteX179" fmla="*/ 582692 w 809947"/>
              <a:gd name="connsiteY179" fmla="*/ 88708 h 764395"/>
              <a:gd name="connsiteX180" fmla="*/ 577820 w 809947"/>
              <a:gd name="connsiteY180" fmla="*/ 69187 h 764395"/>
              <a:gd name="connsiteX181" fmla="*/ 601057 w 809947"/>
              <a:gd name="connsiteY181" fmla="*/ 53744 h 764395"/>
              <a:gd name="connsiteX182" fmla="*/ 601432 w 809947"/>
              <a:gd name="connsiteY182" fmla="*/ 31381 h 764395"/>
              <a:gd name="connsiteX183" fmla="*/ 582567 w 809947"/>
              <a:gd name="connsiteY183" fmla="*/ 24339 h 764395"/>
              <a:gd name="connsiteX184" fmla="*/ 585316 w 809947"/>
              <a:gd name="connsiteY184" fmla="*/ 371 h 764395"/>
              <a:gd name="connsiteX185" fmla="*/ 585316 w 809947"/>
              <a:gd name="connsiteY185" fmla="*/ 371 h 764395"/>
              <a:gd name="connsiteX186" fmla="*/ 411158 w 809947"/>
              <a:gd name="connsiteY186" fmla="*/ 712258 h 764395"/>
              <a:gd name="connsiteX187" fmla="*/ 404786 w 809947"/>
              <a:gd name="connsiteY187" fmla="*/ 701386 h 764395"/>
              <a:gd name="connsiteX188" fmla="*/ 404536 w 809947"/>
              <a:gd name="connsiteY188" fmla="*/ 714359 h 764395"/>
              <a:gd name="connsiteX189" fmla="*/ 399289 w 809947"/>
              <a:gd name="connsiteY189" fmla="*/ 726096 h 764395"/>
              <a:gd name="connsiteX190" fmla="*/ 401538 w 809947"/>
              <a:gd name="connsiteY190" fmla="*/ 739686 h 764395"/>
              <a:gd name="connsiteX191" fmla="*/ 415156 w 809947"/>
              <a:gd name="connsiteY191" fmla="*/ 744999 h 764395"/>
              <a:gd name="connsiteX192" fmla="*/ 445515 w 809947"/>
              <a:gd name="connsiteY192" fmla="*/ 739686 h 764395"/>
              <a:gd name="connsiteX193" fmla="*/ 458258 w 809947"/>
              <a:gd name="connsiteY193" fmla="*/ 742404 h 764395"/>
              <a:gd name="connsiteX194" fmla="*/ 470377 w 809947"/>
              <a:gd name="connsiteY194" fmla="*/ 737586 h 764395"/>
              <a:gd name="connsiteX195" fmla="*/ 488867 w 809947"/>
              <a:gd name="connsiteY195" fmla="*/ 742034 h 764395"/>
              <a:gd name="connsiteX196" fmla="*/ 509231 w 809947"/>
              <a:gd name="connsiteY196" fmla="*/ 752659 h 764395"/>
              <a:gd name="connsiteX197" fmla="*/ 511980 w 809947"/>
              <a:gd name="connsiteY197" fmla="*/ 764396 h 764395"/>
              <a:gd name="connsiteX198" fmla="*/ 534842 w 809947"/>
              <a:gd name="connsiteY198" fmla="*/ 762419 h 764395"/>
              <a:gd name="connsiteX199" fmla="*/ 553208 w 809947"/>
              <a:gd name="connsiteY199" fmla="*/ 749817 h 764395"/>
              <a:gd name="connsiteX200" fmla="*/ 574572 w 809947"/>
              <a:gd name="connsiteY200" fmla="*/ 750929 h 764395"/>
              <a:gd name="connsiteX201" fmla="*/ 608304 w 809947"/>
              <a:gd name="connsiteY201" fmla="*/ 748458 h 764395"/>
              <a:gd name="connsiteX202" fmla="*/ 631541 w 809947"/>
              <a:gd name="connsiteY202" fmla="*/ 748087 h 764395"/>
              <a:gd name="connsiteX203" fmla="*/ 644410 w 809947"/>
              <a:gd name="connsiteY203" fmla="*/ 739315 h 764395"/>
              <a:gd name="connsiteX204" fmla="*/ 649407 w 809947"/>
              <a:gd name="connsiteY204" fmla="*/ 726343 h 764395"/>
              <a:gd name="connsiteX205" fmla="*/ 645909 w 809947"/>
              <a:gd name="connsiteY205" fmla="*/ 713988 h 764395"/>
              <a:gd name="connsiteX206" fmla="*/ 645534 w 809947"/>
              <a:gd name="connsiteY206" fmla="*/ 706081 h 764395"/>
              <a:gd name="connsiteX207" fmla="*/ 640911 w 809947"/>
              <a:gd name="connsiteY207" fmla="*/ 713494 h 764395"/>
              <a:gd name="connsiteX208" fmla="*/ 640662 w 809947"/>
              <a:gd name="connsiteY208" fmla="*/ 722760 h 764395"/>
              <a:gd name="connsiteX209" fmla="*/ 629792 w 809947"/>
              <a:gd name="connsiteY209" fmla="*/ 732397 h 764395"/>
              <a:gd name="connsiteX210" fmla="*/ 621547 w 809947"/>
              <a:gd name="connsiteY210" fmla="*/ 725849 h 764395"/>
              <a:gd name="connsiteX211" fmla="*/ 612177 w 809947"/>
              <a:gd name="connsiteY211" fmla="*/ 729802 h 764395"/>
              <a:gd name="connsiteX212" fmla="*/ 602432 w 809947"/>
              <a:gd name="connsiteY212" fmla="*/ 728937 h 764395"/>
              <a:gd name="connsiteX213" fmla="*/ 604056 w 809947"/>
              <a:gd name="connsiteY213" fmla="*/ 720289 h 764395"/>
              <a:gd name="connsiteX214" fmla="*/ 598934 w 809947"/>
              <a:gd name="connsiteY214" fmla="*/ 708675 h 764395"/>
              <a:gd name="connsiteX215" fmla="*/ 589938 w 809947"/>
              <a:gd name="connsiteY215" fmla="*/ 709417 h 764395"/>
              <a:gd name="connsiteX216" fmla="*/ 564952 w 809947"/>
              <a:gd name="connsiteY216" fmla="*/ 707193 h 764395"/>
              <a:gd name="connsiteX217" fmla="*/ 545087 w 809947"/>
              <a:gd name="connsiteY217" fmla="*/ 699533 h 764395"/>
              <a:gd name="connsiteX218" fmla="*/ 519226 w 809947"/>
              <a:gd name="connsiteY218" fmla="*/ 701633 h 764395"/>
              <a:gd name="connsiteX219" fmla="*/ 498362 w 809947"/>
              <a:gd name="connsiteY219" fmla="*/ 715965 h 764395"/>
              <a:gd name="connsiteX220" fmla="*/ 481995 w 809947"/>
              <a:gd name="connsiteY220" fmla="*/ 720907 h 764395"/>
              <a:gd name="connsiteX221" fmla="*/ 467753 w 809947"/>
              <a:gd name="connsiteY221" fmla="*/ 714235 h 764395"/>
              <a:gd name="connsiteX222" fmla="*/ 460757 w 809947"/>
              <a:gd name="connsiteY222" fmla="*/ 707316 h 764395"/>
              <a:gd name="connsiteX223" fmla="*/ 449887 w 809947"/>
              <a:gd name="connsiteY223" fmla="*/ 709417 h 764395"/>
              <a:gd name="connsiteX224" fmla="*/ 457134 w 809947"/>
              <a:gd name="connsiteY224" fmla="*/ 702251 h 764395"/>
              <a:gd name="connsiteX225" fmla="*/ 450012 w 809947"/>
              <a:gd name="connsiteY225" fmla="*/ 691749 h 764395"/>
              <a:gd name="connsiteX226" fmla="*/ 435895 w 809947"/>
              <a:gd name="connsiteY226" fmla="*/ 693355 h 764395"/>
              <a:gd name="connsiteX227" fmla="*/ 438768 w 809947"/>
              <a:gd name="connsiteY227" fmla="*/ 700151 h 764395"/>
              <a:gd name="connsiteX228" fmla="*/ 443516 w 809947"/>
              <a:gd name="connsiteY228" fmla="*/ 701263 h 764395"/>
              <a:gd name="connsiteX229" fmla="*/ 438393 w 809947"/>
              <a:gd name="connsiteY229" fmla="*/ 706081 h 764395"/>
              <a:gd name="connsiteX230" fmla="*/ 424901 w 809947"/>
              <a:gd name="connsiteY230" fmla="*/ 707316 h 764395"/>
              <a:gd name="connsiteX231" fmla="*/ 421028 w 809947"/>
              <a:gd name="connsiteY231" fmla="*/ 693973 h 764395"/>
              <a:gd name="connsiteX232" fmla="*/ 416655 w 809947"/>
              <a:gd name="connsiteY232" fmla="*/ 692861 h 764395"/>
              <a:gd name="connsiteX233" fmla="*/ 415281 w 809947"/>
              <a:gd name="connsiteY233" fmla="*/ 700521 h 764395"/>
              <a:gd name="connsiteX234" fmla="*/ 418029 w 809947"/>
              <a:gd name="connsiteY234" fmla="*/ 709540 h 764395"/>
              <a:gd name="connsiteX235" fmla="*/ 411283 w 809947"/>
              <a:gd name="connsiteY235" fmla="*/ 712135 h 764395"/>
              <a:gd name="connsiteX236" fmla="*/ 411283 w 809947"/>
              <a:gd name="connsiteY236" fmla="*/ 712135 h 764395"/>
              <a:gd name="connsiteX237" fmla="*/ 24237 w 809947"/>
              <a:gd name="connsiteY237" fmla="*/ 270448 h 764395"/>
              <a:gd name="connsiteX238" fmla="*/ 24237 w 809947"/>
              <a:gd name="connsiteY238" fmla="*/ 288116 h 764395"/>
              <a:gd name="connsiteX239" fmla="*/ 35106 w 809947"/>
              <a:gd name="connsiteY239" fmla="*/ 299111 h 764395"/>
              <a:gd name="connsiteX240" fmla="*/ 47225 w 809947"/>
              <a:gd name="connsiteY240" fmla="*/ 302818 h 764395"/>
              <a:gd name="connsiteX241" fmla="*/ 49474 w 809947"/>
              <a:gd name="connsiteY241" fmla="*/ 308995 h 764395"/>
              <a:gd name="connsiteX242" fmla="*/ 45351 w 809947"/>
              <a:gd name="connsiteY242" fmla="*/ 312455 h 764395"/>
              <a:gd name="connsiteX243" fmla="*/ 30109 w 809947"/>
              <a:gd name="connsiteY243" fmla="*/ 306154 h 764395"/>
              <a:gd name="connsiteX244" fmla="*/ 13118 w 809947"/>
              <a:gd name="connsiteY244" fmla="*/ 289845 h 764395"/>
              <a:gd name="connsiteX245" fmla="*/ 11494 w 809947"/>
              <a:gd name="connsiteY245" fmla="*/ 284656 h 764395"/>
              <a:gd name="connsiteX246" fmla="*/ 1749 w 809947"/>
              <a:gd name="connsiteY246" fmla="*/ 281197 h 764395"/>
              <a:gd name="connsiteX247" fmla="*/ 0 w 809947"/>
              <a:gd name="connsiteY247" fmla="*/ 272054 h 764395"/>
              <a:gd name="connsiteX248" fmla="*/ 15617 w 809947"/>
              <a:gd name="connsiteY248" fmla="*/ 265506 h 764395"/>
              <a:gd name="connsiteX249" fmla="*/ 24112 w 809947"/>
              <a:gd name="connsiteY249" fmla="*/ 270448 h 764395"/>
              <a:gd name="connsiteX250" fmla="*/ 24112 w 809947"/>
              <a:gd name="connsiteY250" fmla="*/ 270448 h 764395"/>
              <a:gd name="connsiteX251" fmla="*/ 101072 w 809947"/>
              <a:gd name="connsiteY251" fmla="*/ 396221 h 764395"/>
              <a:gd name="connsiteX252" fmla="*/ 99822 w 809947"/>
              <a:gd name="connsiteY252" fmla="*/ 390167 h 764395"/>
              <a:gd name="connsiteX253" fmla="*/ 107318 w 809947"/>
              <a:gd name="connsiteY253" fmla="*/ 375217 h 764395"/>
              <a:gd name="connsiteX254" fmla="*/ 113565 w 809947"/>
              <a:gd name="connsiteY254" fmla="*/ 373858 h 764395"/>
              <a:gd name="connsiteX255" fmla="*/ 116813 w 809947"/>
              <a:gd name="connsiteY255" fmla="*/ 389178 h 764395"/>
              <a:gd name="connsiteX256" fmla="*/ 111566 w 809947"/>
              <a:gd name="connsiteY256" fmla="*/ 396344 h 764395"/>
              <a:gd name="connsiteX257" fmla="*/ 105944 w 809947"/>
              <a:gd name="connsiteY257" fmla="*/ 397827 h 764395"/>
              <a:gd name="connsiteX258" fmla="*/ 101072 w 809947"/>
              <a:gd name="connsiteY258" fmla="*/ 396221 h 764395"/>
              <a:gd name="connsiteX259" fmla="*/ 101072 w 809947"/>
              <a:gd name="connsiteY259" fmla="*/ 396221 h 764395"/>
              <a:gd name="connsiteX260" fmla="*/ 103695 w 809947"/>
              <a:gd name="connsiteY260" fmla="*/ 425749 h 764395"/>
              <a:gd name="connsiteX261" fmla="*/ 103071 w 809947"/>
              <a:gd name="connsiteY261" fmla="*/ 403757 h 764395"/>
              <a:gd name="connsiteX262" fmla="*/ 113690 w 809947"/>
              <a:gd name="connsiteY262" fmla="*/ 411911 h 764395"/>
              <a:gd name="connsiteX263" fmla="*/ 119937 w 809947"/>
              <a:gd name="connsiteY263" fmla="*/ 424513 h 764395"/>
              <a:gd name="connsiteX264" fmla="*/ 117938 w 809947"/>
              <a:gd name="connsiteY264" fmla="*/ 432173 h 764395"/>
              <a:gd name="connsiteX265" fmla="*/ 126183 w 809947"/>
              <a:gd name="connsiteY265" fmla="*/ 440081 h 764395"/>
              <a:gd name="connsiteX266" fmla="*/ 128932 w 809947"/>
              <a:gd name="connsiteY266" fmla="*/ 448482 h 764395"/>
              <a:gd name="connsiteX267" fmla="*/ 132805 w 809947"/>
              <a:gd name="connsiteY267" fmla="*/ 453300 h 764395"/>
              <a:gd name="connsiteX268" fmla="*/ 127558 w 809947"/>
              <a:gd name="connsiteY268" fmla="*/ 462443 h 764395"/>
              <a:gd name="connsiteX269" fmla="*/ 116438 w 809947"/>
              <a:gd name="connsiteY269" fmla="*/ 457007 h 764395"/>
              <a:gd name="connsiteX270" fmla="*/ 103695 w 809947"/>
              <a:gd name="connsiteY270" fmla="*/ 455895 h 764395"/>
              <a:gd name="connsiteX271" fmla="*/ 103195 w 809947"/>
              <a:gd name="connsiteY271" fmla="*/ 445764 h 764395"/>
              <a:gd name="connsiteX272" fmla="*/ 98698 w 809947"/>
              <a:gd name="connsiteY272" fmla="*/ 441316 h 764395"/>
              <a:gd name="connsiteX273" fmla="*/ 98698 w 809947"/>
              <a:gd name="connsiteY273" fmla="*/ 450459 h 764395"/>
              <a:gd name="connsiteX274" fmla="*/ 94325 w 809947"/>
              <a:gd name="connsiteY274" fmla="*/ 455524 h 764395"/>
              <a:gd name="connsiteX275" fmla="*/ 85705 w 809947"/>
              <a:gd name="connsiteY275" fmla="*/ 447370 h 764395"/>
              <a:gd name="connsiteX276" fmla="*/ 84830 w 809947"/>
              <a:gd name="connsiteY276" fmla="*/ 428343 h 764395"/>
              <a:gd name="connsiteX277" fmla="*/ 95575 w 809947"/>
              <a:gd name="connsiteY277" fmla="*/ 424884 h 764395"/>
              <a:gd name="connsiteX278" fmla="*/ 103570 w 809947"/>
              <a:gd name="connsiteY278" fmla="*/ 425872 h 764395"/>
              <a:gd name="connsiteX279" fmla="*/ 103570 w 809947"/>
              <a:gd name="connsiteY279" fmla="*/ 425872 h 764395"/>
              <a:gd name="connsiteX280" fmla="*/ 140301 w 809947"/>
              <a:gd name="connsiteY280" fmla="*/ 488882 h 764395"/>
              <a:gd name="connsiteX281" fmla="*/ 147547 w 809947"/>
              <a:gd name="connsiteY281" fmla="*/ 496419 h 764395"/>
              <a:gd name="connsiteX282" fmla="*/ 136178 w 809947"/>
              <a:gd name="connsiteY282" fmla="*/ 495307 h 764395"/>
              <a:gd name="connsiteX283" fmla="*/ 134054 w 809947"/>
              <a:gd name="connsiteY283" fmla="*/ 501361 h 764395"/>
              <a:gd name="connsiteX284" fmla="*/ 123685 w 809947"/>
              <a:gd name="connsiteY284" fmla="*/ 499137 h 764395"/>
              <a:gd name="connsiteX285" fmla="*/ 110567 w 809947"/>
              <a:gd name="connsiteY285" fmla="*/ 487276 h 764395"/>
              <a:gd name="connsiteX286" fmla="*/ 112815 w 809947"/>
              <a:gd name="connsiteY286" fmla="*/ 477269 h 764395"/>
              <a:gd name="connsiteX287" fmla="*/ 119937 w 809947"/>
              <a:gd name="connsiteY287" fmla="*/ 473315 h 764395"/>
              <a:gd name="connsiteX288" fmla="*/ 131431 w 809947"/>
              <a:gd name="connsiteY288" fmla="*/ 478134 h 764395"/>
              <a:gd name="connsiteX289" fmla="*/ 140176 w 809947"/>
              <a:gd name="connsiteY289" fmla="*/ 488882 h 764395"/>
              <a:gd name="connsiteX290" fmla="*/ 140176 w 809947"/>
              <a:gd name="connsiteY290" fmla="*/ 488882 h 764395"/>
              <a:gd name="connsiteX291" fmla="*/ 719120 w 809947"/>
              <a:gd name="connsiteY291" fmla="*/ 663333 h 764395"/>
              <a:gd name="connsiteX292" fmla="*/ 716372 w 809947"/>
              <a:gd name="connsiteY292" fmla="*/ 659503 h 764395"/>
              <a:gd name="connsiteX293" fmla="*/ 720994 w 809947"/>
              <a:gd name="connsiteY293" fmla="*/ 651102 h 764395"/>
              <a:gd name="connsiteX294" fmla="*/ 721369 w 809947"/>
              <a:gd name="connsiteY294" fmla="*/ 659997 h 764395"/>
              <a:gd name="connsiteX295" fmla="*/ 719120 w 809947"/>
              <a:gd name="connsiteY295" fmla="*/ 663333 h 764395"/>
              <a:gd name="connsiteX296" fmla="*/ 719120 w 809947"/>
              <a:gd name="connsiteY296" fmla="*/ 663333 h 764395"/>
              <a:gd name="connsiteX297" fmla="*/ 717121 w 809947"/>
              <a:gd name="connsiteY297" fmla="*/ 709787 h 764395"/>
              <a:gd name="connsiteX298" fmla="*/ 713373 w 809947"/>
              <a:gd name="connsiteY298" fmla="*/ 691626 h 764395"/>
              <a:gd name="connsiteX299" fmla="*/ 707251 w 809947"/>
              <a:gd name="connsiteY299" fmla="*/ 680753 h 764395"/>
              <a:gd name="connsiteX300" fmla="*/ 716621 w 809947"/>
              <a:gd name="connsiteY300" fmla="*/ 668151 h 764395"/>
              <a:gd name="connsiteX301" fmla="*/ 719370 w 809947"/>
              <a:gd name="connsiteY301" fmla="*/ 678900 h 764395"/>
              <a:gd name="connsiteX302" fmla="*/ 728490 w 809947"/>
              <a:gd name="connsiteY302" fmla="*/ 689649 h 764395"/>
              <a:gd name="connsiteX303" fmla="*/ 722618 w 809947"/>
              <a:gd name="connsiteY303" fmla="*/ 706946 h 764395"/>
              <a:gd name="connsiteX304" fmla="*/ 717121 w 809947"/>
              <a:gd name="connsiteY304" fmla="*/ 709787 h 764395"/>
              <a:gd name="connsiteX305" fmla="*/ 717121 w 809947"/>
              <a:gd name="connsiteY305" fmla="*/ 709787 h 764395"/>
              <a:gd name="connsiteX306" fmla="*/ 762847 w 809947"/>
              <a:gd name="connsiteY306" fmla="*/ 653696 h 764395"/>
              <a:gd name="connsiteX307" fmla="*/ 756975 w 809947"/>
              <a:gd name="connsiteY307" fmla="*/ 648013 h 764395"/>
              <a:gd name="connsiteX308" fmla="*/ 761223 w 809947"/>
              <a:gd name="connsiteY308" fmla="*/ 638006 h 764395"/>
              <a:gd name="connsiteX309" fmla="*/ 758100 w 809947"/>
              <a:gd name="connsiteY309" fmla="*/ 634546 h 764395"/>
              <a:gd name="connsiteX310" fmla="*/ 758974 w 809947"/>
              <a:gd name="connsiteY310" fmla="*/ 625033 h 764395"/>
              <a:gd name="connsiteX311" fmla="*/ 778089 w 809947"/>
              <a:gd name="connsiteY311" fmla="*/ 607860 h 764395"/>
              <a:gd name="connsiteX312" fmla="*/ 798578 w 809947"/>
              <a:gd name="connsiteY312" fmla="*/ 598470 h 764395"/>
              <a:gd name="connsiteX313" fmla="*/ 809947 w 809947"/>
              <a:gd name="connsiteY313" fmla="*/ 593034 h 764395"/>
              <a:gd name="connsiteX314" fmla="*/ 809322 w 809947"/>
              <a:gd name="connsiteY314" fmla="*/ 602300 h 764395"/>
              <a:gd name="connsiteX315" fmla="*/ 803201 w 809947"/>
              <a:gd name="connsiteY315" fmla="*/ 607489 h 764395"/>
              <a:gd name="connsiteX316" fmla="*/ 800327 w 809947"/>
              <a:gd name="connsiteY316" fmla="*/ 617497 h 764395"/>
              <a:gd name="connsiteX317" fmla="*/ 795705 w 809947"/>
              <a:gd name="connsiteY317" fmla="*/ 625527 h 764395"/>
              <a:gd name="connsiteX318" fmla="*/ 796204 w 809947"/>
              <a:gd name="connsiteY318" fmla="*/ 631457 h 764395"/>
              <a:gd name="connsiteX319" fmla="*/ 787584 w 809947"/>
              <a:gd name="connsiteY319" fmla="*/ 632199 h 764395"/>
              <a:gd name="connsiteX320" fmla="*/ 778089 w 809947"/>
              <a:gd name="connsiteY320" fmla="*/ 642083 h 764395"/>
              <a:gd name="connsiteX321" fmla="*/ 770218 w 809947"/>
              <a:gd name="connsiteY321" fmla="*/ 652214 h 764395"/>
              <a:gd name="connsiteX322" fmla="*/ 762722 w 809947"/>
              <a:gd name="connsiteY322" fmla="*/ 653820 h 764395"/>
              <a:gd name="connsiteX323" fmla="*/ 762722 w 809947"/>
              <a:gd name="connsiteY323" fmla="*/ 653820 h 764395"/>
              <a:gd name="connsiteX324" fmla="*/ 637039 w 809947"/>
              <a:gd name="connsiteY324" fmla="*/ 599582 h 764395"/>
              <a:gd name="connsiteX325" fmla="*/ 628543 w 809947"/>
              <a:gd name="connsiteY325" fmla="*/ 593652 h 764395"/>
              <a:gd name="connsiteX326" fmla="*/ 632541 w 809947"/>
              <a:gd name="connsiteY326" fmla="*/ 586980 h 764395"/>
              <a:gd name="connsiteX327" fmla="*/ 646533 w 809947"/>
              <a:gd name="connsiteY327" fmla="*/ 581173 h 764395"/>
              <a:gd name="connsiteX328" fmla="*/ 654030 w 809947"/>
              <a:gd name="connsiteY328" fmla="*/ 584138 h 764395"/>
              <a:gd name="connsiteX329" fmla="*/ 648532 w 809947"/>
              <a:gd name="connsiteY329" fmla="*/ 593899 h 764395"/>
              <a:gd name="connsiteX330" fmla="*/ 637163 w 809947"/>
              <a:gd name="connsiteY330" fmla="*/ 599705 h 764395"/>
              <a:gd name="connsiteX331" fmla="*/ 637163 w 809947"/>
              <a:gd name="connsiteY331" fmla="*/ 599705 h 764395"/>
              <a:gd name="connsiteX332" fmla="*/ 629792 w 809947"/>
              <a:gd name="connsiteY332" fmla="*/ 470721 h 764395"/>
              <a:gd name="connsiteX333" fmla="*/ 644535 w 809947"/>
              <a:gd name="connsiteY333" fmla="*/ 457995 h 764395"/>
              <a:gd name="connsiteX334" fmla="*/ 655154 w 809947"/>
              <a:gd name="connsiteY334" fmla="*/ 458489 h 764395"/>
              <a:gd name="connsiteX335" fmla="*/ 666398 w 809947"/>
              <a:gd name="connsiteY335" fmla="*/ 466891 h 764395"/>
              <a:gd name="connsiteX336" fmla="*/ 669271 w 809947"/>
              <a:gd name="connsiteY336" fmla="*/ 463184 h 764395"/>
              <a:gd name="connsiteX337" fmla="*/ 674269 w 809947"/>
              <a:gd name="connsiteY337" fmla="*/ 463925 h 764395"/>
              <a:gd name="connsiteX338" fmla="*/ 676518 w 809947"/>
              <a:gd name="connsiteY338" fmla="*/ 470721 h 764395"/>
              <a:gd name="connsiteX339" fmla="*/ 666523 w 809947"/>
              <a:gd name="connsiteY339" fmla="*/ 476033 h 764395"/>
              <a:gd name="connsiteX340" fmla="*/ 662400 w 809947"/>
              <a:gd name="connsiteY340" fmla="*/ 481469 h 764395"/>
              <a:gd name="connsiteX341" fmla="*/ 653405 w 809947"/>
              <a:gd name="connsiteY341" fmla="*/ 481469 h 764395"/>
              <a:gd name="connsiteX342" fmla="*/ 645409 w 809947"/>
              <a:gd name="connsiteY342" fmla="*/ 473315 h 764395"/>
              <a:gd name="connsiteX343" fmla="*/ 635539 w 809947"/>
              <a:gd name="connsiteY343" fmla="*/ 474427 h 764395"/>
              <a:gd name="connsiteX344" fmla="*/ 626044 w 809947"/>
              <a:gd name="connsiteY344" fmla="*/ 477392 h 764395"/>
              <a:gd name="connsiteX345" fmla="*/ 629667 w 809947"/>
              <a:gd name="connsiteY345" fmla="*/ 470721 h 764395"/>
              <a:gd name="connsiteX346" fmla="*/ 629667 w 809947"/>
              <a:gd name="connsiteY346" fmla="*/ 470721 h 764395"/>
              <a:gd name="connsiteX347" fmla="*/ 594811 w 809947"/>
              <a:gd name="connsiteY347" fmla="*/ 376206 h 764395"/>
              <a:gd name="connsiteX348" fmla="*/ 599683 w 809947"/>
              <a:gd name="connsiteY348" fmla="*/ 398321 h 764395"/>
              <a:gd name="connsiteX349" fmla="*/ 597060 w 809947"/>
              <a:gd name="connsiteY349" fmla="*/ 413270 h 764395"/>
              <a:gd name="connsiteX350" fmla="*/ 584816 w 809947"/>
              <a:gd name="connsiteY350" fmla="*/ 419695 h 764395"/>
              <a:gd name="connsiteX351" fmla="*/ 574572 w 809947"/>
              <a:gd name="connsiteY351" fmla="*/ 412529 h 764395"/>
              <a:gd name="connsiteX352" fmla="*/ 573947 w 809947"/>
              <a:gd name="connsiteY352" fmla="*/ 405363 h 764395"/>
              <a:gd name="connsiteX353" fmla="*/ 582068 w 809947"/>
              <a:gd name="connsiteY353" fmla="*/ 401780 h 764395"/>
              <a:gd name="connsiteX354" fmla="*/ 581193 w 809947"/>
              <a:gd name="connsiteY354" fmla="*/ 388314 h 764395"/>
              <a:gd name="connsiteX355" fmla="*/ 568825 w 809947"/>
              <a:gd name="connsiteY355" fmla="*/ 379912 h 764395"/>
              <a:gd name="connsiteX356" fmla="*/ 568575 w 809947"/>
              <a:gd name="connsiteY356" fmla="*/ 373982 h 764395"/>
              <a:gd name="connsiteX357" fmla="*/ 578944 w 809947"/>
              <a:gd name="connsiteY357" fmla="*/ 367928 h 764395"/>
              <a:gd name="connsiteX358" fmla="*/ 590438 w 809947"/>
              <a:gd name="connsiteY358" fmla="*/ 372005 h 764395"/>
              <a:gd name="connsiteX359" fmla="*/ 594936 w 809947"/>
              <a:gd name="connsiteY359" fmla="*/ 376082 h 764395"/>
              <a:gd name="connsiteX360" fmla="*/ 594936 w 809947"/>
              <a:gd name="connsiteY360" fmla="*/ 376082 h 764395"/>
              <a:gd name="connsiteX361" fmla="*/ 567700 w 809947"/>
              <a:gd name="connsiteY361" fmla="*/ 324810 h 764395"/>
              <a:gd name="connsiteX362" fmla="*/ 553583 w 809947"/>
              <a:gd name="connsiteY362" fmla="*/ 314184 h 764395"/>
              <a:gd name="connsiteX363" fmla="*/ 561204 w 809947"/>
              <a:gd name="connsiteY363" fmla="*/ 300100 h 764395"/>
              <a:gd name="connsiteX364" fmla="*/ 581318 w 809947"/>
              <a:gd name="connsiteY364" fmla="*/ 292069 h 764395"/>
              <a:gd name="connsiteX365" fmla="*/ 591063 w 809947"/>
              <a:gd name="connsiteY365" fmla="*/ 285398 h 764395"/>
              <a:gd name="connsiteX366" fmla="*/ 610053 w 809947"/>
              <a:gd name="connsiteY366" fmla="*/ 281568 h 764395"/>
              <a:gd name="connsiteX367" fmla="*/ 613176 w 809947"/>
              <a:gd name="connsiteY367" fmla="*/ 286015 h 764395"/>
              <a:gd name="connsiteX368" fmla="*/ 609928 w 809947"/>
              <a:gd name="connsiteY368" fmla="*/ 296270 h 764395"/>
              <a:gd name="connsiteX369" fmla="*/ 614301 w 809947"/>
              <a:gd name="connsiteY369" fmla="*/ 296764 h 764395"/>
              <a:gd name="connsiteX370" fmla="*/ 617799 w 809947"/>
              <a:gd name="connsiteY370" fmla="*/ 309737 h 764395"/>
              <a:gd name="connsiteX371" fmla="*/ 618298 w 809947"/>
              <a:gd name="connsiteY371" fmla="*/ 328763 h 764395"/>
              <a:gd name="connsiteX372" fmla="*/ 600183 w 809947"/>
              <a:gd name="connsiteY372" fmla="*/ 330863 h 764395"/>
              <a:gd name="connsiteX373" fmla="*/ 587315 w 809947"/>
              <a:gd name="connsiteY373" fmla="*/ 325551 h 764395"/>
              <a:gd name="connsiteX374" fmla="*/ 591937 w 809947"/>
              <a:gd name="connsiteY374" fmla="*/ 318138 h 764395"/>
              <a:gd name="connsiteX375" fmla="*/ 599308 w 809947"/>
              <a:gd name="connsiteY375" fmla="*/ 311590 h 764395"/>
              <a:gd name="connsiteX376" fmla="*/ 600183 w 809947"/>
              <a:gd name="connsiteY376" fmla="*/ 300347 h 764395"/>
              <a:gd name="connsiteX377" fmla="*/ 586940 w 809947"/>
              <a:gd name="connsiteY377" fmla="*/ 301212 h 764395"/>
              <a:gd name="connsiteX378" fmla="*/ 583067 w 809947"/>
              <a:gd name="connsiteY378" fmla="*/ 311837 h 764395"/>
              <a:gd name="connsiteX379" fmla="*/ 581568 w 809947"/>
              <a:gd name="connsiteY379" fmla="*/ 322709 h 764395"/>
              <a:gd name="connsiteX380" fmla="*/ 573072 w 809947"/>
              <a:gd name="connsiteY380" fmla="*/ 325057 h 764395"/>
              <a:gd name="connsiteX381" fmla="*/ 567450 w 809947"/>
              <a:gd name="connsiteY381" fmla="*/ 324686 h 764395"/>
              <a:gd name="connsiteX382" fmla="*/ 567450 w 809947"/>
              <a:gd name="connsiteY382" fmla="*/ 324686 h 764395"/>
              <a:gd name="connsiteX383" fmla="*/ 514478 w 809947"/>
              <a:gd name="connsiteY383" fmla="*/ 161108 h 764395"/>
              <a:gd name="connsiteX384" fmla="*/ 517477 w 809947"/>
              <a:gd name="connsiteY384" fmla="*/ 154683 h 764395"/>
              <a:gd name="connsiteX385" fmla="*/ 529720 w 809947"/>
              <a:gd name="connsiteY385" fmla="*/ 152583 h 764395"/>
              <a:gd name="connsiteX386" fmla="*/ 541089 w 809947"/>
              <a:gd name="connsiteY386" fmla="*/ 155054 h 764395"/>
              <a:gd name="connsiteX387" fmla="*/ 541839 w 809947"/>
              <a:gd name="connsiteY387" fmla="*/ 163208 h 764395"/>
              <a:gd name="connsiteX388" fmla="*/ 532094 w 809947"/>
              <a:gd name="connsiteY388" fmla="*/ 167161 h 764395"/>
              <a:gd name="connsiteX389" fmla="*/ 514603 w 809947"/>
              <a:gd name="connsiteY389" fmla="*/ 160984 h 764395"/>
              <a:gd name="connsiteX390" fmla="*/ 514603 w 809947"/>
              <a:gd name="connsiteY390" fmla="*/ 160984 h 764395"/>
              <a:gd name="connsiteX391" fmla="*/ 476873 w 809947"/>
              <a:gd name="connsiteY391" fmla="*/ 210033 h 764395"/>
              <a:gd name="connsiteX392" fmla="*/ 491365 w 809947"/>
              <a:gd name="connsiteY392" fmla="*/ 209044 h 764395"/>
              <a:gd name="connsiteX393" fmla="*/ 497862 w 809947"/>
              <a:gd name="connsiteY393" fmla="*/ 213986 h 764395"/>
              <a:gd name="connsiteX394" fmla="*/ 506732 w 809947"/>
              <a:gd name="connsiteY394" fmla="*/ 205091 h 764395"/>
              <a:gd name="connsiteX395" fmla="*/ 516227 w 809947"/>
              <a:gd name="connsiteY395" fmla="*/ 209662 h 764395"/>
              <a:gd name="connsiteX396" fmla="*/ 505483 w 809947"/>
              <a:gd name="connsiteY396" fmla="*/ 222264 h 764395"/>
              <a:gd name="connsiteX397" fmla="*/ 503984 w 809947"/>
              <a:gd name="connsiteY397" fmla="*/ 239685 h 764395"/>
              <a:gd name="connsiteX398" fmla="*/ 493115 w 809947"/>
              <a:gd name="connsiteY398" fmla="*/ 235607 h 764395"/>
              <a:gd name="connsiteX399" fmla="*/ 485868 w 809947"/>
              <a:gd name="connsiteY399" fmla="*/ 237214 h 764395"/>
              <a:gd name="connsiteX400" fmla="*/ 477248 w 809947"/>
              <a:gd name="connsiteY400" fmla="*/ 230665 h 764395"/>
              <a:gd name="connsiteX401" fmla="*/ 472375 w 809947"/>
              <a:gd name="connsiteY401" fmla="*/ 217075 h 764395"/>
              <a:gd name="connsiteX402" fmla="*/ 476748 w 809947"/>
              <a:gd name="connsiteY402" fmla="*/ 210033 h 764395"/>
              <a:gd name="connsiteX403" fmla="*/ 476748 w 809947"/>
              <a:gd name="connsiteY403" fmla="*/ 210033 h 764395"/>
              <a:gd name="connsiteX404" fmla="*/ 429148 w 809947"/>
              <a:gd name="connsiteY404" fmla="*/ 133927 h 764395"/>
              <a:gd name="connsiteX405" fmla="*/ 436270 w 809947"/>
              <a:gd name="connsiteY405" fmla="*/ 130962 h 764395"/>
              <a:gd name="connsiteX406" fmla="*/ 449138 w 809947"/>
              <a:gd name="connsiteY406" fmla="*/ 136645 h 764395"/>
              <a:gd name="connsiteX407" fmla="*/ 451262 w 809947"/>
              <a:gd name="connsiteY407" fmla="*/ 146405 h 764395"/>
              <a:gd name="connsiteX408" fmla="*/ 439893 w 809947"/>
              <a:gd name="connsiteY408" fmla="*/ 152459 h 764395"/>
              <a:gd name="connsiteX409" fmla="*/ 434770 w 809947"/>
              <a:gd name="connsiteY409" fmla="*/ 149741 h 764395"/>
              <a:gd name="connsiteX410" fmla="*/ 424526 w 809947"/>
              <a:gd name="connsiteY410" fmla="*/ 150482 h 764395"/>
              <a:gd name="connsiteX411" fmla="*/ 429148 w 809947"/>
              <a:gd name="connsiteY411" fmla="*/ 133927 h 764395"/>
              <a:gd name="connsiteX412" fmla="*/ 429148 w 809947"/>
              <a:gd name="connsiteY412" fmla="*/ 133927 h 764395"/>
              <a:gd name="connsiteX413" fmla="*/ 354313 w 809947"/>
              <a:gd name="connsiteY413" fmla="*/ 320485 h 764395"/>
              <a:gd name="connsiteX414" fmla="*/ 359935 w 809947"/>
              <a:gd name="connsiteY414" fmla="*/ 318632 h 764395"/>
              <a:gd name="connsiteX415" fmla="*/ 369680 w 809947"/>
              <a:gd name="connsiteY415" fmla="*/ 321474 h 764395"/>
              <a:gd name="connsiteX416" fmla="*/ 373178 w 809947"/>
              <a:gd name="connsiteY416" fmla="*/ 332840 h 764395"/>
              <a:gd name="connsiteX417" fmla="*/ 370429 w 809947"/>
              <a:gd name="connsiteY417" fmla="*/ 339141 h 764395"/>
              <a:gd name="connsiteX418" fmla="*/ 354313 w 809947"/>
              <a:gd name="connsiteY418" fmla="*/ 320485 h 764395"/>
              <a:gd name="connsiteX419" fmla="*/ 354313 w 809947"/>
              <a:gd name="connsiteY419" fmla="*/ 320485 h 764395"/>
              <a:gd name="connsiteX420" fmla="*/ 337447 w 809947"/>
              <a:gd name="connsiteY420" fmla="*/ 321597 h 764395"/>
              <a:gd name="connsiteX421" fmla="*/ 344193 w 809947"/>
              <a:gd name="connsiteY421" fmla="*/ 316408 h 764395"/>
              <a:gd name="connsiteX422" fmla="*/ 348316 w 809947"/>
              <a:gd name="connsiteY422" fmla="*/ 320115 h 764395"/>
              <a:gd name="connsiteX423" fmla="*/ 344068 w 809947"/>
              <a:gd name="connsiteY423" fmla="*/ 329134 h 764395"/>
              <a:gd name="connsiteX424" fmla="*/ 337447 w 809947"/>
              <a:gd name="connsiteY424" fmla="*/ 321474 h 764395"/>
              <a:gd name="connsiteX425" fmla="*/ 337447 w 809947"/>
              <a:gd name="connsiteY425" fmla="*/ 321474 h 764395"/>
              <a:gd name="connsiteX426" fmla="*/ 442641 w 809947"/>
              <a:gd name="connsiteY426" fmla="*/ 337535 h 764395"/>
              <a:gd name="connsiteX427" fmla="*/ 448763 w 809947"/>
              <a:gd name="connsiteY427" fmla="*/ 334941 h 764395"/>
              <a:gd name="connsiteX428" fmla="*/ 456759 w 809947"/>
              <a:gd name="connsiteY428" fmla="*/ 342848 h 764395"/>
              <a:gd name="connsiteX429" fmla="*/ 466254 w 809947"/>
              <a:gd name="connsiteY429" fmla="*/ 345689 h 764395"/>
              <a:gd name="connsiteX430" fmla="*/ 468627 w 809947"/>
              <a:gd name="connsiteY430" fmla="*/ 360762 h 764395"/>
              <a:gd name="connsiteX431" fmla="*/ 462756 w 809947"/>
              <a:gd name="connsiteY431" fmla="*/ 363357 h 764395"/>
              <a:gd name="connsiteX432" fmla="*/ 457383 w 809947"/>
              <a:gd name="connsiteY432" fmla="*/ 353349 h 764395"/>
              <a:gd name="connsiteX433" fmla="*/ 452761 w 809947"/>
              <a:gd name="connsiteY433" fmla="*/ 352237 h 764395"/>
              <a:gd name="connsiteX434" fmla="*/ 442891 w 809947"/>
              <a:gd name="connsiteY434" fmla="*/ 337535 h 764395"/>
              <a:gd name="connsiteX435" fmla="*/ 442891 w 809947"/>
              <a:gd name="connsiteY435" fmla="*/ 337535 h 764395"/>
              <a:gd name="connsiteX436" fmla="*/ 599184 w 809947"/>
              <a:gd name="connsiteY436" fmla="*/ 504079 h 764395"/>
              <a:gd name="connsiteX437" fmla="*/ 592812 w 809947"/>
              <a:gd name="connsiteY437" fmla="*/ 496789 h 764395"/>
              <a:gd name="connsiteX438" fmla="*/ 595061 w 809947"/>
              <a:gd name="connsiteY438" fmla="*/ 486782 h 764395"/>
              <a:gd name="connsiteX439" fmla="*/ 614051 w 809947"/>
              <a:gd name="connsiteY439" fmla="*/ 482334 h 764395"/>
              <a:gd name="connsiteX440" fmla="*/ 611427 w 809947"/>
              <a:gd name="connsiteY440" fmla="*/ 491600 h 764395"/>
              <a:gd name="connsiteX441" fmla="*/ 599059 w 809947"/>
              <a:gd name="connsiteY441" fmla="*/ 503955 h 764395"/>
              <a:gd name="connsiteX442" fmla="*/ 599059 w 809947"/>
              <a:gd name="connsiteY442" fmla="*/ 503955 h 764395"/>
              <a:gd name="connsiteX443" fmla="*/ 452136 w 809947"/>
              <a:gd name="connsiteY443" fmla="*/ 601682 h 764395"/>
              <a:gd name="connsiteX444" fmla="*/ 460257 w 809947"/>
              <a:gd name="connsiteY444" fmla="*/ 588833 h 764395"/>
              <a:gd name="connsiteX445" fmla="*/ 472251 w 809947"/>
              <a:gd name="connsiteY445" fmla="*/ 588833 h 764395"/>
              <a:gd name="connsiteX446" fmla="*/ 470002 w 809947"/>
              <a:gd name="connsiteY446" fmla="*/ 598346 h 764395"/>
              <a:gd name="connsiteX447" fmla="*/ 460257 w 809947"/>
              <a:gd name="connsiteY447" fmla="*/ 602424 h 764395"/>
              <a:gd name="connsiteX448" fmla="*/ 452261 w 809947"/>
              <a:gd name="connsiteY448" fmla="*/ 601806 h 764395"/>
              <a:gd name="connsiteX449" fmla="*/ 452261 w 809947"/>
              <a:gd name="connsiteY449" fmla="*/ 601806 h 764395"/>
              <a:gd name="connsiteX450" fmla="*/ 456884 w 809947"/>
              <a:gd name="connsiteY450" fmla="*/ 545220 h 764395"/>
              <a:gd name="connsiteX451" fmla="*/ 465004 w 809947"/>
              <a:gd name="connsiteY451" fmla="*/ 538920 h 764395"/>
              <a:gd name="connsiteX452" fmla="*/ 465504 w 809947"/>
              <a:gd name="connsiteY452" fmla="*/ 550780 h 764395"/>
              <a:gd name="connsiteX453" fmla="*/ 456884 w 809947"/>
              <a:gd name="connsiteY453" fmla="*/ 545220 h 764395"/>
              <a:gd name="connsiteX454" fmla="*/ 456884 w 809947"/>
              <a:gd name="connsiteY454" fmla="*/ 545220 h 764395"/>
              <a:gd name="connsiteX455" fmla="*/ 452886 w 809947"/>
              <a:gd name="connsiteY455" fmla="*/ 528665 h 764395"/>
              <a:gd name="connsiteX456" fmla="*/ 452261 w 809947"/>
              <a:gd name="connsiteY456" fmla="*/ 513592 h 764395"/>
              <a:gd name="connsiteX457" fmla="*/ 460632 w 809947"/>
              <a:gd name="connsiteY457" fmla="*/ 515569 h 764395"/>
              <a:gd name="connsiteX458" fmla="*/ 460632 w 809947"/>
              <a:gd name="connsiteY458" fmla="*/ 523723 h 764395"/>
              <a:gd name="connsiteX459" fmla="*/ 452886 w 809947"/>
              <a:gd name="connsiteY459" fmla="*/ 528665 h 764395"/>
              <a:gd name="connsiteX460" fmla="*/ 452886 w 809947"/>
              <a:gd name="connsiteY460" fmla="*/ 528665 h 764395"/>
              <a:gd name="connsiteX461" fmla="*/ 443016 w 809947"/>
              <a:gd name="connsiteY461" fmla="*/ 508032 h 764395"/>
              <a:gd name="connsiteX462" fmla="*/ 439768 w 809947"/>
              <a:gd name="connsiteY462" fmla="*/ 502226 h 764395"/>
              <a:gd name="connsiteX463" fmla="*/ 445015 w 809947"/>
              <a:gd name="connsiteY463" fmla="*/ 495060 h 764395"/>
              <a:gd name="connsiteX464" fmla="*/ 452011 w 809947"/>
              <a:gd name="connsiteY464" fmla="*/ 503585 h 764395"/>
              <a:gd name="connsiteX465" fmla="*/ 442891 w 809947"/>
              <a:gd name="connsiteY465" fmla="*/ 507909 h 764395"/>
              <a:gd name="connsiteX466" fmla="*/ 442891 w 809947"/>
              <a:gd name="connsiteY466" fmla="*/ 507909 h 764395"/>
              <a:gd name="connsiteX467" fmla="*/ 528096 w 809947"/>
              <a:gd name="connsiteY467" fmla="*/ 558317 h 764395"/>
              <a:gd name="connsiteX468" fmla="*/ 519850 w 809947"/>
              <a:gd name="connsiteY468" fmla="*/ 551769 h 764395"/>
              <a:gd name="connsiteX469" fmla="*/ 522849 w 809947"/>
              <a:gd name="connsiteY469" fmla="*/ 537190 h 764395"/>
              <a:gd name="connsiteX470" fmla="*/ 531719 w 809947"/>
              <a:gd name="connsiteY470" fmla="*/ 536819 h 764395"/>
              <a:gd name="connsiteX471" fmla="*/ 536092 w 809947"/>
              <a:gd name="connsiteY471" fmla="*/ 545838 h 764395"/>
              <a:gd name="connsiteX472" fmla="*/ 527971 w 809947"/>
              <a:gd name="connsiteY472" fmla="*/ 558317 h 764395"/>
              <a:gd name="connsiteX473" fmla="*/ 527971 w 809947"/>
              <a:gd name="connsiteY473" fmla="*/ 558317 h 764395"/>
              <a:gd name="connsiteX474" fmla="*/ 550084 w 809947"/>
              <a:gd name="connsiteY474" fmla="*/ 553745 h 764395"/>
              <a:gd name="connsiteX475" fmla="*/ 543338 w 809947"/>
              <a:gd name="connsiteY475" fmla="*/ 543861 h 764395"/>
              <a:gd name="connsiteX476" fmla="*/ 555706 w 809947"/>
              <a:gd name="connsiteY476" fmla="*/ 532124 h 764395"/>
              <a:gd name="connsiteX477" fmla="*/ 564077 w 809947"/>
              <a:gd name="connsiteY477" fmla="*/ 533360 h 764395"/>
              <a:gd name="connsiteX478" fmla="*/ 566451 w 809947"/>
              <a:gd name="connsiteY478" fmla="*/ 542749 h 764395"/>
              <a:gd name="connsiteX479" fmla="*/ 558580 w 809947"/>
              <a:gd name="connsiteY479" fmla="*/ 553622 h 764395"/>
              <a:gd name="connsiteX480" fmla="*/ 549959 w 809947"/>
              <a:gd name="connsiteY480" fmla="*/ 553622 h 764395"/>
              <a:gd name="connsiteX481" fmla="*/ 543338 w 809947"/>
              <a:gd name="connsiteY481" fmla="*/ 513963 h 764395"/>
              <a:gd name="connsiteX482" fmla="*/ 543338 w 809947"/>
              <a:gd name="connsiteY482" fmla="*/ 506673 h 764395"/>
              <a:gd name="connsiteX483" fmla="*/ 551459 w 809947"/>
              <a:gd name="connsiteY483" fmla="*/ 508650 h 764395"/>
              <a:gd name="connsiteX484" fmla="*/ 543338 w 809947"/>
              <a:gd name="connsiteY484" fmla="*/ 513963 h 764395"/>
              <a:gd name="connsiteX485" fmla="*/ 543338 w 809947"/>
              <a:gd name="connsiteY485" fmla="*/ 513963 h 764395"/>
              <a:gd name="connsiteX486" fmla="*/ 515852 w 809947"/>
              <a:gd name="connsiteY486" fmla="*/ 492465 h 764395"/>
              <a:gd name="connsiteX487" fmla="*/ 524348 w 809947"/>
              <a:gd name="connsiteY487" fmla="*/ 489129 h 764395"/>
              <a:gd name="connsiteX488" fmla="*/ 532594 w 809947"/>
              <a:gd name="connsiteY488" fmla="*/ 496295 h 764395"/>
              <a:gd name="connsiteX489" fmla="*/ 534218 w 809947"/>
              <a:gd name="connsiteY489" fmla="*/ 504820 h 764395"/>
              <a:gd name="connsiteX490" fmla="*/ 523723 w 809947"/>
              <a:gd name="connsiteY490" fmla="*/ 500619 h 764395"/>
              <a:gd name="connsiteX491" fmla="*/ 515728 w 809947"/>
              <a:gd name="connsiteY491" fmla="*/ 492342 h 764395"/>
              <a:gd name="connsiteX492" fmla="*/ 515728 w 809947"/>
              <a:gd name="connsiteY492" fmla="*/ 492342 h 764395"/>
              <a:gd name="connsiteX493" fmla="*/ 473875 w 809947"/>
              <a:gd name="connsiteY493" fmla="*/ 458489 h 764395"/>
              <a:gd name="connsiteX494" fmla="*/ 482120 w 809947"/>
              <a:gd name="connsiteY494" fmla="*/ 457501 h 764395"/>
              <a:gd name="connsiteX495" fmla="*/ 489866 w 809947"/>
              <a:gd name="connsiteY495" fmla="*/ 468373 h 764395"/>
              <a:gd name="connsiteX496" fmla="*/ 505983 w 809947"/>
              <a:gd name="connsiteY496" fmla="*/ 481469 h 764395"/>
              <a:gd name="connsiteX497" fmla="*/ 505983 w 809947"/>
              <a:gd name="connsiteY497" fmla="*/ 491353 h 764395"/>
              <a:gd name="connsiteX498" fmla="*/ 498487 w 809947"/>
              <a:gd name="connsiteY498" fmla="*/ 491353 h 764395"/>
              <a:gd name="connsiteX499" fmla="*/ 478122 w 809947"/>
              <a:gd name="connsiteY499" fmla="*/ 473192 h 764395"/>
              <a:gd name="connsiteX500" fmla="*/ 469502 w 809947"/>
              <a:gd name="connsiteY500" fmla="*/ 466643 h 764395"/>
              <a:gd name="connsiteX501" fmla="*/ 473750 w 809947"/>
              <a:gd name="connsiteY501" fmla="*/ 458613 h 764395"/>
              <a:gd name="connsiteX502" fmla="*/ 473750 w 809947"/>
              <a:gd name="connsiteY502" fmla="*/ 458613 h 764395"/>
              <a:gd name="connsiteX503" fmla="*/ 297843 w 809947"/>
              <a:gd name="connsiteY503" fmla="*/ 355573 h 764395"/>
              <a:gd name="connsiteX504" fmla="*/ 310336 w 809947"/>
              <a:gd name="connsiteY504" fmla="*/ 343836 h 764395"/>
              <a:gd name="connsiteX505" fmla="*/ 333324 w 809947"/>
              <a:gd name="connsiteY505" fmla="*/ 339265 h 764395"/>
              <a:gd name="connsiteX506" fmla="*/ 347816 w 809947"/>
              <a:gd name="connsiteY506" fmla="*/ 353720 h 764395"/>
              <a:gd name="connsiteX507" fmla="*/ 364058 w 809947"/>
              <a:gd name="connsiteY507" fmla="*/ 358909 h 764395"/>
              <a:gd name="connsiteX508" fmla="*/ 380049 w 809947"/>
              <a:gd name="connsiteY508" fmla="*/ 366445 h 764395"/>
              <a:gd name="connsiteX509" fmla="*/ 382173 w 809947"/>
              <a:gd name="connsiteY509" fmla="*/ 370028 h 764395"/>
              <a:gd name="connsiteX510" fmla="*/ 394167 w 809947"/>
              <a:gd name="connsiteY510" fmla="*/ 370028 h 764395"/>
              <a:gd name="connsiteX511" fmla="*/ 396041 w 809947"/>
              <a:gd name="connsiteY511" fmla="*/ 367187 h 764395"/>
              <a:gd name="connsiteX512" fmla="*/ 418779 w 809947"/>
              <a:gd name="connsiteY512" fmla="*/ 387943 h 764395"/>
              <a:gd name="connsiteX513" fmla="*/ 427024 w 809947"/>
              <a:gd name="connsiteY513" fmla="*/ 401410 h 764395"/>
              <a:gd name="connsiteX514" fmla="*/ 427649 w 809947"/>
              <a:gd name="connsiteY514" fmla="*/ 408946 h 764395"/>
              <a:gd name="connsiteX515" fmla="*/ 430772 w 809947"/>
              <a:gd name="connsiteY515" fmla="*/ 417965 h 764395"/>
              <a:gd name="connsiteX516" fmla="*/ 429648 w 809947"/>
              <a:gd name="connsiteY516" fmla="*/ 431556 h 764395"/>
              <a:gd name="connsiteX517" fmla="*/ 442391 w 809947"/>
              <a:gd name="connsiteY517" fmla="*/ 442799 h 764395"/>
              <a:gd name="connsiteX518" fmla="*/ 447514 w 809947"/>
              <a:gd name="connsiteY518" fmla="*/ 438598 h 764395"/>
              <a:gd name="connsiteX519" fmla="*/ 463880 w 809947"/>
              <a:gd name="connsiteY519" fmla="*/ 439586 h 764395"/>
              <a:gd name="connsiteX520" fmla="*/ 458008 w 809947"/>
              <a:gd name="connsiteY520" fmla="*/ 458242 h 764395"/>
              <a:gd name="connsiteX521" fmla="*/ 449138 w 809947"/>
              <a:gd name="connsiteY521" fmla="*/ 454042 h 764395"/>
              <a:gd name="connsiteX522" fmla="*/ 441642 w 809947"/>
              <a:gd name="connsiteY522" fmla="*/ 458613 h 764395"/>
              <a:gd name="connsiteX523" fmla="*/ 427649 w 809947"/>
              <a:gd name="connsiteY523" fmla="*/ 450335 h 764395"/>
              <a:gd name="connsiteX524" fmla="*/ 422277 w 809947"/>
              <a:gd name="connsiteY524" fmla="*/ 441316 h 764395"/>
              <a:gd name="connsiteX525" fmla="*/ 423526 w 809947"/>
              <a:gd name="connsiteY525" fmla="*/ 431432 h 764395"/>
              <a:gd name="connsiteX526" fmla="*/ 416030 w 809947"/>
              <a:gd name="connsiteY526" fmla="*/ 424884 h 764395"/>
              <a:gd name="connsiteX527" fmla="*/ 403662 w 809947"/>
              <a:gd name="connsiteY527" fmla="*/ 407958 h 764395"/>
              <a:gd name="connsiteX528" fmla="*/ 398664 w 809947"/>
              <a:gd name="connsiteY528" fmla="*/ 400668 h 764395"/>
              <a:gd name="connsiteX529" fmla="*/ 386796 w 809947"/>
              <a:gd name="connsiteY529" fmla="*/ 402151 h 764395"/>
              <a:gd name="connsiteX530" fmla="*/ 369805 w 809947"/>
              <a:gd name="connsiteY530" fmla="*/ 393997 h 764395"/>
              <a:gd name="connsiteX531" fmla="*/ 362059 w 809947"/>
              <a:gd name="connsiteY531" fmla="*/ 383125 h 764395"/>
              <a:gd name="connsiteX532" fmla="*/ 350690 w 809947"/>
              <a:gd name="connsiteY532" fmla="*/ 381024 h 764395"/>
              <a:gd name="connsiteX533" fmla="*/ 342944 w 809947"/>
              <a:gd name="connsiteY533" fmla="*/ 371511 h 764395"/>
              <a:gd name="connsiteX534" fmla="*/ 334573 w 809947"/>
              <a:gd name="connsiteY534" fmla="*/ 368299 h 764395"/>
              <a:gd name="connsiteX535" fmla="*/ 330700 w 809947"/>
              <a:gd name="connsiteY535" fmla="*/ 362615 h 764395"/>
              <a:gd name="connsiteX536" fmla="*/ 321830 w 809947"/>
              <a:gd name="connsiteY536" fmla="*/ 355820 h 764395"/>
              <a:gd name="connsiteX537" fmla="*/ 305963 w 809947"/>
              <a:gd name="connsiteY537" fmla="*/ 357179 h 764395"/>
              <a:gd name="connsiteX538" fmla="*/ 297843 w 809947"/>
              <a:gd name="connsiteY538" fmla="*/ 355820 h 764395"/>
              <a:gd name="connsiteX539" fmla="*/ 297843 w 809947"/>
              <a:gd name="connsiteY539" fmla="*/ 355820 h 764395"/>
              <a:gd name="connsiteX540" fmla="*/ 335573 w 809947"/>
              <a:gd name="connsiteY540" fmla="*/ 623056 h 764395"/>
              <a:gd name="connsiteX541" fmla="*/ 338571 w 809947"/>
              <a:gd name="connsiteY541" fmla="*/ 619103 h 764395"/>
              <a:gd name="connsiteX542" fmla="*/ 342069 w 809947"/>
              <a:gd name="connsiteY542" fmla="*/ 631087 h 764395"/>
              <a:gd name="connsiteX543" fmla="*/ 351814 w 809947"/>
              <a:gd name="connsiteY543" fmla="*/ 642824 h 764395"/>
              <a:gd name="connsiteX544" fmla="*/ 345942 w 809947"/>
              <a:gd name="connsiteY544" fmla="*/ 656167 h 764395"/>
              <a:gd name="connsiteX545" fmla="*/ 336822 w 809947"/>
              <a:gd name="connsiteY545" fmla="*/ 652090 h 764395"/>
              <a:gd name="connsiteX546" fmla="*/ 336822 w 809947"/>
              <a:gd name="connsiteY546" fmla="*/ 642330 h 764395"/>
              <a:gd name="connsiteX547" fmla="*/ 331200 w 809947"/>
              <a:gd name="connsiteY547" fmla="*/ 634052 h 764395"/>
              <a:gd name="connsiteX548" fmla="*/ 335573 w 809947"/>
              <a:gd name="connsiteY548" fmla="*/ 622809 h 764395"/>
              <a:gd name="connsiteX549" fmla="*/ 335573 w 809947"/>
              <a:gd name="connsiteY549" fmla="*/ 622809 h 764395"/>
              <a:gd name="connsiteX550" fmla="*/ 333824 w 809947"/>
              <a:gd name="connsiteY550" fmla="*/ 606254 h 764395"/>
              <a:gd name="connsiteX551" fmla="*/ 339071 w 809947"/>
              <a:gd name="connsiteY551" fmla="*/ 613790 h 764395"/>
              <a:gd name="connsiteX552" fmla="*/ 332449 w 809947"/>
              <a:gd name="connsiteY552" fmla="*/ 613790 h 764395"/>
              <a:gd name="connsiteX553" fmla="*/ 333824 w 809947"/>
              <a:gd name="connsiteY553" fmla="*/ 606254 h 76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Lst>
            <a:rect l="l" t="t" r="r" b="b"/>
            <a:pathLst>
              <a:path w="809947" h="764395">
                <a:moveTo>
                  <a:pt x="585441" y="0"/>
                </a:moveTo>
                <a:lnTo>
                  <a:pt x="574322" y="494"/>
                </a:lnTo>
                <a:lnTo>
                  <a:pt x="553208" y="17791"/>
                </a:lnTo>
                <a:lnTo>
                  <a:pt x="552833" y="38794"/>
                </a:lnTo>
                <a:lnTo>
                  <a:pt x="560704" y="54238"/>
                </a:lnTo>
                <a:lnTo>
                  <a:pt x="549210" y="64492"/>
                </a:lnTo>
                <a:lnTo>
                  <a:pt x="510106" y="63504"/>
                </a:lnTo>
                <a:lnTo>
                  <a:pt x="492615" y="72770"/>
                </a:lnTo>
                <a:lnTo>
                  <a:pt x="476373" y="64245"/>
                </a:lnTo>
                <a:lnTo>
                  <a:pt x="458508" y="64987"/>
                </a:lnTo>
                <a:lnTo>
                  <a:pt x="446389" y="75365"/>
                </a:lnTo>
                <a:lnTo>
                  <a:pt x="429148" y="74747"/>
                </a:lnTo>
                <a:lnTo>
                  <a:pt x="425900" y="59798"/>
                </a:lnTo>
                <a:lnTo>
                  <a:pt x="402163" y="61404"/>
                </a:lnTo>
                <a:lnTo>
                  <a:pt x="379550" y="58439"/>
                </a:lnTo>
                <a:lnTo>
                  <a:pt x="364308" y="74129"/>
                </a:lnTo>
                <a:lnTo>
                  <a:pt x="341445" y="81048"/>
                </a:lnTo>
                <a:lnTo>
                  <a:pt x="311086" y="81666"/>
                </a:lnTo>
                <a:lnTo>
                  <a:pt x="301591" y="77465"/>
                </a:lnTo>
                <a:lnTo>
                  <a:pt x="290222" y="88461"/>
                </a:lnTo>
                <a:lnTo>
                  <a:pt x="273730" y="89820"/>
                </a:lnTo>
                <a:lnTo>
                  <a:pt x="253241" y="103781"/>
                </a:lnTo>
                <a:lnTo>
                  <a:pt x="207515" y="103781"/>
                </a:lnTo>
                <a:cubicBezTo>
                  <a:pt x="207515" y="103781"/>
                  <a:pt x="188775" y="115024"/>
                  <a:pt x="188775" y="115024"/>
                </a:cubicBezTo>
                <a:lnTo>
                  <a:pt x="187776" y="122931"/>
                </a:lnTo>
                <a:lnTo>
                  <a:pt x="162414" y="133186"/>
                </a:lnTo>
                <a:lnTo>
                  <a:pt x="127058" y="157030"/>
                </a:lnTo>
                <a:lnTo>
                  <a:pt x="124184" y="182729"/>
                </a:lnTo>
                <a:lnTo>
                  <a:pt x="110816" y="209539"/>
                </a:lnTo>
                <a:lnTo>
                  <a:pt x="74960" y="222882"/>
                </a:lnTo>
                <a:lnTo>
                  <a:pt x="74461" y="243885"/>
                </a:lnTo>
                <a:lnTo>
                  <a:pt x="63092" y="271189"/>
                </a:lnTo>
                <a:lnTo>
                  <a:pt x="51348" y="277861"/>
                </a:lnTo>
                <a:lnTo>
                  <a:pt x="53347" y="279097"/>
                </a:lnTo>
                <a:lnTo>
                  <a:pt x="55970" y="305165"/>
                </a:lnTo>
                <a:lnTo>
                  <a:pt x="90327" y="328516"/>
                </a:lnTo>
                <a:lnTo>
                  <a:pt x="110442" y="354708"/>
                </a:lnTo>
                <a:lnTo>
                  <a:pt x="119562" y="356314"/>
                </a:lnTo>
                <a:lnTo>
                  <a:pt x="117813" y="364592"/>
                </a:lnTo>
                <a:lnTo>
                  <a:pt x="145048" y="399186"/>
                </a:lnTo>
                <a:lnTo>
                  <a:pt x="152419" y="423649"/>
                </a:lnTo>
                <a:lnTo>
                  <a:pt x="164413" y="427973"/>
                </a:lnTo>
                <a:lnTo>
                  <a:pt x="178906" y="408823"/>
                </a:lnTo>
                <a:lnTo>
                  <a:pt x="193523" y="425378"/>
                </a:lnTo>
                <a:lnTo>
                  <a:pt x="215136" y="427231"/>
                </a:lnTo>
                <a:lnTo>
                  <a:pt x="223507" y="413147"/>
                </a:lnTo>
                <a:lnTo>
                  <a:pt x="238749" y="413888"/>
                </a:lnTo>
                <a:lnTo>
                  <a:pt x="263736" y="427231"/>
                </a:lnTo>
                <a:lnTo>
                  <a:pt x="277978" y="419819"/>
                </a:lnTo>
                <a:lnTo>
                  <a:pt x="281226" y="432050"/>
                </a:lnTo>
                <a:lnTo>
                  <a:pt x="292970" y="430814"/>
                </a:lnTo>
                <a:lnTo>
                  <a:pt x="302965" y="437980"/>
                </a:lnTo>
                <a:lnTo>
                  <a:pt x="322580" y="440575"/>
                </a:lnTo>
                <a:lnTo>
                  <a:pt x="309087" y="449347"/>
                </a:lnTo>
                <a:lnTo>
                  <a:pt x="297093" y="462196"/>
                </a:lnTo>
                <a:lnTo>
                  <a:pt x="284100" y="452435"/>
                </a:lnTo>
                <a:lnTo>
                  <a:pt x="267234" y="448976"/>
                </a:lnTo>
                <a:lnTo>
                  <a:pt x="230128" y="427231"/>
                </a:lnTo>
                <a:lnTo>
                  <a:pt x="214387" y="433409"/>
                </a:lnTo>
                <a:lnTo>
                  <a:pt x="199520" y="443046"/>
                </a:lnTo>
                <a:lnTo>
                  <a:pt x="183278" y="436127"/>
                </a:lnTo>
                <a:lnTo>
                  <a:pt x="170785" y="453177"/>
                </a:lnTo>
                <a:lnTo>
                  <a:pt x="161165" y="456389"/>
                </a:lnTo>
                <a:lnTo>
                  <a:pt x="155668" y="472450"/>
                </a:lnTo>
                <a:lnTo>
                  <a:pt x="176032" y="493577"/>
                </a:lnTo>
                <a:lnTo>
                  <a:pt x="196646" y="502349"/>
                </a:lnTo>
                <a:lnTo>
                  <a:pt x="216885" y="519399"/>
                </a:lnTo>
                <a:lnTo>
                  <a:pt x="219509" y="532371"/>
                </a:lnTo>
                <a:lnTo>
                  <a:pt x="212263" y="541638"/>
                </a:lnTo>
                <a:lnTo>
                  <a:pt x="214387" y="558687"/>
                </a:lnTo>
                <a:lnTo>
                  <a:pt x="232002" y="579196"/>
                </a:lnTo>
                <a:lnTo>
                  <a:pt x="243621" y="591057"/>
                </a:lnTo>
                <a:lnTo>
                  <a:pt x="247994" y="579196"/>
                </a:lnTo>
                <a:lnTo>
                  <a:pt x="243496" y="570424"/>
                </a:lnTo>
                <a:lnTo>
                  <a:pt x="249743" y="554363"/>
                </a:lnTo>
                <a:lnTo>
                  <a:pt x="256864" y="574007"/>
                </a:lnTo>
                <a:lnTo>
                  <a:pt x="281601" y="583274"/>
                </a:lnTo>
                <a:lnTo>
                  <a:pt x="287723" y="595999"/>
                </a:lnTo>
                <a:lnTo>
                  <a:pt x="284850" y="611195"/>
                </a:lnTo>
                <a:lnTo>
                  <a:pt x="295719" y="623056"/>
                </a:lnTo>
                <a:lnTo>
                  <a:pt x="294594" y="597605"/>
                </a:lnTo>
                <a:lnTo>
                  <a:pt x="302715" y="576602"/>
                </a:lnTo>
                <a:lnTo>
                  <a:pt x="317957" y="575984"/>
                </a:lnTo>
                <a:lnTo>
                  <a:pt x="325578" y="592169"/>
                </a:lnTo>
                <a:lnTo>
                  <a:pt x="353438" y="608848"/>
                </a:lnTo>
                <a:lnTo>
                  <a:pt x="341570" y="590810"/>
                </a:lnTo>
                <a:lnTo>
                  <a:pt x="343818" y="578332"/>
                </a:lnTo>
                <a:lnTo>
                  <a:pt x="333324" y="560911"/>
                </a:lnTo>
                <a:lnTo>
                  <a:pt x="319581" y="532001"/>
                </a:lnTo>
                <a:lnTo>
                  <a:pt x="307712" y="515322"/>
                </a:lnTo>
                <a:lnTo>
                  <a:pt x="308087" y="508403"/>
                </a:lnTo>
                <a:lnTo>
                  <a:pt x="319206" y="506550"/>
                </a:lnTo>
                <a:lnTo>
                  <a:pt x="339696" y="515939"/>
                </a:lnTo>
                <a:lnTo>
                  <a:pt x="333824" y="523847"/>
                </a:lnTo>
                <a:lnTo>
                  <a:pt x="340320" y="530395"/>
                </a:lnTo>
                <a:lnTo>
                  <a:pt x="350315" y="519028"/>
                </a:lnTo>
                <a:lnTo>
                  <a:pt x="371429" y="524958"/>
                </a:lnTo>
                <a:lnTo>
                  <a:pt x="371804" y="518040"/>
                </a:lnTo>
                <a:lnTo>
                  <a:pt x="363183" y="512233"/>
                </a:lnTo>
                <a:lnTo>
                  <a:pt x="361184" y="504697"/>
                </a:lnTo>
                <a:lnTo>
                  <a:pt x="353813" y="502967"/>
                </a:lnTo>
                <a:lnTo>
                  <a:pt x="338196" y="494071"/>
                </a:lnTo>
                <a:lnTo>
                  <a:pt x="339196" y="485052"/>
                </a:lnTo>
                <a:lnTo>
                  <a:pt x="320581" y="472080"/>
                </a:lnTo>
                <a:lnTo>
                  <a:pt x="337572" y="463802"/>
                </a:lnTo>
                <a:lnTo>
                  <a:pt x="353563" y="463802"/>
                </a:lnTo>
                <a:cubicBezTo>
                  <a:pt x="353563" y="463802"/>
                  <a:pt x="362933" y="455153"/>
                  <a:pt x="362933" y="455153"/>
                </a:cubicBezTo>
                <a:lnTo>
                  <a:pt x="388670" y="471215"/>
                </a:lnTo>
                <a:lnTo>
                  <a:pt x="391793" y="478628"/>
                </a:lnTo>
                <a:lnTo>
                  <a:pt x="409284" y="479987"/>
                </a:lnTo>
                <a:lnTo>
                  <a:pt x="413656" y="469485"/>
                </a:lnTo>
                <a:lnTo>
                  <a:pt x="397415" y="448235"/>
                </a:lnTo>
                <a:lnTo>
                  <a:pt x="400663" y="427479"/>
                </a:lnTo>
                <a:lnTo>
                  <a:pt x="393917" y="416112"/>
                </a:lnTo>
                <a:lnTo>
                  <a:pt x="350440" y="391897"/>
                </a:lnTo>
                <a:lnTo>
                  <a:pt x="337072" y="389055"/>
                </a:lnTo>
                <a:lnTo>
                  <a:pt x="330326" y="379047"/>
                </a:lnTo>
                <a:lnTo>
                  <a:pt x="318582" y="380283"/>
                </a:lnTo>
                <a:lnTo>
                  <a:pt x="310461" y="371017"/>
                </a:lnTo>
                <a:lnTo>
                  <a:pt x="292346" y="369781"/>
                </a:lnTo>
                <a:lnTo>
                  <a:pt x="273605" y="354832"/>
                </a:lnTo>
                <a:lnTo>
                  <a:pt x="292845" y="351249"/>
                </a:lnTo>
                <a:lnTo>
                  <a:pt x="303465" y="337782"/>
                </a:lnTo>
                <a:lnTo>
                  <a:pt x="302340" y="328145"/>
                </a:lnTo>
                <a:lnTo>
                  <a:pt x="284100" y="324068"/>
                </a:lnTo>
                <a:lnTo>
                  <a:pt x="293220" y="311343"/>
                </a:lnTo>
                <a:lnTo>
                  <a:pt x="291971" y="301088"/>
                </a:lnTo>
                <a:lnTo>
                  <a:pt x="306213" y="305660"/>
                </a:lnTo>
                <a:lnTo>
                  <a:pt x="318082" y="314431"/>
                </a:lnTo>
                <a:lnTo>
                  <a:pt x="313959" y="324562"/>
                </a:lnTo>
                <a:lnTo>
                  <a:pt x="315708" y="334076"/>
                </a:lnTo>
                <a:lnTo>
                  <a:pt x="325703" y="331234"/>
                </a:lnTo>
                <a:lnTo>
                  <a:pt x="330950" y="309737"/>
                </a:lnTo>
                <a:lnTo>
                  <a:pt x="318207" y="295899"/>
                </a:lnTo>
                <a:lnTo>
                  <a:pt x="288972" y="263406"/>
                </a:lnTo>
                <a:lnTo>
                  <a:pt x="276729" y="255005"/>
                </a:lnTo>
                <a:lnTo>
                  <a:pt x="273481" y="242773"/>
                </a:lnTo>
                <a:lnTo>
                  <a:pt x="251242" y="225847"/>
                </a:lnTo>
                <a:lnTo>
                  <a:pt x="258488" y="215963"/>
                </a:lnTo>
                <a:lnTo>
                  <a:pt x="253491" y="180381"/>
                </a:lnTo>
                <a:lnTo>
                  <a:pt x="264485" y="161355"/>
                </a:lnTo>
                <a:lnTo>
                  <a:pt x="286474" y="155671"/>
                </a:lnTo>
                <a:lnTo>
                  <a:pt x="289972" y="173339"/>
                </a:lnTo>
                <a:lnTo>
                  <a:pt x="279602" y="173833"/>
                </a:lnTo>
                <a:lnTo>
                  <a:pt x="282101" y="183346"/>
                </a:lnTo>
                <a:lnTo>
                  <a:pt x="311086" y="195207"/>
                </a:lnTo>
                <a:lnTo>
                  <a:pt x="314834" y="217075"/>
                </a:lnTo>
                <a:lnTo>
                  <a:pt x="333449" y="230665"/>
                </a:lnTo>
                <a:lnTo>
                  <a:pt x="353563" y="229183"/>
                </a:lnTo>
                <a:lnTo>
                  <a:pt x="338571" y="220164"/>
                </a:lnTo>
                <a:lnTo>
                  <a:pt x="330326" y="206821"/>
                </a:lnTo>
                <a:lnTo>
                  <a:pt x="332574" y="194342"/>
                </a:lnTo>
                <a:lnTo>
                  <a:pt x="351564" y="199778"/>
                </a:lnTo>
                <a:lnTo>
                  <a:pt x="366931" y="219052"/>
                </a:lnTo>
                <a:lnTo>
                  <a:pt x="379674" y="223376"/>
                </a:lnTo>
                <a:lnTo>
                  <a:pt x="386171" y="211392"/>
                </a:lnTo>
                <a:lnTo>
                  <a:pt x="371804" y="201632"/>
                </a:lnTo>
                <a:lnTo>
                  <a:pt x="359060" y="197431"/>
                </a:lnTo>
                <a:lnTo>
                  <a:pt x="359310" y="187053"/>
                </a:lnTo>
                <a:lnTo>
                  <a:pt x="393417" y="187053"/>
                </a:lnTo>
                <a:cubicBezTo>
                  <a:pt x="393417" y="187053"/>
                  <a:pt x="406410" y="198790"/>
                  <a:pt x="406410" y="198790"/>
                </a:cubicBezTo>
                <a:lnTo>
                  <a:pt x="411783" y="192365"/>
                </a:lnTo>
                <a:lnTo>
                  <a:pt x="391543" y="175316"/>
                </a:lnTo>
                <a:lnTo>
                  <a:pt x="371304" y="173462"/>
                </a:lnTo>
                <a:lnTo>
                  <a:pt x="353813" y="154930"/>
                </a:lnTo>
                <a:lnTo>
                  <a:pt x="363058" y="143564"/>
                </a:lnTo>
                <a:lnTo>
                  <a:pt x="381299" y="148258"/>
                </a:lnTo>
                <a:lnTo>
                  <a:pt x="395541" y="139487"/>
                </a:lnTo>
                <a:lnTo>
                  <a:pt x="401413" y="115147"/>
                </a:lnTo>
                <a:lnTo>
                  <a:pt x="414406" y="109835"/>
                </a:lnTo>
                <a:lnTo>
                  <a:pt x="435145" y="124043"/>
                </a:lnTo>
                <a:lnTo>
                  <a:pt x="450512" y="124784"/>
                </a:lnTo>
                <a:lnTo>
                  <a:pt x="466379" y="106870"/>
                </a:lnTo>
                <a:lnTo>
                  <a:pt x="466629" y="97974"/>
                </a:lnTo>
                <a:lnTo>
                  <a:pt x="474250" y="97603"/>
                </a:lnTo>
                <a:lnTo>
                  <a:pt x="487368" y="111441"/>
                </a:lnTo>
                <a:lnTo>
                  <a:pt x="524848" y="109835"/>
                </a:lnTo>
                <a:lnTo>
                  <a:pt x="553208" y="115889"/>
                </a:lnTo>
                <a:lnTo>
                  <a:pt x="572947" y="110082"/>
                </a:lnTo>
                <a:lnTo>
                  <a:pt x="582692" y="88708"/>
                </a:lnTo>
                <a:lnTo>
                  <a:pt x="577820" y="69187"/>
                </a:lnTo>
                <a:lnTo>
                  <a:pt x="601057" y="53744"/>
                </a:lnTo>
                <a:lnTo>
                  <a:pt x="601432" y="31381"/>
                </a:lnTo>
                <a:lnTo>
                  <a:pt x="582567" y="24339"/>
                </a:lnTo>
                <a:lnTo>
                  <a:pt x="585316" y="371"/>
                </a:lnTo>
                <a:lnTo>
                  <a:pt x="585316" y="371"/>
                </a:lnTo>
                <a:close/>
                <a:moveTo>
                  <a:pt x="411158" y="712258"/>
                </a:moveTo>
                <a:lnTo>
                  <a:pt x="404786" y="701386"/>
                </a:lnTo>
                <a:lnTo>
                  <a:pt x="404536" y="714359"/>
                </a:lnTo>
                <a:lnTo>
                  <a:pt x="399289" y="726096"/>
                </a:lnTo>
                <a:lnTo>
                  <a:pt x="401538" y="739686"/>
                </a:lnTo>
                <a:lnTo>
                  <a:pt x="415156" y="744999"/>
                </a:lnTo>
                <a:lnTo>
                  <a:pt x="445515" y="739686"/>
                </a:lnTo>
                <a:lnTo>
                  <a:pt x="458258" y="742404"/>
                </a:lnTo>
                <a:lnTo>
                  <a:pt x="470377" y="737586"/>
                </a:lnTo>
                <a:lnTo>
                  <a:pt x="488867" y="742034"/>
                </a:lnTo>
                <a:lnTo>
                  <a:pt x="509231" y="752659"/>
                </a:lnTo>
                <a:lnTo>
                  <a:pt x="511980" y="764396"/>
                </a:lnTo>
                <a:lnTo>
                  <a:pt x="534842" y="762419"/>
                </a:lnTo>
                <a:lnTo>
                  <a:pt x="553208" y="749817"/>
                </a:lnTo>
                <a:lnTo>
                  <a:pt x="574572" y="750929"/>
                </a:lnTo>
                <a:lnTo>
                  <a:pt x="608304" y="748458"/>
                </a:lnTo>
                <a:lnTo>
                  <a:pt x="631541" y="748087"/>
                </a:lnTo>
                <a:lnTo>
                  <a:pt x="644410" y="739315"/>
                </a:lnTo>
                <a:lnTo>
                  <a:pt x="649407" y="726343"/>
                </a:lnTo>
                <a:lnTo>
                  <a:pt x="645909" y="713988"/>
                </a:lnTo>
                <a:lnTo>
                  <a:pt x="645534" y="706081"/>
                </a:lnTo>
                <a:lnTo>
                  <a:pt x="640911" y="713494"/>
                </a:lnTo>
                <a:lnTo>
                  <a:pt x="640662" y="722760"/>
                </a:lnTo>
                <a:lnTo>
                  <a:pt x="629792" y="732397"/>
                </a:lnTo>
                <a:lnTo>
                  <a:pt x="621547" y="725849"/>
                </a:lnTo>
                <a:lnTo>
                  <a:pt x="612177" y="729802"/>
                </a:lnTo>
                <a:lnTo>
                  <a:pt x="602432" y="728937"/>
                </a:lnTo>
                <a:lnTo>
                  <a:pt x="604056" y="720289"/>
                </a:lnTo>
                <a:lnTo>
                  <a:pt x="598934" y="708675"/>
                </a:lnTo>
                <a:lnTo>
                  <a:pt x="589938" y="709417"/>
                </a:lnTo>
                <a:lnTo>
                  <a:pt x="564952" y="707193"/>
                </a:lnTo>
                <a:lnTo>
                  <a:pt x="545087" y="699533"/>
                </a:lnTo>
                <a:lnTo>
                  <a:pt x="519226" y="701633"/>
                </a:lnTo>
                <a:lnTo>
                  <a:pt x="498362" y="715965"/>
                </a:lnTo>
                <a:lnTo>
                  <a:pt x="481995" y="720907"/>
                </a:lnTo>
                <a:lnTo>
                  <a:pt x="467753" y="714235"/>
                </a:lnTo>
                <a:lnTo>
                  <a:pt x="460757" y="707316"/>
                </a:lnTo>
                <a:lnTo>
                  <a:pt x="449887" y="709417"/>
                </a:lnTo>
                <a:lnTo>
                  <a:pt x="457134" y="702251"/>
                </a:lnTo>
                <a:lnTo>
                  <a:pt x="450012" y="691749"/>
                </a:lnTo>
                <a:lnTo>
                  <a:pt x="435895" y="693355"/>
                </a:lnTo>
                <a:lnTo>
                  <a:pt x="438768" y="700151"/>
                </a:lnTo>
                <a:lnTo>
                  <a:pt x="443516" y="701263"/>
                </a:lnTo>
                <a:lnTo>
                  <a:pt x="438393" y="706081"/>
                </a:lnTo>
                <a:lnTo>
                  <a:pt x="424901" y="707316"/>
                </a:lnTo>
                <a:lnTo>
                  <a:pt x="421028" y="693973"/>
                </a:lnTo>
                <a:lnTo>
                  <a:pt x="416655" y="692861"/>
                </a:lnTo>
                <a:lnTo>
                  <a:pt x="415281" y="700521"/>
                </a:lnTo>
                <a:lnTo>
                  <a:pt x="418029" y="709540"/>
                </a:lnTo>
                <a:lnTo>
                  <a:pt x="411283" y="712135"/>
                </a:lnTo>
                <a:lnTo>
                  <a:pt x="411283" y="712135"/>
                </a:lnTo>
                <a:close/>
                <a:moveTo>
                  <a:pt x="24237" y="270448"/>
                </a:moveTo>
                <a:lnTo>
                  <a:pt x="24237" y="288116"/>
                </a:lnTo>
                <a:cubicBezTo>
                  <a:pt x="24237" y="288116"/>
                  <a:pt x="35106" y="299111"/>
                  <a:pt x="35106" y="299111"/>
                </a:cubicBezTo>
                <a:lnTo>
                  <a:pt x="47225" y="302818"/>
                </a:lnTo>
                <a:lnTo>
                  <a:pt x="49474" y="308995"/>
                </a:lnTo>
                <a:lnTo>
                  <a:pt x="45351" y="312455"/>
                </a:lnTo>
                <a:lnTo>
                  <a:pt x="30109" y="306154"/>
                </a:lnTo>
                <a:lnTo>
                  <a:pt x="13118" y="289845"/>
                </a:lnTo>
                <a:lnTo>
                  <a:pt x="11494" y="284656"/>
                </a:lnTo>
                <a:lnTo>
                  <a:pt x="1749" y="281197"/>
                </a:lnTo>
                <a:lnTo>
                  <a:pt x="0" y="272054"/>
                </a:lnTo>
                <a:lnTo>
                  <a:pt x="15617" y="265506"/>
                </a:lnTo>
                <a:lnTo>
                  <a:pt x="24112" y="270448"/>
                </a:lnTo>
                <a:lnTo>
                  <a:pt x="24112" y="270448"/>
                </a:lnTo>
                <a:close/>
                <a:moveTo>
                  <a:pt x="101072" y="396221"/>
                </a:moveTo>
                <a:lnTo>
                  <a:pt x="99822" y="390167"/>
                </a:lnTo>
                <a:lnTo>
                  <a:pt x="107318" y="375217"/>
                </a:lnTo>
                <a:lnTo>
                  <a:pt x="113565" y="373858"/>
                </a:lnTo>
                <a:lnTo>
                  <a:pt x="116813" y="389178"/>
                </a:lnTo>
                <a:lnTo>
                  <a:pt x="111566" y="396344"/>
                </a:lnTo>
                <a:lnTo>
                  <a:pt x="105944" y="397827"/>
                </a:lnTo>
                <a:lnTo>
                  <a:pt x="101072" y="396221"/>
                </a:lnTo>
                <a:lnTo>
                  <a:pt x="101072" y="396221"/>
                </a:lnTo>
                <a:close/>
                <a:moveTo>
                  <a:pt x="103695" y="425749"/>
                </a:moveTo>
                <a:lnTo>
                  <a:pt x="103071" y="403757"/>
                </a:lnTo>
                <a:lnTo>
                  <a:pt x="113690" y="411911"/>
                </a:lnTo>
                <a:lnTo>
                  <a:pt x="119937" y="424513"/>
                </a:lnTo>
                <a:lnTo>
                  <a:pt x="117938" y="432173"/>
                </a:lnTo>
                <a:lnTo>
                  <a:pt x="126183" y="440081"/>
                </a:lnTo>
                <a:lnTo>
                  <a:pt x="128932" y="448482"/>
                </a:lnTo>
                <a:lnTo>
                  <a:pt x="132805" y="453300"/>
                </a:lnTo>
                <a:lnTo>
                  <a:pt x="127558" y="462443"/>
                </a:lnTo>
                <a:lnTo>
                  <a:pt x="116438" y="457007"/>
                </a:lnTo>
                <a:lnTo>
                  <a:pt x="103695" y="455895"/>
                </a:lnTo>
                <a:lnTo>
                  <a:pt x="103195" y="445764"/>
                </a:lnTo>
                <a:lnTo>
                  <a:pt x="98698" y="441316"/>
                </a:lnTo>
                <a:lnTo>
                  <a:pt x="98698" y="450459"/>
                </a:lnTo>
                <a:cubicBezTo>
                  <a:pt x="98698" y="450459"/>
                  <a:pt x="94325" y="455524"/>
                  <a:pt x="94325" y="455524"/>
                </a:cubicBezTo>
                <a:lnTo>
                  <a:pt x="85705" y="447370"/>
                </a:lnTo>
                <a:lnTo>
                  <a:pt x="84830" y="428343"/>
                </a:lnTo>
                <a:lnTo>
                  <a:pt x="95575" y="424884"/>
                </a:lnTo>
                <a:lnTo>
                  <a:pt x="103570" y="425872"/>
                </a:lnTo>
                <a:lnTo>
                  <a:pt x="103570" y="425872"/>
                </a:lnTo>
                <a:close/>
                <a:moveTo>
                  <a:pt x="140301" y="488882"/>
                </a:moveTo>
                <a:lnTo>
                  <a:pt x="147547" y="496419"/>
                </a:lnTo>
                <a:lnTo>
                  <a:pt x="136178" y="495307"/>
                </a:lnTo>
                <a:lnTo>
                  <a:pt x="134054" y="501361"/>
                </a:lnTo>
                <a:lnTo>
                  <a:pt x="123685" y="499137"/>
                </a:lnTo>
                <a:lnTo>
                  <a:pt x="110567" y="487276"/>
                </a:lnTo>
                <a:lnTo>
                  <a:pt x="112815" y="477269"/>
                </a:lnTo>
                <a:lnTo>
                  <a:pt x="119937" y="473315"/>
                </a:lnTo>
                <a:lnTo>
                  <a:pt x="131431" y="478134"/>
                </a:lnTo>
                <a:lnTo>
                  <a:pt x="140176" y="488882"/>
                </a:lnTo>
                <a:lnTo>
                  <a:pt x="140176" y="488882"/>
                </a:lnTo>
                <a:close/>
                <a:moveTo>
                  <a:pt x="719120" y="663333"/>
                </a:moveTo>
                <a:lnTo>
                  <a:pt x="716372" y="659503"/>
                </a:lnTo>
                <a:lnTo>
                  <a:pt x="720994" y="651102"/>
                </a:lnTo>
                <a:lnTo>
                  <a:pt x="721369" y="659997"/>
                </a:lnTo>
                <a:lnTo>
                  <a:pt x="719120" y="663333"/>
                </a:lnTo>
                <a:lnTo>
                  <a:pt x="719120" y="663333"/>
                </a:lnTo>
                <a:close/>
                <a:moveTo>
                  <a:pt x="717121" y="709787"/>
                </a:moveTo>
                <a:lnTo>
                  <a:pt x="713373" y="691626"/>
                </a:lnTo>
                <a:lnTo>
                  <a:pt x="707251" y="680753"/>
                </a:lnTo>
                <a:lnTo>
                  <a:pt x="716621" y="668151"/>
                </a:lnTo>
                <a:lnTo>
                  <a:pt x="719370" y="678900"/>
                </a:lnTo>
                <a:lnTo>
                  <a:pt x="728490" y="689649"/>
                </a:lnTo>
                <a:lnTo>
                  <a:pt x="722618" y="706946"/>
                </a:lnTo>
                <a:lnTo>
                  <a:pt x="717121" y="709787"/>
                </a:lnTo>
                <a:lnTo>
                  <a:pt x="717121" y="709787"/>
                </a:lnTo>
                <a:close/>
                <a:moveTo>
                  <a:pt x="762847" y="653696"/>
                </a:moveTo>
                <a:lnTo>
                  <a:pt x="756975" y="648013"/>
                </a:lnTo>
                <a:lnTo>
                  <a:pt x="761223" y="638006"/>
                </a:lnTo>
                <a:lnTo>
                  <a:pt x="758100" y="634546"/>
                </a:lnTo>
                <a:lnTo>
                  <a:pt x="758974" y="625033"/>
                </a:lnTo>
                <a:lnTo>
                  <a:pt x="778089" y="607860"/>
                </a:lnTo>
                <a:lnTo>
                  <a:pt x="798578" y="598470"/>
                </a:lnTo>
                <a:lnTo>
                  <a:pt x="809947" y="593034"/>
                </a:lnTo>
                <a:lnTo>
                  <a:pt x="809322" y="602300"/>
                </a:lnTo>
                <a:lnTo>
                  <a:pt x="803201" y="607489"/>
                </a:lnTo>
                <a:lnTo>
                  <a:pt x="800327" y="617497"/>
                </a:lnTo>
                <a:lnTo>
                  <a:pt x="795705" y="625527"/>
                </a:lnTo>
                <a:lnTo>
                  <a:pt x="796204" y="631457"/>
                </a:lnTo>
                <a:lnTo>
                  <a:pt x="787584" y="632199"/>
                </a:lnTo>
                <a:lnTo>
                  <a:pt x="778089" y="642083"/>
                </a:lnTo>
                <a:lnTo>
                  <a:pt x="770218" y="652214"/>
                </a:lnTo>
                <a:lnTo>
                  <a:pt x="762722" y="653820"/>
                </a:lnTo>
                <a:lnTo>
                  <a:pt x="762722" y="653820"/>
                </a:lnTo>
                <a:close/>
                <a:moveTo>
                  <a:pt x="637039" y="599582"/>
                </a:moveTo>
                <a:lnTo>
                  <a:pt x="628543" y="593652"/>
                </a:lnTo>
                <a:lnTo>
                  <a:pt x="632541" y="586980"/>
                </a:lnTo>
                <a:lnTo>
                  <a:pt x="646533" y="581173"/>
                </a:lnTo>
                <a:lnTo>
                  <a:pt x="654030" y="584138"/>
                </a:lnTo>
                <a:lnTo>
                  <a:pt x="648532" y="593899"/>
                </a:lnTo>
                <a:cubicBezTo>
                  <a:pt x="648532" y="593899"/>
                  <a:pt x="636789" y="599335"/>
                  <a:pt x="637163" y="599705"/>
                </a:cubicBezTo>
                <a:lnTo>
                  <a:pt x="637163" y="599705"/>
                </a:lnTo>
                <a:close/>
                <a:moveTo>
                  <a:pt x="629792" y="470721"/>
                </a:moveTo>
                <a:lnTo>
                  <a:pt x="644535" y="457995"/>
                </a:lnTo>
                <a:lnTo>
                  <a:pt x="655154" y="458489"/>
                </a:lnTo>
                <a:lnTo>
                  <a:pt x="666398" y="466891"/>
                </a:lnTo>
                <a:lnTo>
                  <a:pt x="669271" y="463184"/>
                </a:lnTo>
                <a:lnTo>
                  <a:pt x="674269" y="463925"/>
                </a:lnTo>
                <a:lnTo>
                  <a:pt x="676518" y="470721"/>
                </a:lnTo>
                <a:lnTo>
                  <a:pt x="666523" y="476033"/>
                </a:lnTo>
                <a:lnTo>
                  <a:pt x="662400" y="481469"/>
                </a:lnTo>
                <a:lnTo>
                  <a:pt x="653405" y="481469"/>
                </a:lnTo>
                <a:cubicBezTo>
                  <a:pt x="653405" y="481469"/>
                  <a:pt x="645409" y="473315"/>
                  <a:pt x="645409" y="473315"/>
                </a:cubicBezTo>
                <a:lnTo>
                  <a:pt x="635539" y="474427"/>
                </a:lnTo>
                <a:lnTo>
                  <a:pt x="626044" y="477392"/>
                </a:lnTo>
                <a:lnTo>
                  <a:pt x="629667" y="470721"/>
                </a:lnTo>
                <a:lnTo>
                  <a:pt x="629667" y="470721"/>
                </a:lnTo>
                <a:close/>
                <a:moveTo>
                  <a:pt x="594811" y="376206"/>
                </a:moveTo>
                <a:lnTo>
                  <a:pt x="599683" y="398321"/>
                </a:lnTo>
                <a:lnTo>
                  <a:pt x="597060" y="413270"/>
                </a:lnTo>
                <a:lnTo>
                  <a:pt x="584816" y="419695"/>
                </a:lnTo>
                <a:lnTo>
                  <a:pt x="574572" y="412529"/>
                </a:lnTo>
                <a:lnTo>
                  <a:pt x="573947" y="405363"/>
                </a:lnTo>
                <a:lnTo>
                  <a:pt x="582068" y="401780"/>
                </a:lnTo>
                <a:lnTo>
                  <a:pt x="581193" y="388314"/>
                </a:lnTo>
                <a:lnTo>
                  <a:pt x="568825" y="379912"/>
                </a:lnTo>
                <a:lnTo>
                  <a:pt x="568575" y="373982"/>
                </a:lnTo>
                <a:lnTo>
                  <a:pt x="578944" y="367928"/>
                </a:lnTo>
                <a:lnTo>
                  <a:pt x="590438" y="372005"/>
                </a:lnTo>
                <a:lnTo>
                  <a:pt x="594936" y="376082"/>
                </a:lnTo>
                <a:lnTo>
                  <a:pt x="594936" y="376082"/>
                </a:lnTo>
                <a:close/>
                <a:moveTo>
                  <a:pt x="567700" y="324810"/>
                </a:moveTo>
                <a:lnTo>
                  <a:pt x="553583" y="314184"/>
                </a:lnTo>
                <a:lnTo>
                  <a:pt x="561204" y="300100"/>
                </a:lnTo>
                <a:lnTo>
                  <a:pt x="581318" y="292069"/>
                </a:lnTo>
                <a:lnTo>
                  <a:pt x="591063" y="285398"/>
                </a:lnTo>
                <a:lnTo>
                  <a:pt x="610053" y="281568"/>
                </a:lnTo>
                <a:lnTo>
                  <a:pt x="613176" y="286015"/>
                </a:lnTo>
                <a:lnTo>
                  <a:pt x="609928" y="296270"/>
                </a:lnTo>
                <a:lnTo>
                  <a:pt x="614301" y="296764"/>
                </a:lnTo>
                <a:lnTo>
                  <a:pt x="617799" y="309737"/>
                </a:lnTo>
                <a:lnTo>
                  <a:pt x="618298" y="328763"/>
                </a:lnTo>
                <a:lnTo>
                  <a:pt x="600183" y="330863"/>
                </a:lnTo>
                <a:lnTo>
                  <a:pt x="587315" y="325551"/>
                </a:lnTo>
                <a:lnTo>
                  <a:pt x="591937" y="318138"/>
                </a:lnTo>
                <a:lnTo>
                  <a:pt x="599308" y="311590"/>
                </a:lnTo>
                <a:lnTo>
                  <a:pt x="600183" y="300347"/>
                </a:lnTo>
                <a:lnTo>
                  <a:pt x="586940" y="301212"/>
                </a:lnTo>
                <a:lnTo>
                  <a:pt x="583067" y="311837"/>
                </a:lnTo>
                <a:lnTo>
                  <a:pt x="581568" y="322709"/>
                </a:lnTo>
                <a:lnTo>
                  <a:pt x="573072" y="325057"/>
                </a:lnTo>
                <a:lnTo>
                  <a:pt x="567450" y="324686"/>
                </a:lnTo>
                <a:lnTo>
                  <a:pt x="567450" y="324686"/>
                </a:lnTo>
                <a:close/>
                <a:moveTo>
                  <a:pt x="514478" y="161108"/>
                </a:moveTo>
                <a:lnTo>
                  <a:pt x="517477" y="154683"/>
                </a:lnTo>
                <a:lnTo>
                  <a:pt x="529720" y="152583"/>
                </a:lnTo>
                <a:lnTo>
                  <a:pt x="541089" y="155054"/>
                </a:lnTo>
                <a:lnTo>
                  <a:pt x="541839" y="163208"/>
                </a:lnTo>
                <a:lnTo>
                  <a:pt x="532094" y="167161"/>
                </a:lnTo>
                <a:lnTo>
                  <a:pt x="514603" y="160984"/>
                </a:lnTo>
                <a:lnTo>
                  <a:pt x="514603" y="160984"/>
                </a:lnTo>
                <a:close/>
                <a:moveTo>
                  <a:pt x="476873" y="210033"/>
                </a:moveTo>
                <a:lnTo>
                  <a:pt x="491365" y="209044"/>
                </a:lnTo>
                <a:lnTo>
                  <a:pt x="497862" y="213986"/>
                </a:lnTo>
                <a:lnTo>
                  <a:pt x="506732" y="205091"/>
                </a:lnTo>
                <a:lnTo>
                  <a:pt x="516227" y="209662"/>
                </a:lnTo>
                <a:lnTo>
                  <a:pt x="505483" y="222264"/>
                </a:lnTo>
                <a:lnTo>
                  <a:pt x="503984" y="239685"/>
                </a:lnTo>
                <a:lnTo>
                  <a:pt x="493115" y="235607"/>
                </a:lnTo>
                <a:lnTo>
                  <a:pt x="485868" y="237214"/>
                </a:lnTo>
                <a:lnTo>
                  <a:pt x="477248" y="230665"/>
                </a:lnTo>
                <a:lnTo>
                  <a:pt x="472375" y="217075"/>
                </a:lnTo>
                <a:lnTo>
                  <a:pt x="476748" y="210033"/>
                </a:lnTo>
                <a:lnTo>
                  <a:pt x="476748" y="210033"/>
                </a:lnTo>
                <a:close/>
                <a:moveTo>
                  <a:pt x="429148" y="133927"/>
                </a:moveTo>
                <a:lnTo>
                  <a:pt x="436270" y="130962"/>
                </a:lnTo>
                <a:lnTo>
                  <a:pt x="449138" y="136645"/>
                </a:lnTo>
                <a:lnTo>
                  <a:pt x="451262" y="146405"/>
                </a:lnTo>
                <a:lnTo>
                  <a:pt x="439893" y="152459"/>
                </a:lnTo>
                <a:lnTo>
                  <a:pt x="434770" y="149741"/>
                </a:lnTo>
                <a:lnTo>
                  <a:pt x="424526" y="150482"/>
                </a:lnTo>
                <a:lnTo>
                  <a:pt x="429148" y="133927"/>
                </a:lnTo>
                <a:lnTo>
                  <a:pt x="429148" y="133927"/>
                </a:lnTo>
                <a:close/>
                <a:moveTo>
                  <a:pt x="354313" y="320485"/>
                </a:moveTo>
                <a:lnTo>
                  <a:pt x="359935" y="318632"/>
                </a:lnTo>
                <a:lnTo>
                  <a:pt x="369680" y="321474"/>
                </a:lnTo>
                <a:lnTo>
                  <a:pt x="373178" y="332840"/>
                </a:lnTo>
                <a:lnTo>
                  <a:pt x="370429" y="339141"/>
                </a:lnTo>
                <a:lnTo>
                  <a:pt x="354313" y="320485"/>
                </a:lnTo>
                <a:lnTo>
                  <a:pt x="354313" y="320485"/>
                </a:lnTo>
                <a:close/>
                <a:moveTo>
                  <a:pt x="337447" y="321597"/>
                </a:moveTo>
                <a:lnTo>
                  <a:pt x="344193" y="316408"/>
                </a:lnTo>
                <a:lnTo>
                  <a:pt x="348316" y="320115"/>
                </a:lnTo>
                <a:lnTo>
                  <a:pt x="344068" y="329134"/>
                </a:lnTo>
                <a:lnTo>
                  <a:pt x="337447" y="321474"/>
                </a:lnTo>
                <a:lnTo>
                  <a:pt x="337447" y="321474"/>
                </a:lnTo>
                <a:close/>
                <a:moveTo>
                  <a:pt x="442641" y="337535"/>
                </a:moveTo>
                <a:lnTo>
                  <a:pt x="448763" y="334941"/>
                </a:lnTo>
                <a:lnTo>
                  <a:pt x="456759" y="342848"/>
                </a:lnTo>
                <a:lnTo>
                  <a:pt x="466254" y="345689"/>
                </a:lnTo>
                <a:lnTo>
                  <a:pt x="468627" y="360762"/>
                </a:lnTo>
                <a:lnTo>
                  <a:pt x="462756" y="363357"/>
                </a:lnTo>
                <a:lnTo>
                  <a:pt x="457383" y="353349"/>
                </a:lnTo>
                <a:lnTo>
                  <a:pt x="452761" y="352237"/>
                </a:lnTo>
                <a:lnTo>
                  <a:pt x="442891" y="337535"/>
                </a:lnTo>
                <a:lnTo>
                  <a:pt x="442891" y="337535"/>
                </a:lnTo>
                <a:close/>
                <a:moveTo>
                  <a:pt x="599184" y="504079"/>
                </a:moveTo>
                <a:lnTo>
                  <a:pt x="592812" y="496789"/>
                </a:lnTo>
                <a:lnTo>
                  <a:pt x="595061" y="486782"/>
                </a:lnTo>
                <a:lnTo>
                  <a:pt x="614051" y="482334"/>
                </a:lnTo>
                <a:lnTo>
                  <a:pt x="611427" y="491600"/>
                </a:lnTo>
                <a:lnTo>
                  <a:pt x="599059" y="503955"/>
                </a:lnTo>
                <a:lnTo>
                  <a:pt x="599059" y="503955"/>
                </a:lnTo>
                <a:close/>
                <a:moveTo>
                  <a:pt x="452136" y="601682"/>
                </a:moveTo>
                <a:lnTo>
                  <a:pt x="460257" y="588833"/>
                </a:lnTo>
                <a:lnTo>
                  <a:pt x="472251" y="588833"/>
                </a:lnTo>
                <a:cubicBezTo>
                  <a:pt x="472251" y="588833"/>
                  <a:pt x="470002" y="598346"/>
                  <a:pt x="470002" y="598346"/>
                </a:cubicBezTo>
                <a:lnTo>
                  <a:pt x="460257" y="602424"/>
                </a:lnTo>
                <a:lnTo>
                  <a:pt x="452261" y="601806"/>
                </a:lnTo>
                <a:lnTo>
                  <a:pt x="452261" y="601806"/>
                </a:lnTo>
                <a:close/>
                <a:moveTo>
                  <a:pt x="456884" y="545220"/>
                </a:moveTo>
                <a:lnTo>
                  <a:pt x="465004" y="538920"/>
                </a:lnTo>
                <a:lnTo>
                  <a:pt x="465504" y="550780"/>
                </a:lnTo>
                <a:lnTo>
                  <a:pt x="456884" y="545220"/>
                </a:lnTo>
                <a:lnTo>
                  <a:pt x="456884" y="545220"/>
                </a:lnTo>
                <a:close/>
                <a:moveTo>
                  <a:pt x="452886" y="528665"/>
                </a:moveTo>
                <a:lnTo>
                  <a:pt x="452261" y="513592"/>
                </a:lnTo>
                <a:lnTo>
                  <a:pt x="460632" y="515569"/>
                </a:lnTo>
                <a:lnTo>
                  <a:pt x="460632" y="523723"/>
                </a:lnTo>
                <a:cubicBezTo>
                  <a:pt x="460632" y="523723"/>
                  <a:pt x="453510" y="528665"/>
                  <a:pt x="452886" y="528665"/>
                </a:cubicBezTo>
                <a:lnTo>
                  <a:pt x="452886" y="528665"/>
                </a:lnTo>
                <a:close/>
                <a:moveTo>
                  <a:pt x="443016" y="508032"/>
                </a:moveTo>
                <a:lnTo>
                  <a:pt x="439768" y="502226"/>
                </a:lnTo>
                <a:lnTo>
                  <a:pt x="445015" y="495060"/>
                </a:lnTo>
                <a:lnTo>
                  <a:pt x="452011" y="503585"/>
                </a:lnTo>
                <a:lnTo>
                  <a:pt x="442891" y="507909"/>
                </a:lnTo>
                <a:lnTo>
                  <a:pt x="442891" y="507909"/>
                </a:lnTo>
                <a:close/>
                <a:moveTo>
                  <a:pt x="528096" y="558317"/>
                </a:moveTo>
                <a:lnTo>
                  <a:pt x="519850" y="551769"/>
                </a:lnTo>
                <a:lnTo>
                  <a:pt x="522849" y="537190"/>
                </a:lnTo>
                <a:lnTo>
                  <a:pt x="531719" y="536819"/>
                </a:lnTo>
                <a:lnTo>
                  <a:pt x="536092" y="545838"/>
                </a:lnTo>
                <a:lnTo>
                  <a:pt x="527971" y="558317"/>
                </a:lnTo>
                <a:lnTo>
                  <a:pt x="527971" y="558317"/>
                </a:lnTo>
                <a:close/>
                <a:moveTo>
                  <a:pt x="550084" y="553745"/>
                </a:moveTo>
                <a:lnTo>
                  <a:pt x="543338" y="543861"/>
                </a:lnTo>
                <a:lnTo>
                  <a:pt x="555706" y="532124"/>
                </a:lnTo>
                <a:lnTo>
                  <a:pt x="564077" y="533360"/>
                </a:lnTo>
                <a:lnTo>
                  <a:pt x="566451" y="542749"/>
                </a:lnTo>
                <a:lnTo>
                  <a:pt x="558580" y="553622"/>
                </a:lnTo>
                <a:lnTo>
                  <a:pt x="549959" y="553622"/>
                </a:lnTo>
                <a:close/>
                <a:moveTo>
                  <a:pt x="543338" y="513963"/>
                </a:moveTo>
                <a:lnTo>
                  <a:pt x="543338" y="506673"/>
                </a:lnTo>
                <a:cubicBezTo>
                  <a:pt x="543338" y="506673"/>
                  <a:pt x="551459" y="508650"/>
                  <a:pt x="551459" y="508650"/>
                </a:cubicBezTo>
                <a:lnTo>
                  <a:pt x="543338" y="513963"/>
                </a:lnTo>
                <a:lnTo>
                  <a:pt x="543338" y="513963"/>
                </a:lnTo>
                <a:close/>
                <a:moveTo>
                  <a:pt x="515852" y="492465"/>
                </a:moveTo>
                <a:lnTo>
                  <a:pt x="524348" y="489129"/>
                </a:lnTo>
                <a:lnTo>
                  <a:pt x="532594" y="496295"/>
                </a:lnTo>
                <a:lnTo>
                  <a:pt x="534218" y="504820"/>
                </a:lnTo>
                <a:lnTo>
                  <a:pt x="523723" y="500619"/>
                </a:lnTo>
                <a:lnTo>
                  <a:pt x="515728" y="492342"/>
                </a:lnTo>
                <a:lnTo>
                  <a:pt x="515728" y="492342"/>
                </a:lnTo>
                <a:close/>
                <a:moveTo>
                  <a:pt x="473875" y="458489"/>
                </a:moveTo>
                <a:lnTo>
                  <a:pt x="482120" y="457501"/>
                </a:lnTo>
                <a:lnTo>
                  <a:pt x="489866" y="468373"/>
                </a:lnTo>
                <a:lnTo>
                  <a:pt x="505983" y="481469"/>
                </a:lnTo>
                <a:lnTo>
                  <a:pt x="505983" y="491353"/>
                </a:lnTo>
                <a:cubicBezTo>
                  <a:pt x="505983" y="491353"/>
                  <a:pt x="498487" y="491353"/>
                  <a:pt x="498487" y="491353"/>
                </a:cubicBezTo>
                <a:lnTo>
                  <a:pt x="478122" y="473192"/>
                </a:lnTo>
                <a:lnTo>
                  <a:pt x="469502" y="466643"/>
                </a:lnTo>
                <a:lnTo>
                  <a:pt x="473750" y="458613"/>
                </a:lnTo>
                <a:lnTo>
                  <a:pt x="473750" y="458613"/>
                </a:lnTo>
                <a:close/>
                <a:moveTo>
                  <a:pt x="297843" y="355573"/>
                </a:moveTo>
                <a:lnTo>
                  <a:pt x="310336" y="343836"/>
                </a:lnTo>
                <a:lnTo>
                  <a:pt x="333324" y="339265"/>
                </a:lnTo>
                <a:lnTo>
                  <a:pt x="347816" y="353720"/>
                </a:lnTo>
                <a:lnTo>
                  <a:pt x="364058" y="358909"/>
                </a:lnTo>
                <a:lnTo>
                  <a:pt x="380049" y="366445"/>
                </a:lnTo>
                <a:lnTo>
                  <a:pt x="382173" y="370028"/>
                </a:lnTo>
                <a:lnTo>
                  <a:pt x="394167" y="370028"/>
                </a:lnTo>
                <a:cubicBezTo>
                  <a:pt x="394167" y="370028"/>
                  <a:pt x="396041" y="367187"/>
                  <a:pt x="396041" y="367187"/>
                </a:cubicBezTo>
                <a:lnTo>
                  <a:pt x="418779" y="387943"/>
                </a:lnTo>
                <a:lnTo>
                  <a:pt x="427024" y="401410"/>
                </a:lnTo>
                <a:lnTo>
                  <a:pt x="427649" y="408946"/>
                </a:lnTo>
                <a:lnTo>
                  <a:pt x="430772" y="417965"/>
                </a:lnTo>
                <a:lnTo>
                  <a:pt x="429648" y="431556"/>
                </a:lnTo>
                <a:lnTo>
                  <a:pt x="442391" y="442799"/>
                </a:lnTo>
                <a:lnTo>
                  <a:pt x="447514" y="438598"/>
                </a:lnTo>
                <a:lnTo>
                  <a:pt x="463880" y="439586"/>
                </a:lnTo>
                <a:lnTo>
                  <a:pt x="458008" y="458242"/>
                </a:lnTo>
                <a:lnTo>
                  <a:pt x="449138" y="454042"/>
                </a:lnTo>
                <a:lnTo>
                  <a:pt x="441642" y="458613"/>
                </a:lnTo>
                <a:lnTo>
                  <a:pt x="427649" y="450335"/>
                </a:lnTo>
                <a:lnTo>
                  <a:pt x="422277" y="441316"/>
                </a:lnTo>
                <a:lnTo>
                  <a:pt x="423526" y="431432"/>
                </a:lnTo>
                <a:lnTo>
                  <a:pt x="416030" y="424884"/>
                </a:lnTo>
                <a:lnTo>
                  <a:pt x="403662" y="407958"/>
                </a:lnTo>
                <a:lnTo>
                  <a:pt x="398664" y="400668"/>
                </a:lnTo>
                <a:lnTo>
                  <a:pt x="386796" y="402151"/>
                </a:lnTo>
                <a:lnTo>
                  <a:pt x="369805" y="393997"/>
                </a:lnTo>
                <a:lnTo>
                  <a:pt x="362059" y="383125"/>
                </a:lnTo>
                <a:lnTo>
                  <a:pt x="350690" y="381024"/>
                </a:lnTo>
                <a:lnTo>
                  <a:pt x="342944" y="371511"/>
                </a:lnTo>
                <a:lnTo>
                  <a:pt x="334573" y="368299"/>
                </a:lnTo>
                <a:lnTo>
                  <a:pt x="330700" y="362615"/>
                </a:lnTo>
                <a:lnTo>
                  <a:pt x="321830" y="355820"/>
                </a:lnTo>
                <a:lnTo>
                  <a:pt x="305963" y="357179"/>
                </a:lnTo>
                <a:lnTo>
                  <a:pt x="297843" y="355820"/>
                </a:lnTo>
                <a:lnTo>
                  <a:pt x="297843" y="355820"/>
                </a:lnTo>
                <a:close/>
                <a:moveTo>
                  <a:pt x="335573" y="623056"/>
                </a:moveTo>
                <a:lnTo>
                  <a:pt x="338571" y="619103"/>
                </a:lnTo>
                <a:lnTo>
                  <a:pt x="342069" y="631087"/>
                </a:lnTo>
                <a:lnTo>
                  <a:pt x="351814" y="642824"/>
                </a:lnTo>
                <a:lnTo>
                  <a:pt x="345942" y="656167"/>
                </a:lnTo>
                <a:lnTo>
                  <a:pt x="336822" y="652090"/>
                </a:lnTo>
                <a:lnTo>
                  <a:pt x="336822" y="642330"/>
                </a:lnTo>
                <a:cubicBezTo>
                  <a:pt x="336822" y="642330"/>
                  <a:pt x="331200" y="634052"/>
                  <a:pt x="331200" y="634052"/>
                </a:cubicBezTo>
                <a:lnTo>
                  <a:pt x="335573" y="622809"/>
                </a:lnTo>
                <a:lnTo>
                  <a:pt x="335573" y="622809"/>
                </a:lnTo>
                <a:close/>
                <a:moveTo>
                  <a:pt x="333824" y="606254"/>
                </a:moveTo>
                <a:lnTo>
                  <a:pt x="339071" y="613790"/>
                </a:lnTo>
                <a:lnTo>
                  <a:pt x="332449" y="613790"/>
                </a:lnTo>
                <a:cubicBezTo>
                  <a:pt x="332449" y="613790"/>
                  <a:pt x="333824" y="606254"/>
                  <a:pt x="333824" y="606254"/>
                </a:cubicBez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1" name="Graphic 120">
            <a:extLst>
              <a:ext uri="{FF2B5EF4-FFF2-40B4-BE49-F238E27FC236}">
                <a16:creationId xmlns:a16="http://schemas.microsoft.com/office/drawing/2014/main" id="{CD4FB7BC-1658-8E9C-B01A-D47186E9C493}"/>
              </a:ext>
            </a:extLst>
          </p:cNvPr>
          <p:cNvSpPr/>
          <p:nvPr/>
        </p:nvSpPr>
        <p:spPr>
          <a:xfrm rot="1141104">
            <a:off x="9788380" y="4786882"/>
            <a:ext cx="502361" cy="408205"/>
          </a:xfrm>
          <a:custGeom>
            <a:avLst/>
            <a:gdLst>
              <a:gd name="connsiteX0" fmla="*/ 0 w 502361"/>
              <a:gd name="connsiteY0" fmla="*/ 98716 h 408205"/>
              <a:gd name="connsiteX1" fmla="*/ 875 w 502361"/>
              <a:gd name="connsiteY1" fmla="*/ 83519 h 408205"/>
              <a:gd name="connsiteX2" fmla="*/ 34732 w 502361"/>
              <a:gd name="connsiteY2" fmla="*/ 68940 h 408205"/>
              <a:gd name="connsiteX3" fmla="*/ 87579 w 502361"/>
              <a:gd name="connsiteY3" fmla="*/ 95503 h 408205"/>
              <a:gd name="connsiteX4" fmla="*/ 122061 w 502361"/>
              <a:gd name="connsiteY4" fmla="*/ 95503 h 408205"/>
              <a:gd name="connsiteX5" fmla="*/ 155918 w 502361"/>
              <a:gd name="connsiteY5" fmla="*/ 110947 h 408205"/>
              <a:gd name="connsiteX6" fmla="*/ 159791 w 502361"/>
              <a:gd name="connsiteY6" fmla="*/ 77959 h 408205"/>
              <a:gd name="connsiteX7" fmla="*/ 145798 w 502361"/>
              <a:gd name="connsiteY7" fmla="*/ 60168 h 408205"/>
              <a:gd name="connsiteX8" fmla="*/ 121311 w 502361"/>
              <a:gd name="connsiteY8" fmla="*/ 46825 h 408205"/>
              <a:gd name="connsiteX9" fmla="*/ 129182 w 502361"/>
              <a:gd name="connsiteY9" fmla="*/ 13714 h 408205"/>
              <a:gd name="connsiteX10" fmla="*/ 155668 w 502361"/>
              <a:gd name="connsiteY10" fmla="*/ 15197 h 408205"/>
              <a:gd name="connsiteX11" fmla="*/ 199520 w 502361"/>
              <a:gd name="connsiteY11" fmla="*/ 47443 h 408205"/>
              <a:gd name="connsiteX12" fmla="*/ 212388 w 502361"/>
              <a:gd name="connsiteY12" fmla="*/ 69187 h 408205"/>
              <a:gd name="connsiteX13" fmla="*/ 254866 w 502361"/>
              <a:gd name="connsiteY13" fmla="*/ 71288 h 408205"/>
              <a:gd name="connsiteX14" fmla="*/ 262112 w 502361"/>
              <a:gd name="connsiteY14" fmla="*/ 55226 h 408205"/>
              <a:gd name="connsiteX15" fmla="*/ 287974 w 502361"/>
              <a:gd name="connsiteY15" fmla="*/ 39659 h 408205"/>
              <a:gd name="connsiteX16" fmla="*/ 318208 w 502361"/>
              <a:gd name="connsiteY16" fmla="*/ 0 h 408205"/>
              <a:gd name="connsiteX17" fmla="*/ 338197 w 502361"/>
              <a:gd name="connsiteY17" fmla="*/ 12849 h 408205"/>
              <a:gd name="connsiteX18" fmla="*/ 368182 w 502361"/>
              <a:gd name="connsiteY18" fmla="*/ 48184 h 408205"/>
              <a:gd name="connsiteX19" fmla="*/ 370306 w 502361"/>
              <a:gd name="connsiteY19" fmla="*/ 65852 h 408205"/>
              <a:gd name="connsiteX20" fmla="*/ 383299 w 502361"/>
              <a:gd name="connsiteY20" fmla="*/ 90808 h 408205"/>
              <a:gd name="connsiteX21" fmla="*/ 415282 w 502361"/>
              <a:gd name="connsiteY21" fmla="*/ 111070 h 408205"/>
              <a:gd name="connsiteX22" fmla="*/ 419155 w 502361"/>
              <a:gd name="connsiteY22" fmla="*/ 125279 h 408205"/>
              <a:gd name="connsiteX23" fmla="*/ 439644 w 502361"/>
              <a:gd name="connsiteY23" fmla="*/ 139487 h 408205"/>
              <a:gd name="connsiteX24" fmla="*/ 464131 w 502361"/>
              <a:gd name="connsiteY24" fmla="*/ 137880 h 408205"/>
              <a:gd name="connsiteX25" fmla="*/ 488369 w 502361"/>
              <a:gd name="connsiteY25" fmla="*/ 146652 h 408205"/>
              <a:gd name="connsiteX26" fmla="*/ 502361 w 502361"/>
              <a:gd name="connsiteY26" fmla="*/ 165061 h 408205"/>
              <a:gd name="connsiteX27" fmla="*/ 488369 w 502361"/>
              <a:gd name="connsiteY27" fmla="*/ 163702 h 408205"/>
              <a:gd name="connsiteX28" fmla="*/ 476250 w 502361"/>
              <a:gd name="connsiteY28" fmla="*/ 173463 h 408205"/>
              <a:gd name="connsiteX29" fmla="*/ 451888 w 502361"/>
              <a:gd name="connsiteY29" fmla="*/ 175810 h 408205"/>
              <a:gd name="connsiteX30" fmla="*/ 425152 w 502361"/>
              <a:gd name="connsiteY30" fmla="*/ 199902 h 408205"/>
              <a:gd name="connsiteX31" fmla="*/ 428150 w 502361"/>
              <a:gd name="connsiteY31" fmla="*/ 223376 h 408205"/>
              <a:gd name="connsiteX32" fmla="*/ 432273 w 502361"/>
              <a:gd name="connsiteY32" fmla="*/ 242156 h 408205"/>
              <a:gd name="connsiteX33" fmla="*/ 424152 w 502361"/>
              <a:gd name="connsiteY33" fmla="*/ 253646 h 408205"/>
              <a:gd name="connsiteX34" fmla="*/ 422903 w 502361"/>
              <a:gd name="connsiteY34" fmla="*/ 270078 h 408205"/>
              <a:gd name="connsiteX35" fmla="*/ 429275 w 502361"/>
              <a:gd name="connsiteY35" fmla="*/ 279591 h 408205"/>
              <a:gd name="connsiteX36" fmla="*/ 429899 w 502361"/>
              <a:gd name="connsiteY36" fmla="*/ 292687 h 408205"/>
              <a:gd name="connsiteX37" fmla="*/ 421654 w 502361"/>
              <a:gd name="connsiteY37" fmla="*/ 300841 h 408205"/>
              <a:gd name="connsiteX38" fmla="*/ 423028 w 502361"/>
              <a:gd name="connsiteY38" fmla="*/ 332223 h 408205"/>
              <a:gd name="connsiteX39" fmla="*/ 418280 w 502361"/>
              <a:gd name="connsiteY39" fmla="*/ 344207 h 408205"/>
              <a:gd name="connsiteX40" fmla="*/ 411909 w 502361"/>
              <a:gd name="connsiteY40" fmla="*/ 334076 h 408205"/>
              <a:gd name="connsiteX41" fmla="*/ 417031 w 502361"/>
              <a:gd name="connsiteY41" fmla="*/ 314185 h 408205"/>
              <a:gd name="connsiteX42" fmla="*/ 403913 w 502361"/>
              <a:gd name="connsiteY42" fmla="*/ 301583 h 408205"/>
              <a:gd name="connsiteX43" fmla="*/ 396917 w 502361"/>
              <a:gd name="connsiteY43" fmla="*/ 308501 h 408205"/>
              <a:gd name="connsiteX44" fmla="*/ 392294 w 502361"/>
              <a:gd name="connsiteY44" fmla="*/ 323080 h 408205"/>
              <a:gd name="connsiteX45" fmla="*/ 399915 w 502361"/>
              <a:gd name="connsiteY45" fmla="*/ 346307 h 408205"/>
              <a:gd name="connsiteX46" fmla="*/ 398541 w 502361"/>
              <a:gd name="connsiteY46" fmla="*/ 360763 h 408205"/>
              <a:gd name="connsiteX47" fmla="*/ 403538 w 502361"/>
              <a:gd name="connsiteY47" fmla="*/ 368423 h 408205"/>
              <a:gd name="connsiteX48" fmla="*/ 404413 w 502361"/>
              <a:gd name="connsiteY48" fmla="*/ 402769 h 408205"/>
              <a:gd name="connsiteX49" fmla="*/ 396792 w 502361"/>
              <a:gd name="connsiteY49" fmla="*/ 408205 h 408205"/>
              <a:gd name="connsiteX50" fmla="*/ 381425 w 502361"/>
              <a:gd name="connsiteY50" fmla="*/ 405611 h 408205"/>
              <a:gd name="connsiteX51" fmla="*/ 375053 w 502361"/>
              <a:gd name="connsiteY51" fmla="*/ 395356 h 408205"/>
              <a:gd name="connsiteX52" fmla="*/ 359561 w 502361"/>
              <a:gd name="connsiteY52" fmla="*/ 388808 h 408205"/>
              <a:gd name="connsiteX53" fmla="*/ 327578 w 502361"/>
              <a:gd name="connsiteY53" fmla="*/ 356933 h 408205"/>
              <a:gd name="connsiteX54" fmla="*/ 356563 w 502361"/>
              <a:gd name="connsiteY54" fmla="*/ 335682 h 408205"/>
              <a:gd name="connsiteX55" fmla="*/ 334824 w 502361"/>
              <a:gd name="connsiteY55" fmla="*/ 323451 h 408205"/>
              <a:gd name="connsiteX56" fmla="*/ 329452 w 502361"/>
              <a:gd name="connsiteY56" fmla="*/ 314432 h 408205"/>
              <a:gd name="connsiteX57" fmla="*/ 340321 w 502361"/>
              <a:gd name="connsiteY57" fmla="*/ 304795 h 408205"/>
              <a:gd name="connsiteX58" fmla="*/ 327578 w 502361"/>
              <a:gd name="connsiteY58" fmla="*/ 293181 h 408205"/>
              <a:gd name="connsiteX59" fmla="*/ 318958 w 502361"/>
              <a:gd name="connsiteY59" fmla="*/ 280085 h 408205"/>
              <a:gd name="connsiteX60" fmla="*/ 310337 w 502361"/>
              <a:gd name="connsiteY60" fmla="*/ 278479 h 408205"/>
              <a:gd name="connsiteX61" fmla="*/ 308463 w 502361"/>
              <a:gd name="connsiteY61" fmla="*/ 273290 h 408205"/>
              <a:gd name="connsiteX62" fmla="*/ 298843 w 502361"/>
              <a:gd name="connsiteY62" fmla="*/ 273290 h 408205"/>
              <a:gd name="connsiteX63" fmla="*/ 282227 w 502361"/>
              <a:gd name="connsiteY63" fmla="*/ 286880 h 408205"/>
              <a:gd name="connsiteX64" fmla="*/ 269109 w 502361"/>
              <a:gd name="connsiteY64" fmla="*/ 290093 h 408205"/>
              <a:gd name="connsiteX65" fmla="*/ 258114 w 502361"/>
              <a:gd name="connsiteY65" fmla="*/ 306030 h 408205"/>
              <a:gd name="connsiteX66" fmla="*/ 247370 w 502361"/>
              <a:gd name="connsiteY66" fmla="*/ 311096 h 408205"/>
              <a:gd name="connsiteX67" fmla="*/ 232753 w 502361"/>
              <a:gd name="connsiteY67" fmla="*/ 333335 h 408205"/>
              <a:gd name="connsiteX68" fmla="*/ 223133 w 502361"/>
              <a:gd name="connsiteY68" fmla="*/ 334076 h 408205"/>
              <a:gd name="connsiteX69" fmla="*/ 217261 w 502361"/>
              <a:gd name="connsiteY69" fmla="*/ 343219 h 408205"/>
              <a:gd name="connsiteX70" fmla="*/ 214762 w 502361"/>
              <a:gd name="connsiteY70" fmla="*/ 353844 h 408205"/>
              <a:gd name="connsiteX71" fmla="*/ 198896 w 502361"/>
              <a:gd name="connsiteY71" fmla="*/ 361627 h 408205"/>
              <a:gd name="connsiteX72" fmla="*/ 185777 w 502361"/>
              <a:gd name="connsiteY72" fmla="*/ 357797 h 408205"/>
              <a:gd name="connsiteX73" fmla="*/ 186777 w 502361"/>
              <a:gd name="connsiteY73" fmla="*/ 357550 h 408205"/>
              <a:gd name="connsiteX74" fmla="*/ 185902 w 502361"/>
              <a:gd name="connsiteY74" fmla="*/ 337906 h 408205"/>
              <a:gd name="connsiteX75" fmla="*/ 192149 w 502361"/>
              <a:gd name="connsiteY75" fmla="*/ 329752 h 408205"/>
              <a:gd name="connsiteX76" fmla="*/ 177907 w 502361"/>
              <a:gd name="connsiteY76" fmla="*/ 306772 h 408205"/>
              <a:gd name="connsiteX77" fmla="*/ 200145 w 502361"/>
              <a:gd name="connsiteY77" fmla="*/ 300594 h 408205"/>
              <a:gd name="connsiteX78" fmla="*/ 178156 w 502361"/>
              <a:gd name="connsiteY78" fmla="*/ 281815 h 408205"/>
              <a:gd name="connsiteX79" fmla="*/ 151670 w 502361"/>
              <a:gd name="connsiteY79" fmla="*/ 281568 h 408205"/>
              <a:gd name="connsiteX80" fmla="*/ 109692 w 502361"/>
              <a:gd name="connsiteY80" fmla="*/ 261059 h 408205"/>
              <a:gd name="connsiteX81" fmla="*/ 96574 w 502361"/>
              <a:gd name="connsiteY81" fmla="*/ 234125 h 408205"/>
              <a:gd name="connsiteX82" fmla="*/ 107943 w 502361"/>
              <a:gd name="connsiteY82" fmla="*/ 220535 h 408205"/>
              <a:gd name="connsiteX83" fmla="*/ 105819 w 502361"/>
              <a:gd name="connsiteY83" fmla="*/ 202249 h 408205"/>
              <a:gd name="connsiteX84" fmla="*/ 67465 w 502361"/>
              <a:gd name="connsiteY84" fmla="*/ 173710 h 408205"/>
              <a:gd name="connsiteX85" fmla="*/ 65341 w 502361"/>
              <a:gd name="connsiteY85" fmla="*/ 155424 h 408205"/>
              <a:gd name="connsiteX86" fmla="*/ 71088 w 502361"/>
              <a:gd name="connsiteY86" fmla="*/ 134174 h 408205"/>
              <a:gd name="connsiteX87" fmla="*/ 51723 w 502361"/>
              <a:gd name="connsiteY87" fmla="*/ 116630 h 408205"/>
              <a:gd name="connsiteX88" fmla="*/ 18490 w 502361"/>
              <a:gd name="connsiteY88" fmla="*/ 114036 h 408205"/>
              <a:gd name="connsiteX89" fmla="*/ 375 w 502361"/>
              <a:gd name="connsiteY89" fmla="*/ 98592 h 408205"/>
              <a:gd name="connsiteX90" fmla="*/ 0 w 502361"/>
              <a:gd name="connsiteY90" fmla="*/ 98592 h 408205"/>
              <a:gd name="connsiteX91" fmla="*/ 165413 w 502361"/>
              <a:gd name="connsiteY91" fmla="*/ 362245 h 408205"/>
              <a:gd name="connsiteX92" fmla="*/ 121811 w 502361"/>
              <a:gd name="connsiteY92" fmla="*/ 302695 h 408205"/>
              <a:gd name="connsiteX93" fmla="*/ 99073 w 502361"/>
              <a:gd name="connsiteY93" fmla="*/ 297135 h 408205"/>
              <a:gd name="connsiteX94" fmla="*/ 83206 w 502361"/>
              <a:gd name="connsiteY94" fmla="*/ 268966 h 408205"/>
              <a:gd name="connsiteX95" fmla="*/ 67340 w 502361"/>
              <a:gd name="connsiteY95" fmla="*/ 269584 h 408205"/>
              <a:gd name="connsiteX96" fmla="*/ 57095 w 502361"/>
              <a:gd name="connsiteY96" fmla="*/ 279220 h 408205"/>
              <a:gd name="connsiteX97" fmla="*/ 32358 w 502361"/>
              <a:gd name="connsiteY97" fmla="*/ 257970 h 408205"/>
              <a:gd name="connsiteX98" fmla="*/ 18115 w 502361"/>
              <a:gd name="connsiteY98" fmla="*/ 266495 h 408205"/>
              <a:gd name="connsiteX99" fmla="*/ 2124 w 502361"/>
              <a:gd name="connsiteY99" fmla="*/ 267730 h 408205"/>
              <a:gd name="connsiteX100" fmla="*/ 6122 w 502361"/>
              <a:gd name="connsiteY100" fmla="*/ 273661 h 408205"/>
              <a:gd name="connsiteX101" fmla="*/ 9870 w 502361"/>
              <a:gd name="connsiteY101" fmla="*/ 273661 h 408205"/>
              <a:gd name="connsiteX102" fmla="*/ 23363 w 502361"/>
              <a:gd name="connsiteY102" fmla="*/ 287992 h 408205"/>
              <a:gd name="connsiteX103" fmla="*/ 34857 w 502361"/>
              <a:gd name="connsiteY103" fmla="*/ 286510 h 408205"/>
              <a:gd name="connsiteX104" fmla="*/ 41978 w 502361"/>
              <a:gd name="connsiteY104" fmla="*/ 302448 h 408205"/>
              <a:gd name="connsiteX105" fmla="*/ 41228 w 502361"/>
              <a:gd name="connsiteY105" fmla="*/ 315667 h 408205"/>
              <a:gd name="connsiteX106" fmla="*/ 82207 w 502361"/>
              <a:gd name="connsiteY106" fmla="*/ 335559 h 408205"/>
              <a:gd name="connsiteX107" fmla="*/ 85955 w 502361"/>
              <a:gd name="connsiteY107" fmla="*/ 352855 h 408205"/>
              <a:gd name="connsiteX108" fmla="*/ 110317 w 502361"/>
              <a:gd name="connsiteY108" fmla="*/ 363975 h 408205"/>
              <a:gd name="connsiteX109" fmla="*/ 134429 w 502361"/>
              <a:gd name="connsiteY109" fmla="*/ 363728 h 408205"/>
              <a:gd name="connsiteX110" fmla="*/ 160791 w 502361"/>
              <a:gd name="connsiteY110" fmla="*/ 377071 h 408205"/>
              <a:gd name="connsiteX111" fmla="*/ 165163 w 502361"/>
              <a:gd name="connsiteY111" fmla="*/ 362369 h 408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2361" h="408205">
                <a:moveTo>
                  <a:pt x="0" y="98716"/>
                </a:moveTo>
                <a:lnTo>
                  <a:pt x="875" y="83519"/>
                </a:lnTo>
                <a:lnTo>
                  <a:pt x="34732" y="68940"/>
                </a:lnTo>
                <a:lnTo>
                  <a:pt x="87579" y="95503"/>
                </a:lnTo>
                <a:lnTo>
                  <a:pt x="122061" y="95503"/>
                </a:lnTo>
                <a:cubicBezTo>
                  <a:pt x="122061" y="95503"/>
                  <a:pt x="155918" y="110947"/>
                  <a:pt x="155918" y="110947"/>
                </a:cubicBezTo>
                <a:lnTo>
                  <a:pt x="159791" y="77959"/>
                </a:lnTo>
                <a:lnTo>
                  <a:pt x="145798" y="60168"/>
                </a:lnTo>
                <a:lnTo>
                  <a:pt x="121311" y="46825"/>
                </a:lnTo>
                <a:lnTo>
                  <a:pt x="129182" y="13714"/>
                </a:lnTo>
                <a:lnTo>
                  <a:pt x="155668" y="15197"/>
                </a:lnTo>
                <a:lnTo>
                  <a:pt x="199520" y="47443"/>
                </a:lnTo>
                <a:lnTo>
                  <a:pt x="212388" y="69187"/>
                </a:lnTo>
                <a:lnTo>
                  <a:pt x="254866" y="71288"/>
                </a:lnTo>
                <a:lnTo>
                  <a:pt x="262112" y="55226"/>
                </a:lnTo>
                <a:lnTo>
                  <a:pt x="287974" y="39659"/>
                </a:lnTo>
                <a:lnTo>
                  <a:pt x="318208" y="0"/>
                </a:lnTo>
                <a:lnTo>
                  <a:pt x="338197" y="12849"/>
                </a:lnTo>
                <a:lnTo>
                  <a:pt x="368182" y="48184"/>
                </a:lnTo>
                <a:lnTo>
                  <a:pt x="370306" y="65852"/>
                </a:lnTo>
                <a:lnTo>
                  <a:pt x="383299" y="90808"/>
                </a:lnTo>
                <a:lnTo>
                  <a:pt x="415282" y="111070"/>
                </a:lnTo>
                <a:lnTo>
                  <a:pt x="419155" y="125279"/>
                </a:lnTo>
                <a:lnTo>
                  <a:pt x="439644" y="139487"/>
                </a:lnTo>
                <a:lnTo>
                  <a:pt x="464131" y="137880"/>
                </a:lnTo>
                <a:lnTo>
                  <a:pt x="488369" y="146652"/>
                </a:lnTo>
                <a:lnTo>
                  <a:pt x="502361" y="165061"/>
                </a:lnTo>
                <a:lnTo>
                  <a:pt x="488369" y="163702"/>
                </a:lnTo>
                <a:lnTo>
                  <a:pt x="476250" y="173463"/>
                </a:lnTo>
                <a:lnTo>
                  <a:pt x="451888" y="175810"/>
                </a:lnTo>
                <a:lnTo>
                  <a:pt x="425152" y="199902"/>
                </a:lnTo>
                <a:lnTo>
                  <a:pt x="428150" y="223376"/>
                </a:lnTo>
                <a:lnTo>
                  <a:pt x="432273" y="242156"/>
                </a:lnTo>
                <a:lnTo>
                  <a:pt x="424152" y="253646"/>
                </a:lnTo>
                <a:lnTo>
                  <a:pt x="422903" y="270078"/>
                </a:lnTo>
                <a:lnTo>
                  <a:pt x="429275" y="279591"/>
                </a:lnTo>
                <a:lnTo>
                  <a:pt x="429899" y="292687"/>
                </a:lnTo>
                <a:lnTo>
                  <a:pt x="421654" y="300841"/>
                </a:lnTo>
                <a:lnTo>
                  <a:pt x="423028" y="332223"/>
                </a:lnTo>
                <a:lnTo>
                  <a:pt x="418280" y="344207"/>
                </a:lnTo>
                <a:lnTo>
                  <a:pt x="411909" y="334076"/>
                </a:lnTo>
                <a:lnTo>
                  <a:pt x="417031" y="314185"/>
                </a:lnTo>
                <a:lnTo>
                  <a:pt x="403913" y="301583"/>
                </a:lnTo>
                <a:lnTo>
                  <a:pt x="396917" y="308501"/>
                </a:lnTo>
                <a:lnTo>
                  <a:pt x="392294" y="323080"/>
                </a:lnTo>
                <a:lnTo>
                  <a:pt x="399915" y="346307"/>
                </a:lnTo>
                <a:lnTo>
                  <a:pt x="398541" y="360763"/>
                </a:lnTo>
                <a:lnTo>
                  <a:pt x="403538" y="368423"/>
                </a:lnTo>
                <a:lnTo>
                  <a:pt x="404413" y="402769"/>
                </a:lnTo>
                <a:lnTo>
                  <a:pt x="396792" y="408205"/>
                </a:lnTo>
                <a:lnTo>
                  <a:pt x="381425" y="405611"/>
                </a:lnTo>
                <a:lnTo>
                  <a:pt x="375053" y="395356"/>
                </a:lnTo>
                <a:lnTo>
                  <a:pt x="359561" y="388808"/>
                </a:lnTo>
                <a:lnTo>
                  <a:pt x="327578" y="356933"/>
                </a:lnTo>
                <a:lnTo>
                  <a:pt x="356563" y="335682"/>
                </a:lnTo>
                <a:lnTo>
                  <a:pt x="334824" y="323451"/>
                </a:lnTo>
                <a:lnTo>
                  <a:pt x="329452" y="314432"/>
                </a:lnTo>
                <a:lnTo>
                  <a:pt x="340321" y="304795"/>
                </a:lnTo>
                <a:lnTo>
                  <a:pt x="327578" y="293181"/>
                </a:lnTo>
                <a:lnTo>
                  <a:pt x="318958" y="280085"/>
                </a:lnTo>
                <a:lnTo>
                  <a:pt x="310337" y="278479"/>
                </a:lnTo>
                <a:lnTo>
                  <a:pt x="308463" y="273290"/>
                </a:lnTo>
                <a:lnTo>
                  <a:pt x="298843" y="273290"/>
                </a:lnTo>
                <a:cubicBezTo>
                  <a:pt x="298843" y="273290"/>
                  <a:pt x="282227" y="286880"/>
                  <a:pt x="282227" y="286880"/>
                </a:cubicBezTo>
                <a:lnTo>
                  <a:pt x="269109" y="290093"/>
                </a:lnTo>
                <a:lnTo>
                  <a:pt x="258114" y="306030"/>
                </a:lnTo>
                <a:lnTo>
                  <a:pt x="247370" y="311096"/>
                </a:lnTo>
                <a:lnTo>
                  <a:pt x="232753" y="333335"/>
                </a:lnTo>
                <a:lnTo>
                  <a:pt x="223133" y="334076"/>
                </a:lnTo>
                <a:lnTo>
                  <a:pt x="217261" y="343219"/>
                </a:lnTo>
                <a:lnTo>
                  <a:pt x="214762" y="353844"/>
                </a:lnTo>
                <a:lnTo>
                  <a:pt x="198896" y="361627"/>
                </a:lnTo>
                <a:lnTo>
                  <a:pt x="185777" y="357797"/>
                </a:lnTo>
                <a:lnTo>
                  <a:pt x="186777" y="357550"/>
                </a:lnTo>
                <a:lnTo>
                  <a:pt x="185902" y="337906"/>
                </a:lnTo>
                <a:lnTo>
                  <a:pt x="192149" y="329752"/>
                </a:lnTo>
                <a:lnTo>
                  <a:pt x="177907" y="306772"/>
                </a:lnTo>
                <a:lnTo>
                  <a:pt x="200145" y="300594"/>
                </a:lnTo>
                <a:lnTo>
                  <a:pt x="178156" y="281815"/>
                </a:lnTo>
                <a:lnTo>
                  <a:pt x="151670" y="281568"/>
                </a:lnTo>
                <a:lnTo>
                  <a:pt x="109692" y="261059"/>
                </a:lnTo>
                <a:lnTo>
                  <a:pt x="96574" y="234125"/>
                </a:lnTo>
                <a:lnTo>
                  <a:pt x="107943" y="220535"/>
                </a:lnTo>
                <a:lnTo>
                  <a:pt x="105819" y="202249"/>
                </a:lnTo>
                <a:lnTo>
                  <a:pt x="67465" y="173710"/>
                </a:lnTo>
                <a:lnTo>
                  <a:pt x="65341" y="155424"/>
                </a:lnTo>
                <a:lnTo>
                  <a:pt x="71088" y="134174"/>
                </a:lnTo>
                <a:lnTo>
                  <a:pt x="51723" y="116630"/>
                </a:lnTo>
                <a:lnTo>
                  <a:pt x="18490" y="114036"/>
                </a:lnTo>
                <a:lnTo>
                  <a:pt x="375" y="98592"/>
                </a:lnTo>
                <a:lnTo>
                  <a:pt x="0" y="98592"/>
                </a:lnTo>
                <a:close/>
                <a:moveTo>
                  <a:pt x="165413" y="362245"/>
                </a:moveTo>
                <a:lnTo>
                  <a:pt x="121811" y="302695"/>
                </a:lnTo>
                <a:lnTo>
                  <a:pt x="99073" y="297135"/>
                </a:lnTo>
                <a:lnTo>
                  <a:pt x="83206" y="268966"/>
                </a:lnTo>
                <a:lnTo>
                  <a:pt x="67340" y="269584"/>
                </a:lnTo>
                <a:lnTo>
                  <a:pt x="57095" y="279220"/>
                </a:lnTo>
                <a:lnTo>
                  <a:pt x="32358" y="257970"/>
                </a:lnTo>
                <a:lnTo>
                  <a:pt x="18115" y="266495"/>
                </a:lnTo>
                <a:lnTo>
                  <a:pt x="2124" y="267730"/>
                </a:lnTo>
                <a:lnTo>
                  <a:pt x="6122" y="273661"/>
                </a:lnTo>
                <a:lnTo>
                  <a:pt x="9870" y="273661"/>
                </a:lnTo>
                <a:cubicBezTo>
                  <a:pt x="9870" y="273661"/>
                  <a:pt x="23363" y="287992"/>
                  <a:pt x="23363" y="287992"/>
                </a:cubicBezTo>
                <a:lnTo>
                  <a:pt x="34857" y="286510"/>
                </a:lnTo>
                <a:lnTo>
                  <a:pt x="41978" y="302448"/>
                </a:lnTo>
                <a:lnTo>
                  <a:pt x="41228" y="315667"/>
                </a:lnTo>
                <a:lnTo>
                  <a:pt x="82207" y="335559"/>
                </a:lnTo>
                <a:lnTo>
                  <a:pt x="85955" y="352855"/>
                </a:lnTo>
                <a:lnTo>
                  <a:pt x="110317" y="363975"/>
                </a:lnTo>
                <a:lnTo>
                  <a:pt x="134429" y="363728"/>
                </a:lnTo>
                <a:lnTo>
                  <a:pt x="160791" y="377071"/>
                </a:lnTo>
                <a:lnTo>
                  <a:pt x="165163" y="362369"/>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7" name="Graphic 142">
            <a:extLst>
              <a:ext uri="{FF2B5EF4-FFF2-40B4-BE49-F238E27FC236}">
                <a16:creationId xmlns:a16="http://schemas.microsoft.com/office/drawing/2014/main" id="{98E30ABB-797C-FE30-5622-B383C931CE24}"/>
              </a:ext>
            </a:extLst>
          </p:cNvPr>
          <p:cNvSpPr/>
          <p:nvPr/>
        </p:nvSpPr>
        <p:spPr>
          <a:xfrm rot="1141104">
            <a:off x="7658550" y="3944908"/>
            <a:ext cx="164287" cy="201012"/>
          </a:xfrm>
          <a:custGeom>
            <a:avLst/>
            <a:gdLst>
              <a:gd name="connsiteX0" fmla="*/ 85330 w 164287"/>
              <a:gd name="connsiteY0" fmla="*/ 201013 h 201012"/>
              <a:gd name="connsiteX1" fmla="*/ 85455 w 164287"/>
              <a:gd name="connsiteY1" fmla="*/ 167655 h 201012"/>
              <a:gd name="connsiteX2" fmla="*/ 96824 w 164287"/>
              <a:gd name="connsiteY2" fmla="*/ 140969 h 201012"/>
              <a:gd name="connsiteX3" fmla="*/ 115064 w 164287"/>
              <a:gd name="connsiteY3" fmla="*/ 117247 h 201012"/>
              <a:gd name="connsiteX4" fmla="*/ 121685 w 164287"/>
              <a:gd name="connsiteY4" fmla="*/ 118236 h 201012"/>
              <a:gd name="connsiteX5" fmla="*/ 133679 w 164287"/>
              <a:gd name="connsiteY5" fmla="*/ 134173 h 201012"/>
              <a:gd name="connsiteX6" fmla="*/ 148671 w 164287"/>
              <a:gd name="connsiteY6" fmla="*/ 113788 h 201012"/>
              <a:gd name="connsiteX7" fmla="*/ 150920 w 164287"/>
              <a:gd name="connsiteY7" fmla="*/ 103904 h 201012"/>
              <a:gd name="connsiteX8" fmla="*/ 164288 w 164287"/>
              <a:gd name="connsiteY8" fmla="*/ 91549 h 201012"/>
              <a:gd name="connsiteX9" fmla="*/ 162039 w 164287"/>
              <a:gd name="connsiteY9" fmla="*/ 71411 h 201012"/>
              <a:gd name="connsiteX10" fmla="*/ 138801 w 164287"/>
              <a:gd name="connsiteY10" fmla="*/ 68446 h 201012"/>
              <a:gd name="connsiteX11" fmla="*/ 123684 w 164287"/>
              <a:gd name="connsiteY11" fmla="*/ 55350 h 201012"/>
              <a:gd name="connsiteX12" fmla="*/ 103195 w 164287"/>
              <a:gd name="connsiteY12" fmla="*/ 56214 h 201012"/>
              <a:gd name="connsiteX13" fmla="*/ 94075 w 164287"/>
              <a:gd name="connsiteY13" fmla="*/ 46825 h 201012"/>
              <a:gd name="connsiteX14" fmla="*/ 93450 w 164287"/>
              <a:gd name="connsiteY14" fmla="*/ 32370 h 201012"/>
              <a:gd name="connsiteX15" fmla="*/ 73211 w 164287"/>
              <a:gd name="connsiteY15" fmla="*/ 14455 h 201012"/>
              <a:gd name="connsiteX16" fmla="*/ 71587 w 164287"/>
              <a:gd name="connsiteY16" fmla="*/ 16308 h 201012"/>
              <a:gd name="connsiteX17" fmla="*/ 56845 w 164287"/>
              <a:gd name="connsiteY17" fmla="*/ 12355 h 201012"/>
              <a:gd name="connsiteX18" fmla="*/ 37105 w 164287"/>
              <a:gd name="connsiteY18" fmla="*/ 0 h 201012"/>
              <a:gd name="connsiteX19" fmla="*/ 26236 w 164287"/>
              <a:gd name="connsiteY19" fmla="*/ 8401 h 201012"/>
              <a:gd name="connsiteX20" fmla="*/ 27485 w 164287"/>
              <a:gd name="connsiteY20" fmla="*/ 22115 h 201012"/>
              <a:gd name="connsiteX21" fmla="*/ 44476 w 164287"/>
              <a:gd name="connsiteY21" fmla="*/ 31875 h 201012"/>
              <a:gd name="connsiteX22" fmla="*/ 50973 w 164287"/>
              <a:gd name="connsiteY22" fmla="*/ 44601 h 201012"/>
              <a:gd name="connsiteX23" fmla="*/ 37355 w 164287"/>
              <a:gd name="connsiteY23" fmla="*/ 52384 h 201012"/>
              <a:gd name="connsiteX24" fmla="*/ 24237 w 164287"/>
              <a:gd name="connsiteY24" fmla="*/ 54361 h 201012"/>
              <a:gd name="connsiteX25" fmla="*/ 17741 w 164287"/>
              <a:gd name="connsiteY25" fmla="*/ 72893 h 201012"/>
              <a:gd name="connsiteX26" fmla="*/ 18240 w 164287"/>
              <a:gd name="connsiteY26" fmla="*/ 97109 h 201012"/>
              <a:gd name="connsiteX27" fmla="*/ 8371 w 164287"/>
              <a:gd name="connsiteY27" fmla="*/ 117247 h 201012"/>
              <a:gd name="connsiteX28" fmla="*/ 0 w 164287"/>
              <a:gd name="connsiteY28" fmla="*/ 122189 h 201012"/>
              <a:gd name="connsiteX29" fmla="*/ 6497 w 164287"/>
              <a:gd name="connsiteY29" fmla="*/ 130220 h 201012"/>
              <a:gd name="connsiteX30" fmla="*/ 24862 w 164287"/>
              <a:gd name="connsiteY30" fmla="*/ 137015 h 201012"/>
              <a:gd name="connsiteX31" fmla="*/ 61093 w 164287"/>
              <a:gd name="connsiteY31" fmla="*/ 178157 h 201012"/>
              <a:gd name="connsiteX32" fmla="*/ 64466 w 164287"/>
              <a:gd name="connsiteY32" fmla="*/ 191747 h 201012"/>
              <a:gd name="connsiteX33" fmla="*/ 85330 w 164287"/>
              <a:gd name="connsiteY33" fmla="*/ 201013 h 20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4287" h="201012">
                <a:moveTo>
                  <a:pt x="85330" y="201013"/>
                </a:moveTo>
                <a:lnTo>
                  <a:pt x="85455" y="167655"/>
                </a:lnTo>
                <a:lnTo>
                  <a:pt x="96824" y="140969"/>
                </a:lnTo>
                <a:lnTo>
                  <a:pt x="115064" y="117247"/>
                </a:lnTo>
                <a:lnTo>
                  <a:pt x="121685" y="118236"/>
                </a:lnTo>
                <a:lnTo>
                  <a:pt x="133679" y="134173"/>
                </a:lnTo>
                <a:lnTo>
                  <a:pt x="148671" y="113788"/>
                </a:lnTo>
                <a:lnTo>
                  <a:pt x="150920" y="103904"/>
                </a:lnTo>
                <a:lnTo>
                  <a:pt x="164288" y="91549"/>
                </a:lnTo>
                <a:lnTo>
                  <a:pt x="162039" y="71411"/>
                </a:lnTo>
                <a:lnTo>
                  <a:pt x="138801" y="68446"/>
                </a:lnTo>
                <a:lnTo>
                  <a:pt x="123684" y="55350"/>
                </a:lnTo>
                <a:lnTo>
                  <a:pt x="103195" y="56214"/>
                </a:lnTo>
                <a:lnTo>
                  <a:pt x="94075" y="46825"/>
                </a:lnTo>
                <a:lnTo>
                  <a:pt x="93450" y="32370"/>
                </a:lnTo>
                <a:lnTo>
                  <a:pt x="73211" y="14455"/>
                </a:lnTo>
                <a:lnTo>
                  <a:pt x="71587" y="16308"/>
                </a:lnTo>
                <a:lnTo>
                  <a:pt x="56845" y="12355"/>
                </a:lnTo>
                <a:lnTo>
                  <a:pt x="37105" y="0"/>
                </a:lnTo>
                <a:lnTo>
                  <a:pt x="26236" y="8401"/>
                </a:lnTo>
                <a:lnTo>
                  <a:pt x="27485" y="22115"/>
                </a:lnTo>
                <a:lnTo>
                  <a:pt x="44476" y="31875"/>
                </a:lnTo>
                <a:lnTo>
                  <a:pt x="50973" y="44601"/>
                </a:lnTo>
                <a:lnTo>
                  <a:pt x="37355" y="52384"/>
                </a:lnTo>
                <a:lnTo>
                  <a:pt x="24237" y="54361"/>
                </a:lnTo>
                <a:lnTo>
                  <a:pt x="17741" y="72893"/>
                </a:lnTo>
                <a:lnTo>
                  <a:pt x="18240" y="97109"/>
                </a:lnTo>
                <a:lnTo>
                  <a:pt x="8371" y="117247"/>
                </a:lnTo>
                <a:lnTo>
                  <a:pt x="0" y="122189"/>
                </a:lnTo>
                <a:lnTo>
                  <a:pt x="6497" y="130220"/>
                </a:lnTo>
                <a:lnTo>
                  <a:pt x="24862" y="137015"/>
                </a:lnTo>
                <a:lnTo>
                  <a:pt x="61093" y="178157"/>
                </a:lnTo>
                <a:lnTo>
                  <a:pt x="64466" y="191747"/>
                </a:lnTo>
                <a:lnTo>
                  <a:pt x="85330" y="20101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2" name="Graphic 147">
            <a:extLst>
              <a:ext uri="{FF2B5EF4-FFF2-40B4-BE49-F238E27FC236}">
                <a16:creationId xmlns:a16="http://schemas.microsoft.com/office/drawing/2014/main" id="{BD7B2294-50FE-7BFE-D293-C3B5705A03C3}"/>
              </a:ext>
            </a:extLst>
          </p:cNvPr>
          <p:cNvSpPr/>
          <p:nvPr/>
        </p:nvSpPr>
        <p:spPr>
          <a:xfrm rot="1141104">
            <a:off x="8337421" y="2673093"/>
            <a:ext cx="769718" cy="581420"/>
          </a:xfrm>
          <a:custGeom>
            <a:avLst/>
            <a:gdLst>
              <a:gd name="connsiteX0" fmla="*/ 0 w 769718"/>
              <a:gd name="connsiteY0" fmla="*/ 321103 h 581420"/>
              <a:gd name="connsiteX1" fmla="*/ 19615 w 769718"/>
              <a:gd name="connsiteY1" fmla="*/ 306401 h 581420"/>
              <a:gd name="connsiteX2" fmla="*/ 52347 w 769718"/>
              <a:gd name="connsiteY2" fmla="*/ 294540 h 581420"/>
              <a:gd name="connsiteX3" fmla="*/ 76585 w 769718"/>
              <a:gd name="connsiteY3" fmla="*/ 305289 h 581420"/>
              <a:gd name="connsiteX4" fmla="*/ 99947 w 769718"/>
              <a:gd name="connsiteY4" fmla="*/ 292440 h 581420"/>
              <a:gd name="connsiteX5" fmla="*/ 115814 w 769718"/>
              <a:gd name="connsiteY5" fmla="*/ 290463 h 581420"/>
              <a:gd name="connsiteX6" fmla="*/ 105319 w 769718"/>
              <a:gd name="connsiteY6" fmla="*/ 264641 h 581420"/>
              <a:gd name="connsiteX7" fmla="*/ 131805 w 769718"/>
              <a:gd name="connsiteY7" fmla="*/ 262294 h 581420"/>
              <a:gd name="connsiteX8" fmla="*/ 140051 w 769718"/>
              <a:gd name="connsiteY8" fmla="*/ 238326 h 581420"/>
              <a:gd name="connsiteX9" fmla="*/ 155668 w 769718"/>
              <a:gd name="connsiteY9" fmla="*/ 232395 h 581420"/>
              <a:gd name="connsiteX10" fmla="*/ 162789 w 769718"/>
              <a:gd name="connsiteY10" fmla="*/ 242526 h 581420"/>
              <a:gd name="connsiteX11" fmla="*/ 182654 w 769718"/>
              <a:gd name="connsiteY11" fmla="*/ 241785 h 581420"/>
              <a:gd name="connsiteX12" fmla="*/ 181779 w 769718"/>
              <a:gd name="connsiteY12" fmla="*/ 222141 h 581420"/>
              <a:gd name="connsiteX13" fmla="*/ 157417 w 769718"/>
              <a:gd name="connsiteY13" fmla="*/ 211268 h 581420"/>
              <a:gd name="connsiteX14" fmla="*/ 161540 w 769718"/>
              <a:gd name="connsiteY14" fmla="*/ 183593 h 581420"/>
              <a:gd name="connsiteX15" fmla="*/ 174658 w 769718"/>
              <a:gd name="connsiteY15" fmla="*/ 180381 h 581420"/>
              <a:gd name="connsiteX16" fmla="*/ 190524 w 769718"/>
              <a:gd name="connsiteY16" fmla="*/ 149618 h 581420"/>
              <a:gd name="connsiteX17" fmla="*/ 221758 w 769718"/>
              <a:gd name="connsiteY17" fmla="*/ 133803 h 581420"/>
              <a:gd name="connsiteX18" fmla="*/ 220883 w 769718"/>
              <a:gd name="connsiteY18" fmla="*/ 115518 h 581420"/>
              <a:gd name="connsiteX19" fmla="*/ 206016 w 769718"/>
              <a:gd name="connsiteY19" fmla="*/ 109588 h 581420"/>
              <a:gd name="connsiteX20" fmla="*/ 226006 w 769718"/>
              <a:gd name="connsiteY20" fmla="*/ 81172 h 581420"/>
              <a:gd name="connsiteX21" fmla="*/ 254616 w 769718"/>
              <a:gd name="connsiteY21" fmla="*/ 66840 h 581420"/>
              <a:gd name="connsiteX22" fmla="*/ 292720 w 769718"/>
              <a:gd name="connsiteY22" fmla="*/ 59921 h 581420"/>
              <a:gd name="connsiteX23" fmla="*/ 295719 w 769718"/>
              <a:gd name="connsiteY23" fmla="*/ 36200 h 581420"/>
              <a:gd name="connsiteX24" fmla="*/ 311211 w 769718"/>
              <a:gd name="connsiteY24" fmla="*/ 27675 h 581420"/>
              <a:gd name="connsiteX25" fmla="*/ 317083 w 769718"/>
              <a:gd name="connsiteY25" fmla="*/ 9019 h 581420"/>
              <a:gd name="connsiteX26" fmla="*/ 339446 w 769718"/>
              <a:gd name="connsiteY26" fmla="*/ 2842 h 581420"/>
              <a:gd name="connsiteX27" fmla="*/ 355687 w 769718"/>
              <a:gd name="connsiteY27" fmla="*/ 12726 h 581420"/>
              <a:gd name="connsiteX28" fmla="*/ 375052 w 769718"/>
              <a:gd name="connsiteY28" fmla="*/ 0 h 581420"/>
              <a:gd name="connsiteX29" fmla="*/ 394917 w 769718"/>
              <a:gd name="connsiteY29" fmla="*/ 28046 h 581420"/>
              <a:gd name="connsiteX30" fmla="*/ 416905 w 769718"/>
              <a:gd name="connsiteY30" fmla="*/ 16679 h 581420"/>
              <a:gd name="connsiteX31" fmla="*/ 436894 w 769718"/>
              <a:gd name="connsiteY31" fmla="*/ 18409 h 581420"/>
              <a:gd name="connsiteX32" fmla="*/ 455385 w 769718"/>
              <a:gd name="connsiteY32" fmla="*/ 47813 h 581420"/>
              <a:gd name="connsiteX33" fmla="*/ 478372 w 769718"/>
              <a:gd name="connsiteY33" fmla="*/ 28416 h 581420"/>
              <a:gd name="connsiteX34" fmla="*/ 504609 w 769718"/>
              <a:gd name="connsiteY34" fmla="*/ 19397 h 581420"/>
              <a:gd name="connsiteX35" fmla="*/ 515728 w 769718"/>
              <a:gd name="connsiteY35" fmla="*/ 32123 h 581420"/>
              <a:gd name="connsiteX36" fmla="*/ 528971 w 769718"/>
              <a:gd name="connsiteY36" fmla="*/ 31505 h 581420"/>
              <a:gd name="connsiteX37" fmla="*/ 569324 w 769718"/>
              <a:gd name="connsiteY37" fmla="*/ 44230 h 581420"/>
              <a:gd name="connsiteX38" fmla="*/ 575446 w 769718"/>
              <a:gd name="connsiteY38" fmla="*/ 64987 h 581420"/>
              <a:gd name="connsiteX39" fmla="*/ 569949 w 769718"/>
              <a:gd name="connsiteY39" fmla="*/ 88832 h 581420"/>
              <a:gd name="connsiteX40" fmla="*/ 586565 w 769718"/>
              <a:gd name="connsiteY40" fmla="*/ 106499 h 581420"/>
              <a:gd name="connsiteX41" fmla="*/ 587815 w 769718"/>
              <a:gd name="connsiteY41" fmla="*/ 133927 h 581420"/>
              <a:gd name="connsiteX42" fmla="*/ 609928 w 769718"/>
              <a:gd name="connsiteY42" fmla="*/ 155301 h 581420"/>
              <a:gd name="connsiteX43" fmla="*/ 621547 w 769718"/>
              <a:gd name="connsiteY43" fmla="*/ 179763 h 581420"/>
              <a:gd name="connsiteX44" fmla="*/ 646908 w 769718"/>
              <a:gd name="connsiteY44" fmla="*/ 211392 h 581420"/>
              <a:gd name="connsiteX45" fmla="*/ 666023 w 769718"/>
              <a:gd name="connsiteY45" fmla="*/ 223747 h 581420"/>
              <a:gd name="connsiteX46" fmla="*/ 675268 w 769718"/>
              <a:gd name="connsiteY46" fmla="*/ 253522 h 581420"/>
              <a:gd name="connsiteX47" fmla="*/ 706127 w 769718"/>
              <a:gd name="connsiteY47" fmla="*/ 260070 h 581420"/>
              <a:gd name="connsiteX48" fmla="*/ 741733 w 769718"/>
              <a:gd name="connsiteY48" fmla="*/ 288733 h 581420"/>
              <a:gd name="connsiteX49" fmla="*/ 745107 w 769718"/>
              <a:gd name="connsiteY49" fmla="*/ 305660 h 581420"/>
              <a:gd name="connsiteX50" fmla="*/ 769719 w 769718"/>
              <a:gd name="connsiteY50" fmla="*/ 320362 h 581420"/>
              <a:gd name="connsiteX51" fmla="*/ 759474 w 769718"/>
              <a:gd name="connsiteY51" fmla="*/ 329999 h 581420"/>
              <a:gd name="connsiteX52" fmla="*/ 742233 w 769718"/>
              <a:gd name="connsiteY52" fmla="*/ 360886 h 581420"/>
              <a:gd name="connsiteX53" fmla="*/ 694883 w 769718"/>
              <a:gd name="connsiteY53" fmla="*/ 369411 h 581420"/>
              <a:gd name="connsiteX54" fmla="*/ 674269 w 769718"/>
              <a:gd name="connsiteY54" fmla="*/ 351990 h 581420"/>
              <a:gd name="connsiteX55" fmla="*/ 666898 w 769718"/>
              <a:gd name="connsiteY55" fmla="*/ 366693 h 581420"/>
              <a:gd name="connsiteX56" fmla="*/ 669147 w 769718"/>
              <a:gd name="connsiteY56" fmla="*/ 388931 h 581420"/>
              <a:gd name="connsiteX57" fmla="*/ 689011 w 769718"/>
              <a:gd name="connsiteY57" fmla="*/ 416854 h 581420"/>
              <a:gd name="connsiteX58" fmla="*/ 687512 w 769718"/>
              <a:gd name="connsiteY58" fmla="*/ 441934 h 581420"/>
              <a:gd name="connsiteX59" fmla="*/ 709625 w 769718"/>
              <a:gd name="connsiteY59" fmla="*/ 464543 h 581420"/>
              <a:gd name="connsiteX60" fmla="*/ 710625 w 769718"/>
              <a:gd name="connsiteY60" fmla="*/ 487523 h 581420"/>
              <a:gd name="connsiteX61" fmla="*/ 708126 w 769718"/>
              <a:gd name="connsiteY61" fmla="*/ 487153 h 581420"/>
              <a:gd name="connsiteX62" fmla="*/ 669646 w 769718"/>
              <a:gd name="connsiteY62" fmla="*/ 498519 h 581420"/>
              <a:gd name="connsiteX63" fmla="*/ 642661 w 769718"/>
              <a:gd name="connsiteY63" fmla="*/ 502349 h 581420"/>
              <a:gd name="connsiteX64" fmla="*/ 630917 w 769718"/>
              <a:gd name="connsiteY64" fmla="*/ 537561 h 581420"/>
              <a:gd name="connsiteX65" fmla="*/ 630292 w 769718"/>
              <a:gd name="connsiteY65" fmla="*/ 568324 h 581420"/>
              <a:gd name="connsiteX66" fmla="*/ 610553 w 769718"/>
              <a:gd name="connsiteY66" fmla="*/ 571784 h 581420"/>
              <a:gd name="connsiteX67" fmla="*/ 594061 w 769718"/>
              <a:gd name="connsiteY67" fmla="*/ 558811 h 581420"/>
              <a:gd name="connsiteX68" fmla="*/ 567950 w 769718"/>
              <a:gd name="connsiteY68" fmla="*/ 567707 h 581420"/>
              <a:gd name="connsiteX69" fmla="*/ 552084 w 769718"/>
              <a:gd name="connsiteY69" fmla="*/ 558193 h 581420"/>
              <a:gd name="connsiteX70" fmla="*/ 532844 w 769718"/>
              <a:gd name="connsiteY70" fmla="*/ 560046 h 581420"/>
              <a:gd name="connsiteX71" fmla="*/ 516852 w 769718"/>
              <a:gd name="connsiteY71" fmla="*/ 581420 h 581420"/>
              <a:gd name="connsiteX72" fmla="*/ 501485 w 769718"/>
              <a:gd name="connsiteY72" fmla="*/ 577096 h 581420"/>
              <a:gd name="connsiteX73" fmla="*/ 496988 w 769718"/>
              <a:gd name="connsiteY73" fmla="*/ 559923 h 581420"/>
              <a:gd name="connsiteX74" fmla="*/ 471751 w 769718"/>
              <a:gd name="connsiteY74" fmla="*/ 557699 h 581420"/>
              <a:gd name="connsiteX75" fmla="*/ 443891 w 769718"/>
              <a:gd name="connsiteY75" fmla="*/ 576355 h 581420"/>
              <a:gd name="connsiteX76" fmla="*/ 431022 w 769718"/>
              <a:gd name="connsiteY76" fmla="*/ 570919 h 581420"/>
              <a:gd name="connsiteX77" fmla="*/ 403162 w 769718"/>
              <a:gd name="connsiteY77" fmla="*/ 568201 h 581420"/>
              <a:gd name="connsiteX78" fmla="*/ 395541 w 769718"/>
              <a:gd name="connsiteY78" fmla="*/ 576355 h 581420"/>
              <a:gd name="connsiteX79" fmla="*/ 383048 w 769718"/>
              <a:gd name="connsiteY79" fmla="*/ 577590 h 581420"/>
              <a:gd name="connsiteX80" fmla="*/ 367181 w 769718"/>
              <a:gd name="connsiteY80" fmla="*/ 564494 h 581420"/>
              <a:gd name="connsiteX81" fmla="*/ 336073 w 769718"/>
              <a:gd name="connsiteY81" fmla="*/ 578332 h 581420"/>
              <a:gd name="connsiteX82" fmla="*/ 331575 w 769718"/>
              <a:gd name="connsiteY82" fmla="*/ 567954 h 581420"/>
              <a:gd name="connsiteX83" fmla="*/ 308712 w 769718"/>
              <a:gd name="connsiteY83" fmla="*/ 557823 h 581420"/>
              <a:gd name="connsiteX84" fmla="*/ 255365 w 769718"/>
              <a:gd name="connsiteY84" fmla="*/ 552263 h 581420"/>
              <a:gd name="connsiteX85" fmla="*/ 232377 w 769718"/>
              <a:gd name="connsiteY85" fmla="*/ 540773 h 581420"/>
              <a:gd name="connsiteX86" fmla="*/ 221133 w 769718"/>
              <a:gd name="connsiteY86" fmla="*/ 540649 h 581420"/>
              <a:gd name="connsiteX87" fmla="*/ 202643 w 769718"/>
              <a:gd name="connsiteY87" fmla="*/ 557081 h 581420"/>
              <a:gd name="connsiteX88" fmla="*/ 173658 w 769718"/>
              <a:gd name="connsiteY88" fmla="*/ 559676 h 581420"/>
              <a:gd name="connsiteX89" fmla="*/ 109942 w 769718"/>
              <a:gd name="connsiteY89" fmla="*/ 571537 h 581420"/>
              <a:gd name="connsiteX90" fmla="*/ 94450 w 769718"/>
              <a:gd name="connsiteY90" fmla="*/ 580679 h 581420"/>
              <a:gd name="connsiteX91" fmla="*/ 63966 w 769718"/>
              <a:gd name="connsiteY91" fmla="*/ 566965 h 581420"/>
              <a:gd name="connsiteX92" fmla="*/ 49474 w 769718"/>
              <a:gd name="connsiteY92" fmla="*/ 569313 h 581420"/>
              <a:gd name="connsiteX93" fmla="*/ 49849 w 769718"/>
              <a:gd name="connsiteY93" fmla="*/ 560294 h 581420"/>
              <a:gd name="connsiteX94" fmla="*/ 29984 w 769718"/>
              <a:gd name="connsiteY94" fmla="*/ 531754 h 581420"/>
              <a:gd name="connsiteX95" fmla="*/ 21614 w 769718"/>
              <a:gd name="connsiteY95" fmla="*/ 505191 h 581420"/>
              <a:gd name="connsiteX96" fmla="*/ 34482 w 769718"/>
              <a:gd name="connsiteY96" fmla="*/ 482334 h 581420"/>
              <a:gd name="connsiteX97" fmla="*/ 52722 w 769718"/>
              <a:gd name="connsiteY97" fmla="*/ 475045 h 581420"/>
              <a:gd name="connsiteX98" fmla="*/ 49599 w 769718"/>
              <a:gd name="connsiteY98" fmla="*/ 418213 h 581420"/>
              <a:gd name="connsiteX99" fmla="*/ 38605 w 769718"/>
              <a:gd name="connsiteY99" fmla="*/ 409564 h 581420"/>
              <a:gd name="connsiteX100" fmla="*/ 33732 w 769718"/>
              <a:gd name="connsiteY100" fmla="*/ 387449 h 581420"/>
              <a:gd name="connsiteX101" fmla="*/ 20364 w 769718"/>
              <a:gd name="connsiteY101" fmla="*/ 369040 h 581420"/>
              <a:gd name="connsiteX102" fmla="*/ 4623 w 769718"/>
              <a:gd name="connsiteY102" fmla="*/ 327775 h 581420"/>
              <a:gd name="connsiteX103" fmla="*/ 0 w 769718"/>
              <a:gd name="connsiteY103" fmla="*/ 321103 h 58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769718" h="581420">
                <a:moveTo>
                  <a:pt x="0" y="321103"/>
                </a:moveTo>
                <a:lnTo>
                  <a:pt x="19615" y="306401"/>
                </a:lnTo>
                <a:lnTo>
                  <a:pt x="52347" y="294540"/>
                </a:lnTo>
                <a:lnTo>
                  <a:pt x="76585" y="305289"/>
                </a:lnTo>
                <a:lnTo>
                  <a:pt x="99947" y="292440"/>
                </a:lnTo>
                <a:lnTo>
                  <a:pt x="115814" y="290463"/>
                </a:lnTo>
                <a:lnTo>
                  <a:pt x="105319" y="264641"/>
                </a:lnTo>
                <a:lnTo>
                  <a:pt x="131805" y="262294"/>
                </a:lnTo>
                <a:lnTo>
                  <a:pt x="140051" y="238326"/>
                </a:lnTo>
                <a:lnTo>
                  <a:pt x="155668" y="232395"/>
                </a:lnTo>
                <a:lnTo>
                  <a:pt x="162789" y="242526"/>
                </a:lnTo>
                <a:lnTo>
                  <a:pt x="182654" y="241785"/>
                </a:lnTo>
                <a:lnTo>
                  <a:pt x="181779" y="222141"/>
                </a:lnTo>
                <a:lnTo>
                  <a:pt x="157417" y="211268"/>
                </a:lnTo>
                <a:lnTo>
                  <a:pt x="161540" y="183593"/>
                </a:lnTo>
                <a:lnTo>
                  <a:pt x="174658" y="180381"/>
                </a:lnTo>
                <a:lnTo>
                  <a:pt x="190524" y="149618"/>
                </a:lnTo>
                <a:lnTo>
                  <a:pt x="221758" y="133803"/>
                </a:lnTo>
                <a:lnTo>
                  <a:pt x="220883" y="115518"/>
                </a:lnTo>
                <a:lnTo>
                  <a:pt x="206016" y="109588"/>
                </a:lnTo>
                <a:lnTo>
                  <a:pt x="226006" y="81172"/>
                </a:lnTo>
                <a:lnTo>
                  <a:pt x="254616" y="66840"/>
                </a:lnTo>
                <a:lnTo>
                  <a:pt x="292720" y="59921"/>
                </a:lnTo>
                <a:lnTo>
                  <a:pt x="295719" y="36200"/>
                </a:lnTo>
                <a:lnTo>
                  <a:pt x="311211" y="27675"/>
                </a:lnTo>
                <a:lnTo>
                  <a:pt x="317083" y="9019"/>
                </a:lnTo>
                <a:lnTo>
                  <a:pt x="339446" y="2842"/>
                </a:lnTo>
                <a:lnTo>
                  <a:pt x="355687" y="12726"/>
                </a:lnTo>
                <a:lnTo>
                  <a:pt x="375052" y="0"/>
                </a:lnTo>
                <a:lnTo>
                  <a:pt x="394917" y="28046"/>
                </a:lnTo>
                <a:lnTo>
                  <a:pt x="416905" y="16679"/>
                </a:lnTo>
                <a:lnTo>
                  <a:pt x="436894" y="18409"/>
                </a:lnTo>
                <a:lnTo>
                  <a:pt x="455385" y="47813"/>
                </a:lnTo>
                <a:lnTo>
                  <a:pt x="478372" y="28416"/>
                </a:lnTo>
                <a:lnTo>
                  <a:pt x="504609" y="19397"/>
                </a:lnTo>
                <a:lnTo>
                  <a:pt x="515728" y="32123"/>
                </a:lnTo>
                <a:lnTo>
                  <a:pt x="528971" y="31505"/>
                </a:lnTo>
                <a:lnTo>
                  <a:pt x="569324" y="44230"/>
                </a:lnTo>
                <a:lnTo>
                  <a:pt x="575446" y="64987"/>
                </a:lnTo>
                <a:lnTo>
                  <a:pt x="569949" y="88832"/>
                </a:lnTo>
                <a:lnTo>
                  <a:pt x="586565" y="106499"/>
                </a:lnTo>
                <a:lnTo>
                  <a:pt x="587815" y="133927"/>
                </a:lnTo>
                <a:lnTo>
                  <a:pt x="609928" y="155301"/>
                </a:lnTo>
                <a:lnTo>
                  <a:pt x="621547" y="179763"/>
                </a:lnTo>
                <a:lnTo>
                  <a:pt x="646908" y="211392"/>
                </a:lnTo>
                <a:lnTo>
                  <a:pt x="666023" y="223747"/>
                </a:lnTo>
                <a:lnTo>
                  <a:pt x="675268" y="253522"/>
                </a:lnTo>
                <a:lnTo>
                  <a:pt x="706127" y="260070"/>
                </a:lnTo>
                <a:lnTo>
                  <a:pt x="741733" y="288733"/>
                </a:lnTo>
                <a:lnTo>
                  <a:pt x="745107" y="305660"/>
                </a:lnTo>
                <a:lnTo>
                  <a:pt x="769719" y="320362"/>
                </a:lnTo>
                <a:lnTo>
                  <a:pt x="759474" y="329999"/>
                </a:lnTo>
                <a:lnTo>
                  <a:pt x="742233" y="360886"/>
                </a:lnTo>
                <a:lnTo>
                  <a:pt x="694883" y="369411"/>
                </a:lnTo>
                <a:lnTo>
                  <a:pt x="674269" y="351990"/>
                </a:lnTo>
                <a:lnTo>
                  <a:pt x="666898" y="366693"/>
                </a:lnTo>
                <a:lnTo>
                  <a:pt x="669147" y="388931"/>
                </a:lnTo>
                <a:lnTo>
                  <a:pt x="689011" y="416854"/>
                </a:lnTo>
                <a:lnTo>
                  <a:pt x="687512" y="441934"/>
                </a:lnTo>
                <a:lnTo>
                  <a:pt x="709625" y="464543"/>
                </a:lnTo>
                <a:lnTo>
                  <a:pt x="710625" y="487523"/>
                </a:lnTo>
                <a:lnTo>
                  <a:pt x="708126" y="487153"/>
                </a:lnTo>
                <a:lnTo>
                  <a:pt x="669646" y="498519"/>
                </a:lnTo>
                <a:lnTo>
                  <a:pt x="642661" y="502349"/>
                </a:lnTo>
                <a:lnTo>
                  <a:pt x="630917" y="537561"/>
                </a:lnTo>
                <a:lnTo>
                  <a:pt x="630292" y="568324"/>
                </a:lnTo>
                <a:lnTo>
                  <a:pt x="610553" y="571784"/>
                </a:lnTo>
                <a:lnTo>
                  <a:pt x="594061" y="558811"/>
                </a:lnTo>
                <a:lnTo>
                  <a:pt x="567950" y="567707"/>
                </a:lnTo>
                <a:lnTo>
                  <a:pt x="552084" y="558193"/>
                </a:lnTo>
                <a:lnTo>
                  <a:pt x="532844" y="560046"/>
                </a:lnTo>
                <a:lnTo>
                  <a:pt x="516852" y="581420"/>
                </a:lnTo>
                <a:lnTo>
                  <a:pt x="501485" y="577096"/>
                </a:lnTo>
                <a:lnTo>
                  <a:pt x="496988" y="559923"/>
                </a:lnTo>
                <a:lnTo>
                  <a:pt x="471751" y="557699"/>
                </a:lnTo>
                <a:lnTo>
                  <a:pt x="443891" y="576355"/>
                </a:lnTo>
                <a:lnTo>
                  <a:pt x="431022" y="570919"/>
                </a:lnTo>
                <a:lnTo>
                  <a:pt x="403162" y="568201"/>
                </a:lnTo>
                <a:lnTo>
                  <a:pt x="395541" y="576355"/>
                </a:lnTo>
                <a:lnTo>
                  <a:pt x="383048" y="577590"/>
                </a:lnTo>
                <a:lnTo>
                  <a:pt x="367181" y="564494"/>
                </a:lnTo>
                <a:lnTo>
                  <a:pt x="336073" y="578332"/>
                </a:lnTo>
                <a:lnTo>
                  <a:pt x="331575" y="567954"/>
                </a:lnTo>
                <a:lnTo>
                  <a:pt x="308712" y="557823"/>
                </a:lnTo>
                <a:lnTo>
                  <a:pt x="255365" y="552263"/>
                </a:lnTo>
                <a:lnTo>
                  <a:pt x="232377" y="540773"/>
                </a:lnTo>
                <a:lnTo>
                  <a:pt x="221133" y="540649"/>
                </a:lnTo>
                <a:lnTo>
                  <a:pt x="202643" y="557081"/>
                </a:lnTo>
                <a:lnTo>
                  <a:pt x="173658" y="559676"/>
                </a:lnTo>
                <a:lnTo>
                  <a:pt x="109942" y="571537"/>
                </a:lnTo>
                <a:lnTo>
                  <a:pt x="94450" y="580679"/>
                </a:lnTo>
                <a:lnTo>
                  <a:pt x="63966" y="566965"/>
                </a:lnTo>
                <a:lnTo>
                  <a:pt x="49474" y="569313"/>
                </a:lnTo>
                <a:lnTo>
                  <a:pt x="49849" y="560294"/>
                </a:lnTo>
                <a:lnTo>
                  <a:pt x="29984" y="531754"/>
                </a:lnTo>
                <a:lnTo>
                  <a:pt x="21614" y="505191"/>
                </a:lnTo>
                <a:lnTo>
                  <a:pt x="34482" y="482334"/>
                </a:lnTo>
                <a:lnTo>
                  <a:pt x="52722" y="475045"/>
                </a:lnTo>
                <a:lnTo>
                  <a:pt x="49599" y="418213"/>
                </a:lnTo>
                <a:lnTo>
                  <a:pt x="38605" y="409564"/>
                </a:lnTo>
                <a:lnTo>
                  <a:pt x="33732" y="387449"/>
                </a:lnTo>
                <a:lnTo>
                  <a:pt x="20364" y="369040"/>
                </a:lnTo>
                <a:lnTo>
                  <a:pt x="4623" y="327775"/>
                </a:lnTo>
                <a:lnTo>
                  <a:pt x="0" y="32110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3" name="Graphic 8">
            <a:extLst>
              <a:ext uri="{FF2B5EF4-FFF2-40B4-BE49-F238E27FC236}">
                <a16:creationId xmlns:a16="http://schemas.microsoft.com/office/drawing/2014/main" id="{27A1E011-0395-E12D-719B-29DF76C71E77}"/>
              </a:ext>
            </a:extLst>
          </p:cNvPr>
          <p:cNvSpPr/>
          <p:nvPr/>
        </p:nvSpPr>
        <p:spPr>
          <a:xfrm rot="1141104">
            <a:off x="8531990" y="557000"/>
            <a:ext cx="4618181" cy="4444293"/>
          </a:xfrm>
          <a:custGeom>
            <a:avLst/>
            <a:gdLst>
              <a:gd name="connsiteX0" fmla="*/ 4553357 w 4618181"/>
              <a:gd name="connsiteY0" fmla="*/ 2782732 h 4444293"/>
              <a:gd name="connsiteX1" fmla="*/ 4382989 w 4618181"/>
              <a:gd name="connsiteY1" fmla="*/ 2667367 h 4444293"/>
              <a:gd name="connsiteX2" fmla="*/ 4375120 w 4618181"/>
              <a:gd name="connsiteY2" fmla="*/ 2654274 h 4444293"/>
              <a:gd name="connsiteX3" fmla="*/ 4389609 w 4618181"/>
              <a:gd name="connsiteY3" fmla="*/ 2650074 h 4444293"/>
              <a:gd name="connsiteX4" fmla="*/ 4404098 w 4618181"/>
              <a:gd name="connsiteY4" fmla="*/ 2632782 h 4444293"/>
              <a:gd name="connsiteX5" fmla="*/ 4404098 w 4618181"/>
              <a:gd name="connsiteY5" fmla="*/ 2616724 h 4444293"/>
              <a:gd name="connsiteX6" fmla="*/ 4393481 w 4618181"/>
              <a:gd name="connsiteY6" fmla="*/ 2610919 h 4444293"/>
              <a:gd name="connsiteX7" fmla="*/ 4370248 w 4618181"/>
              <a:gd name="connsiteY7" fmla="*/ 2619071 h 4444293"/>
              <a:gd name="connsiteX8" fmla="*/ 4350639 w 4618181"/>
              <a:gd name="connsiteY8" fmla="*/ 2625124 h 4444293"/>
              <a:gd name="connsiteX9" fmla="*/ 4337149 w 4618181"/>
              <a:gd name="connsiteY9" fmla="*/ 2640193 h 4444293"/>
              <a:gd name="connsiteX10" fmla="*/ 4322785 w 4618181"/>
              <a:gd name="connsiteY10" fmla="*/ 2645998 h 4444293"/>
              <a:gd name="connsiteX11" fmla="*/ 4303300 w 4618181"/>
              <a:gd name="connsiteY11" fmla="*/ 2666502 h 4444293"/>
              <a:gd name="connsiteX12" fmla="*/ 4302176 w 4618181"/>
              <a:gd name="connsiteY12" fmla="*/ 2679966 h 4444293"/>
              <a:gd name="connsiteX13" fmla="*/ 4288811 w 4618181"/>
              <a:gd name="connsiteY13" fmla="*/ 2691700 h 4444293"/>
              <a:gd name="connsiteX14" fmla="*/ 4281817 w 4618181"/>
              <a:gd name="connsiteY14" fmla="*/ 2707757 h 4444293"/>
              <a:gd name="connsiteX15" fmla="*/ 4265080 w 4618181"/>
              <a:gd name="connsiteY15" fmla="*/ 2719985 h 4444293"/>
              <a:gd name="connsiteX16" fmla="*/ 4238475 w 4618181"/>
              <a:gd name="connsiteY16" fmla="*/ 2724679 h 4444293"/>
              <a:gd name="connsiteX17" fmla="*/ 4221488 w 4618181"/>
              <a:gd name="connsiteY17" fmla="*/ 2731596 h 4444293"/>
              <a:gd name="connsiteX18" fmla="*/ 4225985 w 4618181"/>
              <a:gd name="connsiteY18" fmla="*/ 2752100 h 4444293"/>
              <a:gd name="connsiteX19" fmla="*/ 4214993 w 4618181"/>
              <a:gd name="connsiteY19" fmla="*/ 2760499 h 4444293"/>
              <a:gd name="connsiteX20" fmla="*/ 4205875 w 4618181"/>
              <a:gd name="connsiteY20" fmla="*/ 2754941 h 4444293"/>
              <a:gd name="connsiteX21" fmla="*/ 4168779 w 4618181"/>
              <a:gd name="connsiteY21" fmla="*/ 2747653 h 4444293"/>
              <a:gd name="connsiteX22" fmla="*/ 4148170 w 4618181"/>
              <a:gd name="connsiteY22" fmla="*/ 2754076 h 4444293"/>
              <a:gd name="connsiteX23" fmla="*/ 4138053 w 4618181"/>
              <a:gd name="connsiteY23" fmla="*/ 2767293 h 4444293"/>
              <a:gd name="connsiteX24" fmla="*/ 4125562 w 4618181"/>
              <a:gd name="connsiteY24" fmla="*/ 2768775 h 4444293"/>
              <a:gd name="connsiteX25" fmla="*/ 4112573 w 4618181"/>
              <a:gd name="connsiteY25" fmla="*/ 2753212 h 4444293"/>
              <a:gd name="connsiteX26" fmla="*/ 4111948 w 4618181"/>
              <a:gd name="connsiteY26" fmla="*/ 2729620 h 4444293"/>
              <a:gd name="connsiteX27" fmla="*/ 4122815 w 4618181"/>
              <a:gd name="connsiteY27" fmla="*/ 2719244 h 4444293"/>
              <a:gd name="connsiteX28" fmla="*/ 4129684 w 4618181"/>
              <a:gd name="connsiteY28" fmla="*/ 2701211 h 4444293"/>
              <a:gd name="connsiteX29" fmla="*/ 4119193 w 4618181"/>
              <a:gd name="connsiteY29" fmla="*/ 2696023 h 4444293"/>
              <a:gd name="connsiteX30" fmla="*/ 4106077 w 4618181"/>
              <a:gd name="connsiteY30" fmla="*/ 2707757 h 4444293"/>
              <a:gd name="connsiteX31" fmla="*/ 4094212 w 4618181"/>
              <a:gd name="connsiteY31" fmla="*/ 2708251 h 4444293"/>
              <a:gd name="connsiteX32" fmla="*/ 4059114 w 4618181"/>
              <a:gd name="connsiteY32" fmla="*/ 2693305 h 4444293"/>
              <a:gd name="connsiteX33" fmla="*/ 4039129 w 4618181"/>
              <a:gd name="connsiteY33" fmla="*/ 2698370 h 4444293"/>
              <a:gd name="connsiteX34" fmla="*/ 4044500 w 4618181"/>
              <a:gd name="connsiteY34" fmla="*/ 2708375 h 4444293"/>
              <a:gd name="connsiteX35" fmla="*/ 4054992 w 4618181"/>
              <a:gd name="connsiteY35" fmla="*/ 2712451 h 4444293"/>
              <a:gd name="connsiteX36" fmla="*/ 4042377 w 4618181"/>
              <a:gd name="connsiteY36" fmla="*/ 2727149 h 4444293"/>
              <a:gd name="connsiteX37" fmla="*/ 4031510 w 4618181"/>
              <a:gd name="connsiteY37" fmla="*/ 2728632 h 4444293"/>
              <a:gd name="connsiteX38" fmla="*/ 4018645 w 4618181"/>
              <a:gd name="connsiteY38" fmla="*/ 2706522 h 4444293"/>
              <a:gd name="connsiteX39" fmla="*/ 4013774 w 4618181"/>
              <a:gd name="connsiteY39" fmla="*/ 2677495 h 4444293"/>
              <a:gd name="connsiteX40" fmla="*/ 3981299 w 4618181"/>
              <a:gd name="connsiteY40" fmla="*/ 2656250 h 4444293"/>
              <a:gd name="connsiteX41" fmla="*/ 3975554 w 4618181"/>
              <a:gd name="connsiteY41" fmla="*/ 2660450 h 4444293"/>
              <a:gd name="connsiteX42" fmla="*/ 3983298 w 4618181"/>
              <a:gd name="connsiteY42" fmla="*/ 2678483 h 4444293"/>
              <a:gd name="connsiteX43" fmla="*/ 3981549 w 4618181"/>
              <a:gd name="connsiteY43" fmla="*/ 2692688 h 4444293"/>
              <a:gd name="connsiteX44" fmla="*/ 3970307 w 4618181"/>
              <a:gd name="connsiteY44" fmla="*/ 2693182 h 4444293"/>
              <a:gd name="connsiteX45" fmla="*/ 3963563 w 4618181"/>
              <a:gd name="connsiteY45" fmla="*/ 2675025 h 4444293"/>
              <a:gd name="connsiteX46" fmla="*/ 3952196 w 4618181"/>
              <a:gd name="connsiteY46" fmla="*/ 2680460 h 4444293"/>
              <a:gd name="connsiteX47" fmla="*/ 3949698 w 4618181"/>
              <a:gd name="connsiteY47" fmla="*/ 2697999 h 4444293"/>
              <a:gd name="connsiteX48" fmla="*/ 3939581 w 4618181"/>
              <a:gd name="connsiteY48" fmla="*/ 2702075 h 4444293"/>
              <a:gd name="connsiteX49" fmla="*/ 3924842 w 4618181"/>
              <a:gd name="connsiteY49" fmla="*/ 2691206 h 4444293"/>
              <a:gd name="connsiteX50" fmla="*/ 3905233 w 4618181"/>
              <a:gd name="connsiteY50" fmla="*/ 2704175 h 4444293"/>
              <a:gd name="connsiteX51" fmla="*/ 3893992 w 4618181"/>
              <a:gd name="connsiteY51" fmla="*/ 2696764 h 4444293"/>
              <a:gd name="connsiteX52" fmla="*/ 3884999 w 4618181"/>
              <a:gd name="connsiteY52" fmla="*/ 2680089 h 4444293"/>
              <a:gd name="connsiteX53" fmla="*/ 3899112 w 4618181"/>
              <a:gd name="connsiteY53" fmla="*/ 2675519 h 4444293"/>
              <a:gd name="connsiteX54" fmla="*/ 3899737 w 4618181"/>
              <a:gd name="connsiteY54" fmla="*/ 2668602 h 4444293"/>
              <a:gd name="connsiteX55" fmla="*/ 3895365 w 4618181"/>
              <a:gd name="connsiteY55" fmla="*/ 2651680 h 4444293"/>
              <a:gd name="connsiteX56" fmla="*/ 3899362 w 4618181"/>
              <a:gd name="connsiteY56" fmla="*/ 2635746 h 4444293"/>
              <a:gd name="connsiteX57" fmla="*/ 3896864 w 4618181"/>
              <a:gd name="connsiteY57" fmla="*/ 2625618 h 4444293"/>
              <a:gd name="connsiteX58" fmla="*/ 3884249 w 4618181"/>
              <a:gd name="connsiteY58" fmla="*/ 2619565 h 4444293"/>
              <a:gd name="connsiteX59" fmla="*/ 3871009 w 4618181"/>
              <a:gd name="connsiteY59" fmla="*/ 2604373 h 4444293"/>
              <a:gd name="connsiteX60" fmla="*/ 3863515 w 4618181"/>
              <a:gd name="connsiteY60" fmla="*/ 2585968 h 4444293"/>
              <a:gd name="connsiteX61" fmla="*/ 3856021 w 4618181"/>
              <a:gd name="connsiteY61" fmla="*/ 2580781 h 4444293"/>
              <a:gd name="connsiteX62" fmla="*/ 3847402 w 4618181"/>
              <a:gd name="connsiteY62" fmla="*/ 2558795 h 4444293"/>
              <a:gd name="connsiteX63" fmla="*/ 3828542 w 4618181"/>
              <a:gd name="connsiteY63" fmla="*/ 2557930 h 4444293"/>
              <a:gd name="connsiteX64" fmla="*/ 3808682 w 4618181"/>
              <a:gd name="connsiteY64" fmla="*/ 2567317 h 4444293"/>
              <a:gd name="connsiteX65" fmla="*/ 3786824 w 4618181"/>
              <a:gd name="connsiteY65" fmla="*/ 2568552 h 4444293"/>
              <a:gd name="connsiteX66" fmla="*/ 3764217 w 4618181"/>
              <a:gd name="connsiteY66" fmla="*/ 2554842 h 4444293"/>
              <a:gd name="connsiteX67" fmla="*/ 3739236 w 4618181"/>
              <a:gd name="connsiteY67" fmla="*/ 2558548 h 4444293"/>
              <a:gd name="connsiteX68" fmla="*/ 3716379 w 4618181"/>
              <a:gd name="connsiteY68" fmla="*/ 2550395 h 4444293"/>
              <a:gd name="connsiteX69" fmla="*/ 3702764 w 4618181"/>
              <a:gd name="connsiteY69" fmla="*/ 2555583 h 4444293"/>
              <a:gd name="connsiteX70" fmla="*/ 3691398 w 4618181"/>
              <a:gd name="connsiteY70" fmla="*/ 2554101 h 4444293"/>
              <a:gd name="connsiteX71" fmla="*/ 3675285 w 4618181"/>
              <a:gd name="connsiteY71" fmla="*/ 2563982 h 4444293"/>
              <a:gd name="connsiteX72" fmla="*/ 3670789 w 4618181"/>
              <a:gd name="connsiteY72" fmla="*/ 2581892 h 4444293"/>
              <a:gd name="connsiteX73" fmla="*/ 3646308 w 4618181"/>
              <a:gd name="connsiteY73" fmla="*/ 2584239 h 4444293"/>
              <a:gd name="connsiteX74" fmla="*/ 3636690 w 4618181"/>
              <a:gd name="connsiteY74" fmla="*/ 2589921 h 4444293"/>
              <a:gd name="connsiteX75" fmla="*/ 3645933 w 4618181"/>
              <a:gd name="connsiteY75" fmla="*/ 2603261 h 4444293"/>
              <a:gd name="connsiteX76" fmla="*/ 3647182 w 4618181"/>
              <a:gd name="connsiteY76" fmla="*/ 2616354 h 4444293"/>
              <a:gd name="connsiteX77" fmla="*/ 3622951 w 4618181"/>
              <a:gd name="connsiteY77" fmla="*/ 2622653 h 4444293"/>
              <a:gd name="connsiteX78" fmla="*/ 3610960 w 4618181"/>
              <a:gd name="connsiteY78" fmla="*/ 2619936 h 4444293"/>
              <a:gd name="connsiteX79" fmla="*/ 3599094 w 4618181"/>
              <a:gd name="connsiteY79" fmla="*/ 2636858 h 4444293"/>
              <a:gd name="connsiteX80" fmla="*/ 3577486 w 4618181"/>
              <a:gd name="connsiteY80" fmla="*/ 2641675 h 4444293"/>
              <a:gd name="connsiteX81" fmla="*/ 3569117 w 4618181"/>
              <a:gd name="connsiteY81" fmla="*/ 2647974 h 4444293"/>
              <a:gd name="connsiteX82" fmla="*/ 3560499 w 4618181"/>
              <a:gd name="connsiteY82" fmla="*/ 2648345 h 4444293"/>
              <a:gd name="connsiteX83" fmla="*/ 3522653 w 4618181"/>
              <a:gd name="connsiteY83" fmla="*/ 2676137 h 4444293"/>
              <a:gd name="connsiteX84" fmla="*/ 3502419 w 4618181"/>
              <a:gd name="connsiteY84" fmla="*/ 2683547 h 4444293"/>
              <a:gd name="connsiteX85" fmla="*/ 3485682 w 4618181"/>
              <a:gd name="connsiteY85" fmla="*/ 2694047 h 4444293"/>
              <a:gd name="connsiteX86" fmla="*/ 3472317 w 4618181"/>
              <a:gd name="connsiteY86" fmla="*/ 2691947 h 4444293"/>
              <a:gd name="connsiteX87" fmla="*/ 3462075 w 4618181"/>
              <a:gd name="connsiteY87" fmla="*/ 2683177 h 4444293"/>
              <a:gd name="connsiteX88" fmla="*/ 3450584 w 4618181"/>
              <a:gd name="connsiteY88" fmla="*/ 2693429 h 4444293"/>
              <a:gd name="connsiteX89" fmla="*/ 3448461 w 4618181"/>
              <a:gd name="connsiteY89" fmla="*/ 2705287 h 4444293"/>
              <a:gd name="connsiteX90" fmla="*/ 3428601 w 4618181"/>
              <a:gd name="connsiteY90" fmla="*/ 2706151 h 4444293"/>
              <a:gd name="connsiteX91" fmla="*/ 3418484 w 4618181"/>
              <a:gd name="connsiteY91" fmla="*/ 2715786 h 4444293"/>
              <a:gd name="connsiteX92" fmla="*/ 3419983 w 4618181"/>
              <a:gd name="connsiteY92" fmla="*/ 2734684 h 4444293"/>
              <a:gd name="connsiteX93" fmla="*/ 3412988 w 4618181"/>
              <a:gd name="connsiteY93" fmla="*/ 2741601 h 4444293"/>
              <a:gd name="connsiteX94" fmla="*/ 3400248 w 4618181"/>
              <a:gd name="connsiteY94" fmla="*/ 2736907 h 4444293"/>
              <a:gd name="connsiteX95" fmla="*/ 3387133 w 4618181"/>
              <a:gd name="connsiteY95" fmla="*/ 2738760 h 4444293"/>
              <a:gd name="connsiteX96" fmla="*/ 3373019 w 4618181"/>
              <a:gd name="connsiteY96" fmla="*/ 2749136 h 4444293"/>
              <a:gd name="connsiteX97" fmla="*/ 3350536 w 4618181"/>
              <a:gd name="connsiteY97" fmla="*/ 2750741 h 4444293"/>
              <a:gd name="connsiteX98" fmla="*/ 3326680 w 4618181"/>
              <a:gd name="connsiteY98" fmla="*/ 2766799 h 4444293"/>
              <a:gd name="connsiteX99" fmla="*/ 3322433 w 4618181"/>
              <a:gd name="connsiteY99" fmla="*/ 2774827 h 4444293"/>
              <a:gd name="connsiteX100" fmla="*/ 3298077 w 4618181"/>
              <a:gd name="connsiteY100" fmla="*/ 2777792 h 4444293"/>
              <a:gd name="connsiteX101" fmla="*/ 3275344 w 4618181"/>
              <a:gd name="connsiteY101" fmla="*/ 2789896 h 4444293"/>
              <a:gd name="connsiteX102" fmla="*/ 3254361 w 4618181"/>
              <a:gd name="connsiteY102" fmla="*/ 2792737 h 4444293"/>
              <a:gd name="connsiteX103" fmla="*/ 3223010 w 4618181"/>
              <a:gd name="connsiteY103" fmla="*/ 2803854 h 4444293"/>
              <a:gd name="connsiteX104" fmla="*/ 3221636 w 4618181"/>
              <a:gd name="connsiteY104" fmla="*/ 2817070 h 4444293"/>
              <a:gd name="connsiteX105" fmla="*/ 3213642 w 4618181"/>
              <a:gd name="connsiteY105" fmla="*/ 2829175 h 4444293"/>
              <a:gd name="connsiteX106" fmla="*/ 3202276 w 4618181"/>
              <a:gd name="connsiteY106" fmla="*/ 2813365 h 4444293"/>
              <a:gd name="connsiteX107" fmla="*/ 3185789 w 4618181"/>
              <a:gd name="connsiteY107" fmla="*/ 2813365 h 4444293"/>
              <a:gd name="connsiteX108" fmla="*/ 3170301 w 4618181"/>
              <a:gd name="connsiteY108" fmla="*/ 2823864 h 4444293"/>
              <a:gd name="connsiteX109" fmla="*/ 3170800 w 4618181"/>
              <a:gd name="connsiteY109" fmla="*/ 2834980 h 4444293"/>
              <a:gd name="connsiteX110" fmla="*/ 3163931 w 4618181"/>
              <a:gd name="connsiteY110" fmla="*/ 2844491 h 4444293"/>
              <a:gd name="connsiteX111" fmla="*/ 3146944 w 4618181"/>
              <a:gd name="connsiteY111" fmla="*/ 2833375 h 4444293"/>
              <a:gd name="connsiteX112" fmla="*/ 3125835 w 4618181"/>
              <a:gd name="connsiteY112" fmla="*/ 2836957 h 4444293"/>
              <a:gd name="connsiteX113" fmla="*/ 3119465 w 4618181"/>
              <a:gd name="connsiteY113" fmla="*/ 2827446 h 4444293"/>
              <a:gd name="connsiteX114" fmla="*/ 3106225 w 4618181"/>
              <a:gd name="connsiteY114" fmla="*/ 2827446 h 4444293"/>
              <a:gd name="connsiteX115" fmla="*/ 3097482 w 4618181"/>
              <a:gd name="connsiteY115" fmla="*/ 2838809 h 4444293"/>
              <a:gd name="connsiteX116" fmla="*/ 3077747 w 4618181"/>
              <a:gd name="connsiteY116" fmla="*/ 2840909 h 4444293"/>
              <a:gd name="connsiteX117" fmla="*/ 3071377 w 4618181"/>
              <a:gd name="connsiteY117" fmla="*/ 2847085 h 4444293"/>
              <a:gd name="connsiteX118" fmla="*/ 3082244 w 4618181"/>
              <a:gd name="connsiteY118" fmla="*/ 2868207 h 4444293"/>
              <a:gd name="connsiteX119" fmla="*/ 3074000 w 4618181"/>
              <a:gd name="connsiteY119" fmla="*/ 2877717 h 4444293"/>
              <a:gd name="connsiteX120" fmla="*/ 3090737 w 4618181"/>
              <a:gd name="connsiteY120" fmla="*/ 2881547 h 4444293"/>
              <a:gd name="connsiteX121" fmla="*/ 3113719 w 4618181"/>
              <a:gd name="connsiteY121" fmla="*/ 2877347 h 4444293"/>
              <a:gd name="connsiteX122" fmla="*/ 3121838 w 4618181"/>
              <a:gd name="connsiteY122" fmla="*/ 2896616 h 4444293"/>
              <a:gd name="connsiteX123" fmla="*/ 3097482 w 4618181"/>
              <a:gd name="connsiteY123" fmla="*/ 2898345 h 4444293"/>
              <a:gd name="connsiteX124" fmla="*/ 3089863 w 4618181"/>
              <a:gd name="connsiteY124" fmla="*/ 2905879 h 4444293"/>
              <a:gd name="connsiteX125" fmla="*/ 3092361 w 4618181"/>
              <a:gd name="connsiteY125" fmla="*/ 2917614 h 4444293"/>
              <a:gd name="connsiteX126" fmla="*/ 3115468 w 4618181"/>
              <a:gd name="connsiteY126" fmla="*/ 2917367 h 4444293"/>
              <a:gd name="connsiteX127" fmla="*/ 3134328 w 4618181"/>
              <a:gd name="connsiteY127" fmla="*/ 2924407 h 4444293"/>
              <a:gd name="connsiteX128" fmla="*/ 3145195 w 4618181"/>
              <a:gd name="connsiteY128" fmla="*/ 2915390 h 4444293"/>
              <a:gd name="connsiteX129" fmla="*/ 3159684 w 4618181"/>
              <a:gd name="connsiteY129" fmla="*/ 2914155 h 4444293"/>
              <a:gd name="connsiteX130" fmla="*/ 3174797 w 4618181"/>
              <a:gd name="connsiteY130" fmla="*/ 2927866 h 4444293"/>
              <a:gd name="connsiteX131" fmla="*/ 3192783 w 4618181"/>
              <a:gd name="connsiteY131" fmla="*/ 2932312 h 4444293"/>
              <a:gd name="connsiteX132" fmla="*/ 3192783 w 4618181"/>
              <a:gd name="connsiteY132" fmla="*/ 2950593 h 4444293"/>
              <a:gd name="connsiteX133" fmla="*/ 3182666 w 4618181"/>
              <a:gd name="connsiteY133" fmla="*/ 2958251 h 4444293"/>
              <a:gd name="connsiteX134" fmla="*/ 3167178 w 4618181"/>
              <a:gd name="connsiteY134" fmla="*/ 2953681 h 4444293"/>
              <a:gd name="connsiteX135" fmla="*/ 3128958 w 4618181"/>
              <a:gd name="connsiteY135" fmla="*/ 2959239 h 4444293"/>
              <a:gd name="connsiteX136" fmla="*/ 3108723 w 4618181"/>
              <a:gd name="connsiteY136" fmla="*/ 2979126 h 4444293"/>
              <a:gd name="connsiteX137" fmla="*/ 3089488 w 4618181"/>
              <a:gd name="connsiteY137" fmla="*/ 3009387 h 4444293"/>
              <a:gd name="connsiteX138" fmla="*/ 3091611 w 4618181"/>
              <a:gd name="connsiteY138" fmla="*/ 3028903 h 4444293"/>
              <a:gd name="connsiteX139" fmla="*/ 3105601 w 4618181"/>
              <a:gd name="connsiteY139" fmla="*/ 3030262 h 4444293"/>
              <a:gd name="connsiteX140" fmla="*/ 3111096 w 4618181"/>
              <a:gd name="connsiteY140" fmla="*/ 3051013 h 4444293"/>
              <a:gd name="connsiteX141" fmla="*/ 3097982 w 4618181"/>
              <a:gd name="connsiteY141" fmla="*/ 3067935 h 4444293"/>
              <a:gd name="connsiteX142" fmla="*/ 3095483 w 4618181"/>
              <a:gd name="connsiteY142" fmla="*/ 3087080 h 4444293"/>
              <a:gd name="connsiteX143" fmla="*/ 3079121 w 4618181"/>
              <a:gd name="connsiteY143" fmla="*/ 3089798 h 4444293"/>
              <a:gd name="connsiteX144" fmla="*/ 3076873 w 4618181"/>
              <a:gd name="connsiteY144" fmla="*/ 3099061 h 4444293"/>
              <a:gd name="connsiteX145" fmla="*/ 3083368 w 4618181"/>
              <a:gd name="connsiteY145" fmla="*/ 3109931 h 4444293"/>
              <a:gd name="connsiteX146" fmla="*/ 3085241 w 4618181"/>
              <a:gd name="connsiteY146" fmla="*/ 3121665 h 4444293"/>
              <a:gd name="connsiteX147" fmla="*/ 3107099 w 4618181"/>
              <a:gd name="connsiteY147" fmla="*/ 3120677 h 4444293"/>
              <a:gd name="connsiteX148" fmla="*/ 3120214 w 4618181"/>
              <a:gd name="connsiteY148" fmla="*/ 3131917 h 4444293"/>
              <a:gd name="connsiteX149" fmla="*/ 3140948 w 4618181"/>
              <a:gd name="connsiteY149" fmla="*/ 3135623 h 4444293"/>
              <a:gd name="connsiteX150" fmla="*/ 3144695 w 4618181"/>
              <a:gd name="connsiteY150" fmla="*/ 3145257 h 4444293"/>
              <a:gd name="connsiteX151" fmla="*/ 3162432 w 4618181"/>
              <a:gd name="connsiteY151" fmla="*/ 3158226 h 4444293"/>
              <a:gd name="connsiteX152" fmla="*/ 3189536 w 4618181"/>
              <a:gd name="connsiteY152" fmla="*/ 3157732 h 4444293"/>
              <a:gd name="connsiteX153" fmla="*/ 3198404 w 4618181"/>
              <a:gd name="connsiteY153" fmla="*/ 3163908 h 4444293"/>
              <a:gd name="connsiteX154" fmla="*/ 3206148 w 4618181"/>
              <a:gd name="connsiteY154" fmla="*/ 3234931 h 4444293"/>
              <a:gd name="connsiteX155" fmla="*/ 3198279 w 4618181"/>
              <a:gd name="connsiteY155" fmla="*/ 3250371 h 4444293"/>
              <a:gd name="connsiteX156" fmla="*/ 3167678 w 4618181"/>
              <a:gd name="connsiteY156" fmla="*/ 3262105 h 4444293"/>
              <a:gd name="connsiteX157" fmla="*/ 3141823 w 4618181"/>
              <a:gd name="connsiteY157" fmla="*/ 3260623 h 4444293"/>
              <a:gd name="connsiteX158" fmla="*/ 3112720 w 4618181"/>
              <a:gd name="connsiteY158" fmla="*/ 3244936 h 4444293"/>
              <a:gd name="connsiteX159" fmla="*/ 3103852 w 4618181"/>
              <a:gd name="connsiteY159" fmla="*/ 3253829 h 4444293"/>
              <a:gd name="connsiteX160" fmla="*/ 3103352 w 4618181"/>
              <a:gd name="connsiteY160" fmla="*/ 3271492 h 4444293"/>
              <a:gd name="connsiteX161" fmla="*/ 3094984 w 4618181"/>
              <a:gd name="connsiteY161" fmla="*/ 3290885 h 4444293"/>
              <a:gd name="connsiteX162" fmla="*/ 3074624 w 4618181"/>
              <a:gd name="connsiteY162" fmla="*/ 3295702 h 4444293"/>
              <a:gd name="connsiteX163" fmla="*/ 3041525 w 4618181"/>
              <a:gd name="connsiteY163" fmla="*/ 3279398 h 4444293"/>
              <a:gd name="connsiteX164" fmla="*/ 3013796 w 4618181"/>
              <a:gd name="connsiteY164" fmla="*/ 3281868 h 4444293"/>
              <a:gd name="connsiteX165" fmla="*/ 3000931 w 4618181"/>
              <a:gd name="connsiteY165" fmla="*/ 3275198 h 4444293"/>
              <a:gd name="connsiteX166" fmla="*/ 2993187 w 4618181"/>
              <a:gd name="connsiteY166" fmla="*/ 3280756 h 4444293"/>
              <a:gd name="connsiteX167" fmla="*/ 2976450 w 4618181"/>
              <a:gd name="connsiteY167" fmla="*/ 3276186 h 4444293"/>
              <a:gd name="connsiteX168" fmla="*/ 2957715 w 4618181"/>
              <a:gd name="connsiteY168" fmla="*/ 3256052 h 4444293"/>
              <a:gd name="connsiteX169" fmla="*/ 2971204 w 4618181"/>
              <a:gd name="connsiteY169" fmla="*/ 3248271 h 4444293"/>
              <a:gd name="connsiteX170" fmla="*/ 2976700 w 4618181"/>
              <a:gd name="connsiteY170" fmla="*/ 3235548 h 4444293"/>
              <a:gd name="connsiteX171" fmla="*/ 2963211 w 4618181"/>
              <a:gd name="connsiteY171" fmla="*/ 3229620 h 4444293"/>
              <a:gd name="connsiteX172" fmla="*/ 2940853 w 4618181"/>
              <a:gd name="connsiteY172" fmla="*/ 3218750 h 4444293"/>
              <a:gd name="connsiteX173" fmla="*/ 2931485 w 4618181"/>
              <a:gd name="connsiteY173" fmla="*/ 3231596 h 4444293"/>
              <a:gd name="connsiteX174" fmla="*/ 2910876 w 4618181"/>
              <a:gd name="connsiteY174" fmla="*/ 3230484 h 4444293"/>
              <a:gd name="connsiteX175" fmla="*/ 2896512 w 4618181"/>
              <a:gd name="connsiteY175" fmla="*/ 3235672 h 4444293"/>
              <a:gd name="connsiteX176" fmla="*/ 2900759 w 4618181"/>
              <a:gd name="connsiteY176" fmla="*/ 3257782 h 4444293"/>
              <a:gd name="connsiteX177" fmla="*/ 2875029 w 4618181"/>
              <a:gd name="connsiteY177" fmla="*/ 3261487 h 4444293"/>
              <a:gd name="connsiteX178" fmla="*/ 2869408 w 4618181"/>
              <a:gd name="connsiteY178" fmla="*/ 3251853 h 4444293"/>
              <a:gd name="connsiteX179" fmla="*/ 2841929 w 4618181"/>
              <a:gd name="connsiteY179" fmla="*/ 3228755 h 4444293"/>
              <a:gd name="connsiteX180" fmla="*/ 2820945 w 4618181"/>
              <a:gd name="connsiteY180" fmla="*/ 3232955 h 4444293"/>
              <a:gd name="connsiteX181" fmla="*/ 2813701 w 4618181"/>
              <a:gd name="connsiteY181" fmla="*/ 3248271 h 4444293"/>
              <a:gd name="connsiteX182" fmla="*/ 2802585 w 4618181"/>
              <a:gd name="connsiteY182" fmla="*/ 3234931 h 4444293"/>
              <a:gd name="connsiteX183" fmla="*/ 2788221 w 4618181"/>
              <a:gd name="connsiteY183" fmla="*/ 3240119 h 4444293"/>
              <a:gd name="connsiteX184" fmla="*/ 2787596 w 4618181"/>
              <a:gd name="connsiteY184" fmla="*/ 3257164 h 4444293"/>
              <a:gd name="connsiteX185" fmla="*/ 2768611 w 4618181"/>
              <a:gd name="connsiteY185" fmla="*/ 3260005 h 4444293"/>
              <a:gd name="connsiteX186" fmla="*/ 2768111 w 4618181"/>
              <a:gd name="connsiteY186" fmla="*/ 3294096 h 4444293"/>
              <a:gd name="connsiteX187" fmla="*/ 2746378 w 4618181"/>
              <a:gd name="connsiteY187" fmla="*/ 3312006 h 4444293"/>
              <a:gd name="connsiteX188" fmla="*/ 2731515 w 4618181"/>
              <a:gd name="connsiteY188" fmla="*/ 3306818 h 4444293"/>
              <a:gd name="connsiteX189" fmla="*/ 2720273 w 4618181"/>
              <a:gd name="connsiteY189" fmla="*/ 3290267 h 4444293"/>
              <a:gd name="connsiteX190" fmla="*/ 2685051 w 4618181"/>
              <a:gd name="connsiteY190" fmla="*/ 3286561 h 4444293"/>
              <a:gd name="connsiteX191" fmla="*/ 2671686 w 4618181"/>
              <a:gd name="connsiteY191" fmla="*/ 3269516 h 4444293"/>
              <a:gd name="connsiteX192" fmla="*/ 2654324 w 4618181"/>
              <a:gd name="connsiteY192" fmla="*/ 3280756 h 4444293"/>
              <a:gd name="connsiteX193" fmla="*/ 2657322 w 4618181"/>
              <a:gd name="connsiteY193" fmla="*/ 3303483 h 4444293"/>
              <a:gd name="connsiteX194" fmla="*/ 2646206 w 4618181"/>
              <a:gd name="connsiteY194" fmla="*/ 3321640 h 4444293"/>
              <a:gd name="connsiteX195" fmla="*/ 2635464 w 4618181"/>
              <a:gd name="connsiteY195" fmla="*/ 3318799 h 4444293"/>
              <a:gd name="connsiteX196" fmla="*/ 2633216 w 4618181"/>
              <a:gd name="connsiteY196" fmla="*/ 3297925 h 4444293"/>
              <a:gd name="connsiteX197" fmla="*/ 2625472 w 4618181"/>
              <a:gd name="connsiteY197" fmla="*/ 3285820 h 4444293"/>
              <a:gd name="connsiteX198" fmla="*/ 2610858 w 4618181"/>
              <a:gd name="connsiteY198" fmla="*/ 3285079 h 4444293"/>
              <a:gd name="connsiteX199" fmla="*/ 2584253 w 4618181"/>
              <a:gd name="connsiteY199" fmla="*/ 3267293 h 4444293"/>
              <a:gd name="connsiteX200" fmla="*/ 2568890 w 4618181"/>
              <a:gd name="connsiteY200" fmla="*/ 3249012 h 4444293"/>
              <a:gd name="connsiteX201" fmla="*/ 2549031 w 4618181"/>
              <a:gd name="connsiteY201" fmla="*/ 3249877 h 4444293"/>
              <a:gd name="connsiteX202" fmla="*/ 2529546 w 4618181"/>
              <a:gd name="connsiteY202" fmla="*/ 3227149 h 4444293"/>
              <a:gd name="connsiteX203" fmla="*/ 2518929 w 4618181"/>
              <a:gd name="connsiteY203" fmla="*/ 3226902 h 4444293"/>
              <a:gd name="connsiteX204" fmla="*/ 2509061 w 4618181"/>
              <a:gd name="connsiteY204" fmla="*/ 3213562 h 4444293"/>
              <a:gd name="connsiteX205" fmla="*/ 2493823 w 4618181"/>
              <a:gd name="connsiteY205" fmla="*/ 3213562 h 4444293"/>
              <a:gd name="connsiteX206" fmla="*/ 2461223 w 4618181"/>
              <a:gd name="connsiteY206" fmla="*/ 3225420 h 4444293"/>
              <a:gd name="connsiteX207" fmla="*/ 2440115 w 4618181"/>
              <a:gd name="connsiteY207" fmla="*/ 3212574 h 4444293"/>
              <a:gd name="connsiteX208" fmla="*/ 2429123 w 4618181"/>
              <a:gd name="connsiteY208" fmla="*/ 3188859 h 4444293"/>
              <a:gd name="connsiteX209" fmla="*/ 2412636 w 4618181"/>
              <a:gd name="connsiteY209" fmla="*/ 3190218 h 4444293"/>
              <a:gd name="connsiteX210" fmla="*/ 2394025 w 4618181"/>
              <a:gd name="connsiteY210" fmla="*/ 3204052 h 4444293"/>
              <a:gd name="connsiteX211" fmla="*/ 2376289 w 4618181"/>
              <a:gd name="connsiteY211" fmla="*/ 3206769 h 4444293"/>
              <a:gd name="connsiteX212" fmla="*/ 2374166 w 4618181"/>
              <a:gd name="connsiteY212" fmla="*/ 3218009 h 4444293"/>
              <a:gd name="connsiteX213" fmla="*/ 2362800 w 4618181"/>
              <a:gd name="connsiteY213" fmla="*/ 3230978 h 4444293"/>
              <a:gd name="connsiteX214" fmla="*/ 2361426 w 4618181"/>
              <a:gd name="connsiteY214" fmla="*/ 3215292 h 4444293"/>
              <a:gd name="connsiteX215" fmla="*/ 2349185 w 4618181"/>
              <a:gd name="connsiteY215" fmla="*/ 3223691 h 4444293"/>
              <a:gd name="connsiteX216" fmla="*/ 2345063 w 4618181"/>
              <a:gd name="connsiteY216" fmla="*/ 3237648 h 4444293"/>
              <a:gd name="connsiteX217" fmla="*/ 2328326 w 4618181"/>
              <a:gd name="connsiteY217" fmla="*/ 3248148 h 4444293"/>
              <a:gd name="connsiteX218" fmla="*/ 2318709 w 4618181"/>
              <a:gd name="connsiteY218" fmla="*/ 3239378 h 4444293"/>
              <a:gd name="connsiteX219" fmla="*/ 2330574 w 4618181"/>
              <a:gd name="connsiteY219" fmla="*/ 3223815 h 4444293"/>
              <a:gd name="connsiteX220" fmla="*/ 2332698 w 4618181"/>
              <a:gd name="connsiteY220" fmla="*/ 3211957 h 4444293"/>
              <a:gd name="connsiteX221" fmla="*/ 2310465 w 4618181"/>
              <a:gd name="connsiteY221" fmla="*/ 3203804 h 4444293"/>
              <a:gd name="connsiteX222" fmla="*/ 2282736 w 4618181"/>
              <a:gd name="connsiteY222" fmla="*/ 3189229 h 4444293"/>
              <a:gd name="connsiteX223" fmla="*/ 2278615 w 4618181"/>
              <a:gd name="connsiteY223" fmla="*/ 3201211 h 4444293"/>
              <a:gd name="connsiteX224" fmla="*/ 2283985 w 4618181"/>
              <a:gd name="connsiteY224" fmla="*/ 3217391 h 4444293"/>
              <a:gd name="connsiteX225" fmla="*/ 2282112 w 4618181"/>
              <a:gd name="connsiteY225" fmla="*/ 3233819 h 4444293"/>
              <a:gd name="connsiteX226" fmla="*/ 2262752 w 4618181"/>
              <a:gd name="connsiteY226" fmla="*/ 3229373 h 4444293"/>
              <a:gd name="connsiteX227" fmla="*/ 2249387 w 4618181"/>
              <a:gd name="connsiteY227" fmla="*/ 3240366 h 4444293"/>
              <a:gd name="connsiteX228" fmla="*/ 2241768 w 4618181"/>
              <a:gd name="connsiteY228" fmla="*/ 3264946 h 4444293"/>
              <a:gd name="connsiteX229" fmla="*/ 2229278 w 4618181"/>
              <a:gd name="connsiteY229" fmla="*/ 3266181 h 4444293"/>
              <a:gd name="connsiteX230" fmla="*/ 2202923 w 4618181"/>
              <a:gd name="connsiteY230" fmla="*/ 3284338 h 4444293"/>
              <a:gd name="connsiteX231" fmla="*/ 2197802 w 4618181"/>
              <a:gd name="connsiteY231" fmla="*/ 3305460 h 4444293"/>
              <a:gd name="connsiteX232" fmla="*/ 2211791 w 4618181"/>
              <a:gd name="connsiteY232" fmla="*/ 3321270 h 4444293"/>
              <a:gd name="connsiteX233" fmla="*/ 2212790 w 4618181"/>
              <a:gd name="connsiteY233" fmla="*/ 3342885 h 4444293"/>
              <a:gd name="connsiteX234" fmla="*/ 2183063 w 4618181"/>
              <a:gd name="connsiteY234" fmla="*/ 3344121 h 4444293"/>
              <a:gd name="connsiteX235" fmla="*/ 2154835 w 4618181"/>
              <a:gd name="connsiteY235" fmla="*/ 3348567 h 4444293"/>
              <a:gd name="connsiteX236" fmla="*/ 2179066 w 4618181"/>
              <a:gd name="connsiteY236" fmla="*/ 3420208 h 4444293"/>
              <a:gd name="connsiteX237" fmla="*/ 2168200 w 4618181"/>
              <a:gd name="connsiteY237" fmla="*/ 3429842 h 4444293"/>
              <a:gd name="connsiteX238" fmla="*/ 2172696 w 4618181"/>
              <a:gd name="connsiteY238" fmla="*/ 3457139 h 4444293"/>
              <a:gd name="connsiteX239" fmla="*/ 2144343 w 4618181"/>
              <a:gd name="connsiteY239" fmla="*/ 3460968 h 4444293"/>
              <a:gd name="connsiteX240" fmla="*/ 2115865 w 4618181"/>
              <a:gd name="connsiteY240" fmla="*/ 3445158 h 4444293"/>
              <a:gd name="connsiteX241" fmla="*/ 2109245 w 4618181"/>
              <a:gd name="connsiteY241" fmla="*/ 3429101 h 4444293"/>
              <a:gd name="connsiteX242" fmla="*/ 2058410 w 4618181"/>
              <a:gd name="connsiteY242" fmla="*/ 3387352 h 4444293"/>
              <a:gd name="connsiteX243" fmla="*/ 2045919 w 4618181"/>
              <a:gd name="connsiteY243" fmla="*/ 3404891 h 4444293"/>
              <a:gd name="connsiteX244" fmla="*/ 2046918 w 4618181"/>
              <a:gd name="connsiteY244" fmla="*/ 3427742 h 4444293"/>
              <a:gd name="connsiteX245" fmla="*/ 2023811 w 4618181"/>
              <a:gd name="connsiteY245" fmla="*/ 3458869 h 4444293"/>
              <a:gd name="connsiteX246" fmla="*/ 2006325 w 4618181"/>
              <a:gd name="connsiteY246" fmla="*/ 3468133 h 4444293"/>
              <a:gd name="connsiteX247" fmla="*/ 2012945 w 4618181"/>
              <a:gd name="connsiteY247" fmla="*/ 3512352 h 4444293"/>
              <a:gd name="connsiteX248" fmla="*/ 2027434 w 4618181"/>
              <a:gd name="connsiteY248" fmla="*/ 3525445 h 4444293"/>
              <a:gd name="connsiteX249" fmla="*/ 2021938 w 4618181"/>
              <a:gd name="connsiteY249" fmla="*/ 3582016 h 4444293"/>
              <a:gd name="connsiteX250" fmla="*/ 2009447 w 4618181"/>
              <a:gd name="connsiteY250" fmla="*/ 3614007 h 4444293"/>
              <a:gd name="connsiteX251" fmla="*/ 2047793 w 4618181"/>
              <a:gd name="connsiteY251" fmla="*/ 3626729 h 4444293"/>
              <a:gd name="connsiteX252" fmla="*/ 2064780 w 4618181"/>
              <a:gd name="connsiteY252" fmla="*/ 3651556 h 4444293"/>
              <a:gd name="connsiteX253" fmla="*/ 2059409 w 4618181"/>
              <a:gd name="connsiteY253" fmla="*/ 3665514 h 4444293"/>
              <a:gd name="connsiteX254" fmla="*/ 2090260 w 4618181"/>
              <a:gd name="connsiteY254" fmla="*/ 3689106 h 4444293"/>
              <a:gd name="connsiteX255" fmla="*/ 2096880 w 4618181"/>
              <a:gd name="connsiteY255" fmla="*/ 3675025 h 4444293"/>
              <a:gd name="connsiteX256" fmla="*/ 2157083 w 4618181"/>
              <a:gd name="connsiteY256" fmla="*/ 3688859 h 4444293"/>
              <a:gd name="connsiteX257" fmla="*/ 2201050 w 4618181"/>
              <a:gd name="connsiteY257" fmla="*/ 3726285 h 4444293"/>
              <a:gd name="connsiteX258" fmla="*/ 2240769 w 4618181"/>
              <a:gd name="connsiteY258" fmla="*/ 3786191 h 4444293"/>
              <a:gd name="connsiteX259" fmla="*/ 2205796 w 4618181"/>
              <a:gd name="connsiteY259" fmla="*/ 3787673 h 4444293"/>
              <a:gd name="connsiteX260" fmla="*/ 2204422 w 4618181"/>
              <a:gd name="connsiteY260" fmla="*/ 3802742 h 4444293"/>
              <a:gd name="connsiteX261" fmla="*/ 2239145 w 4618181"/>
              <a:gd name="connsiteY261" fmla="*/ 3823493 h 4444293"/>
              <a:gd name="connsiteX262" fmla="*/ 2262627 w 4618181"/>
              <a:gd name="connsiteY262" fmla="*/ 3814600 h 4444293"/>
              <a:gd name="connsiteX263" fmla="*/ 2285734 w 4618181"/>
              <a:gd name="connsiteY263" fmla="*/ 3827940 h 4444293"/>
              <a:gd name="connsiteX264" fmla="*/ 2285734 w 4618181"/>
              <a:gd name="connsiteY264" fmla="*/ 3828187 h 4444293"/>
              <a:gd name="connsiteX265" fmla="*/ 2284985 w 4618181"/>
              <a:gd name="connsiteY265" fmla="*/ 3828187 h 4444293"/>
              <a:gd name="connsiteX266" fmla="*/ 2284360 w 4618181"/>
              <a:gd name="connsiteY266" fmla="*/ 3835474 h 4444293"/>
              <a:gd name="connsiteX267" fmla="*/ 2283736 w 4618181"/>
              <a:gd name="connsiteY267" fmla="*/ 3845109 h 4444293"/>
              <a:gd name="connsiteX268" fmla="*/ 2269996 w 4618181"/>
              <a:gd name="connsiteY268" fmla="*/ 3848320 h 4444293"/>
              <a:gd name="connsiteX269" fmla="*/ 2278240 w 4618181"/>
              <a:gd name="connsiteY269" fmla="*/ 3854867 h 4444293"/>
              <a:gd name="connsiteX270" fmla="*/ 2278989 w 4618181"/>
              <a:gd name="connsiteY270" fmla="*/ 3864995 h 4444293"/>
              <a:gd name="connsiteX271" fmla="*/ 2269122 w 4618181"/>
              <a:gd name="connsiteY271" fmla="*/ 3866107 h 4444293"/>
              <a:gd name="connsiteX272" fmla="*/ 2277990 w 4618181"/>
              <a:gd name="connsiteY272" fmla="*/ 3871295 h 4444293"/>
              <a:gd name="connsiteX273" fmla="*/ 2278490 w 4618181"/>
              <a:gd name="connsiteY273" fmla="*/ 3882164 h 4444293"/>
              <a:gd name="connsiteX274" fmla="*/ 2263751 w 4618181"/>
              <a:gd name="connsiteY274" fmla="*/ 3879200 h 4444293"/>
              <a:gd name="connsiteX275" fmla="*/ 2257256 w 4618181"/>
              <a:gd name="connsiteY275" fmla="*/ 3881794 h 4444293"/>
              <a:gd name="connsiteX276" fmla="*/ 2240144 w 4618181"/>
              <a:gd name="connsiteY276" fmla="*/ 3877965 h 4444293"/>
              <a:gd name="connsiteX277" fmla="*/ 2228278 w 4618181"/>
              <a:gd name="connsiteY277" fmla="*/ 3881053 h 4444293"/>
              <a:gd name="connsiteX278" fmla="*/ 2255382 w 4618181"/>
              <a:gd name="connsiteY278" fmla="*/ 3895010 h 4444293"/>
              <a:gd name="connsiteX279" fmla="*/ 2259504 w 4618181"/>
              <a:gd name="connsiteY279" fmla="*/ 3905015 h 4444293"/>
              <a:gd name="connsiteX280" fmla="*/ 2253134 w 4618181"/>
              <a:gd name="connsiteY280" fmla="*/ 3911191 h 4444293"/>
              <a:gd name="connsiteX281" fmla="*/ 2244266 w 4618181"/>
              <a:gd name="connsiteY281" fmla="*/ 3903039 h 4444293"/>
              <a:gd name="connsiteX282" fmla="*/ 2230152 w 4618181"/>
              <a:gd name="connsiteY282" fmla="*/ 3907238 h 4444293"/>
              <a:gd name="connsiteX283" fmla="*/ 2221783 w 4618181"/>
              <a:gd name="connsiteY283" fmla="*/ 3904027 h 4444293"/>
              <a:gd name="connsiteX284" fmla="*/ 2213165 w 4618181"/>
              <a:gd name="connsiteY284" fmla="*/ 3905015 h 4444293"/>
              <a:gd name="connsiteX285" fmla="*/ 2226655 w 4618181"/>
              <a:gd name="connsiteY285" fmla="*/ 3909338 h 4444293"/>
              <a:gd name="connsiteX286" fmla="*/ 2229652 w 4618181"/>
              <a:gd name="connsiteY286" fmla="*/ 3916749 h 4444293"/>
              <a:gd name="connsiteX287" fmla="*/ 2217412 w 4618181"/>
              <a:gd name="connsiteY287" fmla="*/ 3926507 h 4444293"/>
              <a:gd name="connsiteX288" fmla="*/ 2205171 w 4618181"/>
              <a:gd name="connsiteY288" fmla="*/ 3927001 h 4444293"/>
              <a:gd name="connsiteX289" fmla="*/ 2196553 w 4618181"/>
              <a:gd name="connsiteY289" fmla="*/ 3934289 h 4444293"/>
              <a:gd name="connsiteX290" fmla="*/ 2188559 w 4618181"/>
              <a:gd name="connsiteY290" fmla="*/ 3927124 h 4444293"/>
              <a:gd name="connsiteX291" fmla="*/ 2185062 w 4618181"/>
              <a:gd name="connsiteY291" fmla="*/ 3937747 h 4444293"/>
              <a:gd name="connsiteX292" fmla="*/ 2177942 w 4618181"/>
              <a:gd name="connsiteY292" fmla="*/ 3942070 h 4444293"/>
              <a:gd name="connsiteX293" fmla="*/ 2168699 w 4618181"/>
              <a:gd name="connsiteY293" fmla="*/ 3935277 h 4444293"/>
              <a:gd name="connsiteX294" fmla="*/ 2159332 w 4618181"/>
              <a:gd name="connsiteY294" fmla="*/ 3932436 h 4444293"/>
              <a:gd name="connsiteX295" fmla="*/ 2159332 w 4618181"/>
              <a:gd name="connsiteY295" fmla="*/ 3943923 h 4444293"/>
              <a:gd name="connsiteX296" fmla="*/ 2151588 w 4618181"/>
              <a:gd name="connsiteY296" fmla="*/ 3958498 h 4444293"/>
              <a:gd name="connsiteX297" fmla="*/ 2148465 w 4618181"/>
              <a:gd name="connsiteY297" fmla="*/ 3979002 h 4444293"/>
              <a:gd name="connsiteX298" fmla="*/ 2138847 w 4618181"/>
              <a:gd name="connsiteY298" fmla="*/ 3985919 h 4444293"/>
              <a:gd name="connsiteX299" fmla="*/ 2133727 w 4618181"/>
              <a:gd name="connsiteY299" fmla="*/ 4005188 h 4444293"/>
              <a:gd name="connsiteX300" fmla="*/ 2127107 w 4618181"/>
              <a:gd name="connsiteY300" fmla="*/ 4019886 h 4444293"/>
              <a:gd name="connsiteX301" fmla="*/ 2128605 w 4618181"/>
              <a:gd name="connsiteY301" fmla="*/ 4053236 h 4444293"/>
              <a:gd name="connsiteX302" fmla="*/ 2118988 w 4618181"/>
              <a:gd name="connsiteY302" fmla="*/ 4060894 h 4444293"/>
              <a:gd name="connsiteX303" fmla="*/ 2113742 w 4618181"/>
              <a:gd name="connsiteY303" fmla="*/ 4077446 h 4444293"/>
              <a:gd name="connsiteX304" fmla="*/ 2123734 w 4618181"/>
              <a:gd name="connsiteY304" fmla="*/ 4108449 h 4444293"/>
              <a:gd name="connsiteX305" fmla="*/ 2138973 w 4618181"/>
              <a:gd name="connsiteY305" fmla="*/ 4109807 h 4444293"/>
              <a:gd name="connsiteX306" fmla="*/ 2150089 w 4618181"/>
              <a:gd name="connsiteY306" fmla="*/ 4106102 h 4444293"/>
              <a:gd name="connsiteX307" fmla="*/ 2162579 w 4618181"/>
              <a:gd name="connsiteY307" fmla="*/ 4119936 h 4444293"/>
              <a:gd name="connsiteX308" fmla="*/ 2180066 w 4618181"/>
              <a:gd name="connsiteY308" fmla="*/ 4124382 h 4444293"/>
              <a:gd name="connsiteX309" fmla="*/ 2181315 w 4618181"/>
              <a:gd name="connsiteY309" fmla="*/ 4154397 h 4444293"/>
              <a:gd name="connsiteX310" fmla="*/ 2203048 w 4618181"/>
              <a:gd name="connsiteY310" fmla="*/ 4166502 h 4444293"/>
              <a:gd name="connsiteX311" fmla="*/ 2211916 w 4618181"/>
              <a:gd name="connsiteY311" fmla="*/ 4157609 h 4444293"/>
              <a:gd name="connsiteX312" fmla="*/ 2222533 w 4618181"/>
              <a:gd name="connsiteY312" fmla="*/ 4156497 h 4444293"/>
              <a:gd name="connsiteX313" fmla="*/ 2215913 w 4618181"/>
              <a:gd name="connsiteY313" fmla="*/ 4171814 h 4444293"/>
              <a:gd name="connsiteX314" fmla="*/ 2212041 w 4618181"/>
              <a:gd name="connsiteY314" fmla="*/ 4188982 h 4444293"/>
              <a:gd name="connsiteX315" fmla="*/ 2202673 w 4618181"/>
              <a:gd name="connsiteY315" fmla="*/ 4185400 h 4444293"/>
              <a:gd name="connsiteX316" fmla="*/ 2201424 w 4618181"/>
              <a:gd name="connsiteY316" fmla="*/ 4201211 h 4444293"/>
              <a:gd name="connsiteX317" fmla="*/ 2213915 w 4618181"/>
              <a:gd name="connsiteY317" fmla="*/ 4200717 h 4444293"/>
              <a:gd name="connsiteX318" fmla="*/ 2217037 w 4618181"/>
              <a:gd name="connsiteY318" fmla="*/ 4210351 h 4444293"/>
              <a:gd name="connsiteX319" fmla="*/ 2222783 w 4618181"/>
              <a:gd name="connsiteY319" fmla="*/ 4222579 h 4444293"/>
              <a:gd name="connsiteX320" fmla="*/ 2225905 w 4618181"/>
              <a:gd name="connsiteY320" fmla="*/ 4248642 h 4444293"/>
              <a:gd name="connsiteX321" fmla="*/ 2240394 w 4618181"/>
              <a:gd name="connsiteY321" fmla="*/ 4263711 h 4444293"/>
              <a:gd name="connsiteX322" fmla="*/ 2247514 w 4618181"/>
              <a:gd name="connsiteY322" fmla="*/ 4289526 h 4444293"/>
              <a:gd name="connsiteX323" fmla="*/ 2283736 w 4618181"/>
              <a:gd name="connsiteY323" fmla="*/ 4329916 h 4444293"/>
              <a:gd name="connsiteX324" fmla="*/ 2334322 w 4618181"/>
              <a:gd name="connsiteY324" fmla="*/ 4367095 h 4444293"/>
              <a:gd name="connsiteX325" fmla="*/ 2342815 w 4618181"/>
              <a:gd name="connsiteY325" fmla="*/ 4372530 h 4444293"/>
              <a:gd name="connsiteX326" fmla="*/ 2342066 w 4618181"/>
              <a:gd name="connsiteY326" fmla="*/ 4374259 h 4444293"/>
              <a:gd name="connsiteX327" fmla="*/ 2312713 w 4618181"/>
              <a:gd name="connsiteY327" fmla="*/ 4412673 h 4444293"/>
              <a:gd name="connsiteX328" fmla="*/ 2286858 w 4618181"/>
              <a:gd name="connsiteY328" fmla="*/ 4428236 h 4444293"/>
              <a:gd name="connsiteX329" fmla="*/ 2279614 w 4618181"/>
              <a:gd name="connsiteY329" fmla="*/ 4444294 h 4444293"/>
              <a:gd name="connsiteX330" fmla="*/ 2237147 w 4618181"/>
              <a:gd name="connsiteY330" fmla="*/ 4442194 h 4444293"/>
              <a:gd name="connsiteX331" fmla="*/ 2224282 w 4618181"/>
              <a:gd name="connsiteY331" fmla="*/ 4420455 h 4444293"/>
              <a:gd name="connsiteX332" fmla="*/ 2180440 w 4618181"/>
              <a:gd name="connsiteY332" fmla="*/ 4388217 h 4444293"/>
              <a:gd name="connsiteX333" fmla="*/ 2153961 w 4618181"/>
              <a:gd name="connsiteY333" fmla="*/ 4386735 h 4444293"/>
              <a:gd name="connsiteX334" fmla="*/ 2146092 w 4618181"/>
              <a:gd name="connsiteY334" fmla="*/ 4419837 h 4444293"/>
              <a:gd name="connsiteX335" fmla="*/ 2134726 w 4618181"/>
              <a:gd name="connsiteY335" fmla="*/ 4410203 h 4444293"/>
              <a:gd name="connsiteX336" fmla="*/ 2126482 w 4618181"/>
              <a:gd name="connsiteY336" fmla="*/ 4399210 h 4444293"/>
              <a:gd name="connsiteX337" fmla="*/ 2108746 w 4618181"/>
              <a:gd name="connsiteY337" fmla="*/ 4383152 h 4444293"/>
              <a:gd name="connsiteX338" fmla="*/ 2105124 w 4618181"/>
              <a:gd name="connsiteY338" fmla="*/ 4370924 h 4444293"/>
              <a:gd name="connsiteX339" fmla="*/ 2080767 w 4618181"/>
              <a:gd name="connsiteY339" fmla="*/ 4352149 h 4444293"/>
              <a:gd name="connsiteX340" fmla="*/ 2073023 w 4618181"/>
              <a:gd name="connsiteY340" fmla="*/ 4354620 h 4444293"/>
              <a:gd name="connsiteX341" fmla="*/ 2061407 w 4618181"/>
              <a:gd name="connsiteY341" fmla="*/ 4351656 h 4444293"/>
              <a:gd name="connsiteX342" fmla="*/ 2052914 w 4618181"/>
              <a:gd name="connsiteY342" fmla="*/ 4350420 h 4444293"/>
              <a:gd name="connsiteX343" fmla="*/ 2046169 w 4618181"/>
              <a:gd name="connsiteY343" fmla="*/ 4342268 h 4444293"/>
              <a:gd name="connsiteX344" fmla="*/ 2026309 w 4618181"/>
              <a:gd name="connsiteY344" fmla="*/ 4332263 h 4444293"/>
              <a:gd name="connsiteX345" fmla="*/ 2030057 w 4618181"/>
              <a:gd name="connsiteY345" fmla="*/ 4306819 h 4444293"/>
              <a:gd name="connsiteX346" fmla="*/ 2013070 w 4618181"/>
              <a:gd name="connsiteY346" fmla="*/ 4304348 h 4444293"/>
              <a:gd name="connsiteX347" fmla="*/ 2002078 w 4618181"/>
              <a:gd name="connsiteY347" fmla="*/ 4302495 h 4444293"/>
              <a:gd name="connsiteX348" fmla="*/ 1987714 w 4618181"/>
              <a:gd name="connsiteY348" fmla="*/ 4295455 h 4444293"/>
              <a:gd name="connsiteX349" fmla="*/ 1986590 w 4618181"/>
              <a:gd name="connsiteY349" fmla="*/ 4293231 h 4444293"/>
              <a:gd name="connsiteX350" fmla="*/ 1972351 w 4618181"/>
              <a:gd name="connsiteY350" fmla="*/ 4291379 h 4444293"/>
              <a:gd name="connsiteX351" fmla="*/ 1959736 w 4618181"/>
              <a:gd name="connsiteY351" fmla="*/ 4285697 h 4444293"/>
              <a:gd name="connsiteX352" fmla="*/ 1957488 w 4618181"/>
              <a:gd name="connsiteY352" fmla="*/ 4301013 h 4444293"/>
              <a:gd name="connsiteX353" fmla="*/ 1954240 w 4618181"/>
              <a:gd name="connsiteY353" fmla="*/ 4297802 h 4444293"/>
              <a:gd name="connsiteX354" fmla="*/ 1937253 w 4618181"/>
              <a:gd name="connsiteY354" fmla="*/ 4293602 h 4444293"/>
              <a:gd name="connsiteX355" fmla="*/ 1915645 w 4618181"/>
              <a:gd name="connsiteY355" fmla="*/ 4299531 h 4444293"/>
              <a:gd name="connsiteX356" fmla="*/ 1914896 w 4618181"/>
              <a:gd name="connsiteY356" fmla="*/ 4304595 h 4444293"/>
              <a:gd name="connsiteX357" fmla="*/ 1909899 w 4618181"/>
              <a:gd name="connsiteY357" fmla="*/ 4309783 h 4444293"/>
              <a:gd name="connsiteX358" fmla="*/ 1900157 w 4618181"/>
              <a:gd name="connsiteY358" fmla="*/ 4310277 h 4444293"/>
              <a:gd name="connsiteX359" fmla="*/ 1897159 w 4618181"/>
              <a:gd name="connsiteY359" fmla="*/ 4316947 h 4444293"/>
              <a:gd name="connsiteX360" fmla="*/ 1892788 w 4618181"/>
              <a:gd name="connsiteY360" fmla="*/ 4318182 h 4444293"/>
              <a:gd name="connsiteX361" fmla="*/ 1885044 w 4618181"/>
              <a:gd name="connsiteY361" fmla="*/ 4315465 h 4444293"/>
              <a:gd name="connsiteX362" fmla="*/ 1878798 w 4618181"/>
              <a:gd name="connsiteY362" fmla="*/ 4314353 h 4444293"/>
              <a:gd name="connsiteX363" fmla="*/ 1875676 w 4618181"/>
              <a:gd name="connsiteY363" fmla="*/ 4309783 h 4444293"/>
              <a:gd name="connsiteX364" fmla="*/ 1880422 w 4618181"/>
              <a:gd name="connsiteY364" fmla="*/ 4303607 h 4444293"/>
              <a:gd name="connsiteX365" fmla="*/ 1880922 w 4618181"/>
              <a:gd name="connsiteY365" fmla="*/ 4298543 h 4444293"/>
              <a:gd name="connsiteX366" fmla="*/ 1869306 w 4618181"/>
              <a:gd name="connsiteY366" fmla="*/ 4298049 h 4444293"/>
              <a:gd name="connsiteX367" fmla="*/ 1857565 w 4618181"/>
              <a:gd name="connsiteY367" fmla="*/ 4293108 h 4444293"/>
              <a:gd name="connsiteX368" fmla="*/ 1834957 w 4618181"/>
              <a:gd name="connsiteY368" fmla="*/ 4288044 h 4444293"/>
              <a:gd name="connsiteX369" fmla="*/ 1819594 w 4618181"/>
              <a:gd name="connsiteY369" fmla="*/ 4281868 h 4444293"/>
              <a:gd name="connsiteX370" fmla="*/ 1811725 w 4618181"/>
              <a:gd name="connsiteY370" fmla="*/ 4271740 h 4444293"/>
              <a:gd name="connsiteX371" fmla="*/ 1797236 w 4618181"/>
              <a:gd name="connsiteY371" fmla="*/ 4266428 h 4444293"/>
              <a:gd name="connsiteX372" fmla="*/ 1782248 w 4618181"/>
              <a:gd name="connsiteY372" fmla="*/ 4273345 h 4444293"/>
              <a:gd name="connsiteX373" fmla="*/ 1764137 w 4618181"/>
              <a:gd name="connsiteY373" fmla="*/ 4264946 h 4444293"/>
              <a:gd name="connsiteX374" fmla="*/ 1750273 w 4618181"/>
              <a:gd name="connsiteY374" fmla="*/ 4268775 h 4444293"/>
              <a:gd name="connsiteX375" fmla="*/ 1743778 w 4618181"/>
              <a:gd name="connsiteY375" fmla="*/ 4272481 h 4444293"/>
              <a:gd name="connsiteX376" fmla="*/ 1738282 w 4618181"/>
              <a:gd name="connsiteY376" fmla="*/ 4273222 h 4444293"/>
              <a:gd name="connsiteX377" fmla="*/ 1730538 w 4618181"/>
              <a:gd name="connsiteY377" fmla="*/ 4271245 h 4444293"/>
              <a:gd name="connsiteX378" fmla="*/ 1726416 w 4618181"/>
              <a:gd name="connsiteY378" fmla="*/ 4273839 h 4444293"/>
              <a:gd name="connsiteX379" fmla="*/ 1720421 w 4618181"/>
              <a:gd name="connsiteY379" fmla="*/ 4273469 h 4444293"/>
              <a:gd name="connsiteX380" fmla="*/ 1715050 w 4618181"/>
              <a:gd name="connsiteY380" fmla="*/ 4271245 h 4444293"/>
              <a:gd name="connsiteX381" fmla="*/ 1705557 w 4618181"/>
              <a:gd name="connsiteY381" fmla="*/ 4273592 h 4444293"/>
              <a:gd name="connsiteX382" fmla="*/ 1700311 w 4618181"/>
              <a:gd name="connsiteY382" fmla="*/ 4268898 h 4444293"/>
              <a:gd name="connsiteX383" fmla="*/ 1694441 w 4618181"/>
              <a:gd name="connsiteY383" fmla="*/ 4268034 h 4444293"/>
              <a:gd name="connsiteX384" fmla="*/ 1689944 w 4618181"/>
              <a:gd name="connsiteY384" fmla="*/ 4262105 h 4444293"/>
              <a:gd name="connsiteX385" fmla="*/ 1682825 w 4618181"/>
              <a:gd name="connsiteY385" fmla="*/ 4264452 h 4444293"/>
              <a:gd name="connsiteX386" fmla="*/ 1674706 w 4618181"/>
              <a:gd name="connsiteY386" fmla="*/ 4260994 h 4444293"/>
              <a:gd name="connsiteX387" fmla="*/ 1660717 w 4618181"/>
              <a:gd name="connsiteY387" fmla="*/ 4260994 h 4444293"/>
              <a:gd name="connsiteX388" fmla="*/ 1647352 w 4618181"/>
              <a:gd name="connsiteY388" fmla="*/ 4254323 h 4444293"/>
              <a:gd name="connsiteX389" fmla="*/ 1630116 w 4618181"/>
              <a:gd name="connsiteY389" fmla="*/ 4247653 h 4444293"/>
              <a:gd name="connsiteX390" fmla="*/ 1625369 w 4618181"/>
              <a:gd name="connsiteY390" fmla="*/ 4252841 h 4444293"/>
              <a:gd name="connsiteX391" fmla="*/ 1616251 w 4618181"/>
              <a:gd name="connsiteY391" fmla="*/ 4251482 h 4444293"/>
              <a:gd name="connsiteX392" fmla="*/ 1598640 w 4618181"/>
              <a:gd name="connsiteY392" fmla="*/ 4246912 h 4444293"/>
              <a:gd name="connsiteX393" fmla="*/ 1589147 w 4618181"/>
              <a:gd name="connsiteY393" fmla="*/ 4250000 h 4444293"/>
              <a:gd name="connsiteX394" fmla="*/ 1586399 w 4618181"/>
              <a:gd name="connsiteY394" fmla="*/ 4251482 h 4444293"/>
              <a:gd name="connsiteX395" fmla="*/ 1587149 w 4618181"/>
              <a:gd name="connsiteY395" fmla="*/ 4258647 h 4444293"/>
              <a:gd name="connsiteX396" fmla="*/ 1581778 w 4618181"/>
              <a:gd name="connsiteY396" fmla="*/ 4264699 h 4444293"/>
              <a:gd name="connsiteX397" fmla="*/ 1548054 w 4618181"/>
              <a:gd name="connsiteY397" fmla="*/ 4245183 h 4444293"/>
              <a:gd name="connsiteX398" fmla="*/ 1546305 w 4618181"/>
              <a:gd name="connsiteY398" fmla="*/ 4237278 h 4444293"/>
              <a:gd name="connsiteX399" fmla="*/ 1538811 w 4618181"/>
              <a:gd name="connsiteY399" fmla="*/ 4240736 h 4444293"/>
              <a:gd name="connsiteX400" fmla="*/ 1513830 w 4618181"/>
              <a:gd name="connsiteY400" fmla="*/ 4228632 h 4444293"/>
              <a:gd name="connsiteX401" fmla="*/ 1507835 w 4618181"/>
              <a:gd name="connsiteY401" fmla="*/ 4217886 h 4444293"/>
              <a:gd name="connsiteX402" fmla="*/ 1490973 w 4618181"/>
              <a:gd name="connsiteY402" fmla="*/ 4213069 h 4444293"/>
              <a:gd name="connsiteX403" fmla="*/ 1478233 w 4618181"/>
              <a:gd name="connsiteY403" fmla="*/ 4191576 h 4444293"/>
              <a:gd name="connsiteX404" fmla="*/ 1417405 w 4618181"/>
              <a:gd name="connsiteY404" fmla="*/ 4151556 h 4444293"/>
              <a:gd name="connsiteX405" fmla="*/ 1392799 w 4618181"/>
              <a:gd name="connsiteY405" fmla="*/ 4146369 h 4444293"/>
              <a:gd name="connsiteX406" fmla="*/ 1356452 w 4618181"/>
              <a:gd name="connsiteY406" fmla="*/ 4126606 h 4444293"/>
              <a:gd name="connsiteX407" fmla="*/ 1322603 w 4618181"/>
              <a:gd name="connsiteY407" fmla="*/ 4130806 h 4444293"/>
              <a:gd name="connsiteX408" fmla="*/ 1301619 w 4618181"/>
              <a:gd name="connsiteY408" fmla="*/ 4111043 h 4444293"/>
              <a:gd name="connsiteX409" fmla="*/ 1299621 w 4618181"/>
              <a:gd name="connsiteY409" fmla="*/ 4097332 h 4444293"/>
              <a:gd name="connsiteX410" fmla="*/ 1273766 w 4618181"/>
              <a:gd name="connsiteY410" fmla="*/ 4077816 h 4444293"/>
              <a:gd name="connsiteX411" fmla="*/ 1263399 w 4618181"/>
              <a:gd name="connsiteY411" fmla="*/ 4078928 h 4444293"/>
              <a:gd name="connsiteX412" fmla="*/ 1241791 w 4618181"/>
              <a:gd name="connsiteY412" fmla="*/ 4077075 h 4444293"/>
              <a:gd name="connsiteX413" fmla="*/ 1253781 w 4618181"/>
              <a:gd name="connsiteY413" fmla="*/ 4066206 h 4444293"/>
              <a:gd name="connsiteX414" fmla="*/ 1267396 w 4618181"/>
              <a:gd name="connsiteY414" fmla="*/ 4059412 h 4444293"/>
              <a:gd name="connsiteX415" fmla="*/ 1259902 w 4618181"/>
              <a:gd name="connsiteY415" fmla="*/ 4046690 h 4444293"/>
              <a:gd name="connsiteX416" fmla="*/ 1260276 w 4618181"/>
              <a:gd name="connsiteY416" fmla="*/ 4038414 h 4444293"/>
              <a:gd name="connsiteX417" fmla="*/ 1280636 w 4618181"/>
              <a:gd name="connsiteY417" fmla="*/ 4042367 h 4444293"/>
              <a:gd name="connsiteX418" fmla="*/ 1295624 w 4618181"/>
              <a:gd name="connsiteY418" fmla="*/ 4052742 h 4444293"/>
              <a:gd name="connsiteX419" fmla="*/ 1299621 w 4618181"/>
              <a:gd name="connsiteY419" fmla="*/ 4049778 h 4444293"/>
              <a:gd name="connsiteX420" fmla="*/ 1317732 w 4618181"/>
              <a:gd name="connsiteY420" fmla="*/ 4051754 h 4444293"/>
              <a:gd name="connsiteX421" fmla="*/ 1320730 w 4618181"/>
              <a:gd name="connsiteY421" fmla="*/ 4025445 h 4444293"/>
              <a:gd name="connsiteX422" fmla="*/ 1311487 w 4618181"/>
              <a:gd name="connsiteY422" fmla="*/ 4019640 h 4444293"/>
              <a:gd name="connsiteX423" fmla="*/ 1310737 w 4618181"/>
              <a:gd name="connsiteY423" fmla="*/ 4001112 h 4444293"/>
              <a:gd name="connsiteX424" fmla="*/ 1329348 w 4618181"/>
              <a:gd name="connsiteY424" fmla="*/ 3981102 h 4444293"/>
              <a:gd name="connsiteX425" fmla="*/ 1329098 w 4618181"/>
              <a:gd name="connsiteY425" fmla="*/ 3974185 h 4444293"/>
              <a:gd name="connsiteX426" fmla="*/ 1336343 w 4618181"/>
              <a:gd name="connsiteY426" fmla="*/ 3967021 h 4444293"/>
              <a:gd name="connsiteX427" fmla="*/ 1348958 w 4618181"/>
              <a:gd name="connsiteY427" fmla="*/ 3968503 h 4444293"/>
              <a:gd name="connsiteX428" fmla="*/ 1356077 w 4618181"/>
              <a:gd name="connsiteY428" fmla="*/ 3957263 h 4444293"/>
              <a:gd name="connsiteX429" fmla="*/ 1367693 w 4618181"/>
              <a:gd name="connsiteY429" fmla="*/ 3954052 h 4444293"/>
              <a:gd name="connsiteX430" fmla="*/ 1367319 w 4618181"/>
              <a:gd name="connsiteY430" fmla="*/ 3946517 h 4444293"/>
              <a:gd name="connsiteX431" fmla="*/ 1348333 w 4618181"/>
              <a:gd name="connsiteY431" fmla="*/ 3941823 h 4444293"/>
              <a:gd name="connsiteX432" fmla="*/ 1343087 w 4618181"/>
              <a:gd name="connsiteY432" fmla="*/ 3932436 h 4444293"/>
              <a:gd name="connsiteX433" fmla="*/ 1333720 w 4618181"/>
              <a:gd name="connsiteY433" fmla="*/ 3941082 h 4444293"/>
              <a:gd name="connsiteX434" fmla="*/ 1319980 w 4618181"/>
              <a:gd name="connsiteY434" fmla="*/ 3928607 h 4444293"/>
              <a:gd name="connsiteX435" fmla="*/ 1306366 w 4618181"/>
              <a:gd name="connsiteY435" fmla="*/ 3902421 h 4444293"/>
              <a:gd name="connsiteX436" fmla="*/ 1337342 w 4618181"/>
              <a:gd name="connsiteY436" fmla="*/ 3896986 h 4444293"/>
              <a:gd name="connsiteX437" fmla="*/ 1359699 w 4618181"/>
              <a:gd name="connsiteY437" fmla="*/ 3900198 h 4444293"/>
              <a:gd name="connsiteX438" fmla="*/ 1370941 w 4618181"/>
              <a:gd name="connsiteY438" fmla="*/ 3886611 h 4444293"/>
              <a:gd name="connsiteX439" fmla="*/ 1359075 w 4618181"/>
              <a:gd name="connsiteY439" fmla="*/ 3887105 h 4444293"/>
              <a:gd name="connsiteX440" fmla="*/ 1349707 w 4618181"/>
              <a:gd name="connsiteY440" fmla="*/ 3878582 h 4444293"/>
              <a:gd name="connsiteX441" fmla="*/ 1369192 w 4618181"/>
              <a:gd name="connsiteY441" fmla="*/ 3864007 h 4444293"/>
              <a:gd name="connsiteX442" fmla="*/ 1415906 w 4618181"/>
              <a:gd name="connsiteY442" fmla="*/ 3836586 h 4444293"/>
              <a:gd name="connsiteX443" fmla="*/ 1420153 w 4618181"/>
              <a:gd name="connsiteY443" fmla="*/ 3822629 h 4444293"/>
              <a:gd name="connsiteX444" fmla="*/ 1414157 w 4618181"/>
              <a:gd name="connsiteY444" fmla="*/ 3813241 h 4444293"/>
              <a:gd name="connsiteX445" fmla="*/ 1390051 w 4618181"/>
              <a:gd name="connsiteY445" fmla="*/ 3817688 h 4444293"/>
              <a:gd name="connsiteX446" fmla="*/ 1370566 w 4618181"/>
              <a:gd name="connsiteY446" fmla="*/ 3832263 h 4444293"/>
              <a:gd name="connsiteX447" fmla="*/ 1351706 w 4618181"/>
              <a:gd name="connsiteY447" fmla="*/ 3829669 h 4444293"/>
              <a:gd name="connsiteX448" fmla="*/ 1348083 w 4618181"/>
              <a:gd name="connsiteY448" fmla="*/ 3831151 h 4444293"/>
              <a:gd name="connsiteX449" fmla="*/ 1347709 w 4618181"/>
              <a:gd name="connsiteY449" fmla="*/ 3830287 h 4444293"/>
              <a:gd name="connsiteX450" fmla="*/ 1351081 w 4618181"/>
              <a:gd name="connsiteY450" fmla="*/ 3789155 h 4444293"/>
              <a:gd name="connsiteX451" fmla="*/ 1362822 w 4618181"/>
              <a:gd name="connsiteY451" fmla="*/ 3783474 h 4444293"/>
              <a:gd name="connsiteX452" fmla="*/ 1381308 w 4618181"/>
              <a:gd name="connsiteY452" fmla="*/ 3751235 h 4444293"/>
              <a:gd name="connsiteX453" fmla="*/ 1425524 w 4618181"/>
              <a:gd name="connsiteY453" fmla="*/ 3746665 h 4444293"/>
              <a:gd name="connsiteX454" fmla="*/ 1441511 w 4618181"/>
              <a:gd name="connsiteY454" fmla="*/ 3733572 h 4444293"/>
              <a:gd name="connsiteX455" fmla="*/ 1437140 w 4618181"/>
              <a:gd name="connsiteY455" fmla="*/ 3710845 h 4444293"/>
              <a:gd name="connsiteX456" fmla="*/ 1446882 w 4618181"/>
              <a:gd name="connsiteY456" fmla="*/ 3677001 h 4444293"/>
              <a:gd name="connsiteX457" fmla="*/ 1441761 w 4618181"/>
              <a:gd name="connsiteY457" fmla="*/ 3651062 h 4444293"/>
              <a:gd name="connsiteX458" fmla="*/ 1414532 w 4618181"/>
              <a:gd name="connsiteY458" fmla="*/ 3633893 h 4444293"/>
              <a:gd name="connsiteX459" fmla="*/ 1418779 w 4618181"/>
              <a:gd name="connsiteY459" fmla="*/ 3594368 h 4444293"/>
              <a:gd name="connsiteX460" fmla="*/ 1437764 w 4618181"/>
              <a:gd name="connsiteY460" fmla="*/ 3589674 h 4444293"/>
              <a:gd name="connsiteX461" fmla="*/ 1452128 w 4618181"/>
              <a:gd name="connsiteY461" fmla="*/ 3568800 h 4444293"/>
              <a:gd name="connsiteX462" fmla="*/ 1450379 w 4618181"/>
              <a:gd name="connsiteY462" fmla="*/ 3544590 h 4444293"/>
              <a:gd name="connsiteX463" fmla="*/ 1437514 w 4618181"/>
              <a:gd name="connsiteY463" fmla="*/ 3537920 h 4444293"/>
              <a:gd name="connsiteX464" fmla="*/ 1428646 w 4618181"/>
              <a:gd name="connsiteY464" fmla="*/ 3517293 h 4444293"/>
              <a:gd name="connsiteX465" fmla="*/ 1415406 w 4618181"/>
              <a:gd name="connsiteY465" fmla="*/ 3531621 h 4444293"/>
              <a:gd name="connsiteX466" fmla="*/ 1387428 w 4618181"/>
              <a:gd name="connsiteY466" fmla="*/ 3527545 h 4444293"/>
              <a:gd name="connsiteX467" fmla="*/ 1363072 w 4618181"/>
              <a:gd name="connsiteY467" fmla="*/ 3514205 h 4444293"/>
              <a:gd name="connsiteX468" fmla="*/ 1343462 w 4618181"/>
              <a:gd name="connsiteY468" fmla="*/ 3518281 h 4444293"/>
              <a:gd name="connsiteX469" fmla="*/ 1325851 w 4618181"/>
              <a:gd name="connsiteY469" fmla="*/ 3508523 h 4444293"/>
              <a:gd name="connsiteX470" fmla="*/ 1301370 w 4618181"/>
              <a:gd name="connsiteY470" fmla="*/ 3508893 h 4444293"/>
              <a:gd name="connsiteX471" fmla="*/ 1268020 w 4618181"/>
              <a:gd name="connsiteY471" fmla="*/ 3503088 h 4444293"/>
              <a:gd name="connsiteX472" fmla="*/ 1256030 w 4618181"/>
              <a:gd name="connsiteY472" fmla="*/ 3516057 h 4444293"/>
              <a:gd name="connsiteX473" fmla="*/ 1246662 w 4618181"/>
              <a:gd name="connsiteY473" fmla="*/ 3498765 h 4444293"/>
              <a:gd name="connsiteX474" fmla="*/ 1217559 w 4618181"/>
              <a:gd name="connsiteY474" fmla="*/ 3482337 h 4444293"/>
              <a:gd name="connsiteX475" fmla="*/ 1195077 w 4618181"/>
              <a:gd name="connsiteY475" fmla="*/ 3438735 h 4444293"/>
              <a:gd name="connsiteX476" fmla="*/ 1180713 w 4618181"/>
              <a:gd name="connsiteY476" fmla="*/ 3441329 h 4444293"/>
              <a:gd name="connsiteX477" fmla="*/ 1150611 w 4618181"/>
              <a:gd name="connsiteY477" fmla="*/ 3466156 h 4444293"/>
              <a:gd name="connsiteX478" fmla="*/ 1130626 w 4618181"/>
              <a:gd name="connsiteY478" fmla="*/ 3463068 h 4444293"/>
              <a:gd name="connsiteX479" fmla="*/ 1109768 w 4618181"/>
              <a:gd name="connsiteY479" fmla="*/ 3469862 h 4444293"/>
              <a:gd name="connsiteX480" fmla="*/ 1083413 w 4618181"/>
              <a:gd name="connsiteY480" fmla="*/ 3457263 h 4444293"/>
              <a:gd name="connsiteX481" fmla="*/ 1067675 w 4618181"/>
              <a:gd name="connsiteY481" fmla="*/ 3476285 h 4444293"/>
              <a:gd name="connsiteX482" fmla="*/ 1024334 w 4618181"/>
              <a:gd name="connsiteY482" fmla="*/ 3438241 h 4444293"/>
              <a:gd name="connsiteX483" fmla="*/ 1013217 w 4618181"/>
              <a:gd name="connsiteY483" fmla="*/ 3409214 h 4444293"/>
              <a:gd name="connsiteX484" fmla="*/ 1012093 w 4618181"/>
              <a:gd name="connsiteY484" fmla="*/ 3384388 h 4444293"/>
              <a:gd name="connsiteX485" fmla="*/ 994731 w 4618181"/>
              <a:gd name="connsiteY485" fmla="*/ 3382535 h 4444293"/>
              <a:gd name="connsiteX486" fmla="*/ 991234 w 4618181"/>
              <a:gd name="connsiteY486" fmla="*/ 3363636 h 4444293"/>
              <a:gd name="connsiteX487" fmla="*/ 972124 w 4618181"/>
              <a:gd name="connsiteY487" fmla="*/ 3348691 h 4444293"/>
              <a:gd name="connsiteX488" fmla="*/ 921538 w 4618181"/>
              <a:gd name="connsiteY488" fmla="*/ 3358078 h 4444293"/>
              <a:gd name="connsiteX489" fmla="*/ 895058 w 4618181"/>
              <a:gd name="connsiteY489" fmla="*/ 3326458 h 4444293"/>
              <a:gd name="connsiteX490" fmla="*/ 904676 w 4618181"/>
              <a:gd name="connsiteY490" fmla="*/ 3305706 h 4444293"/>
              <a:gd name="connsiteX491" fmla="*/ 884816 w 4618181"/>
              <a:gd name="connsiteY491" fmla="*/ 3290885 h 4444293"/>
              <a:gd name="connsiteX492" fmla="*/ 869079 w 4618181"/>
              <a:gd name="connsiteY492" fmla="*/ 3249630 h 4444293"/>
              <a:gd name="connsiteX493" fmla="*/ 847970 w 4618181"/>
              <a:gd name="connsiteY493" fmla="*/ 3249259 h 4444293"/>
              <a:gd name="connsiteX494" fmla="*/ 825362 w 4618181"/>
              <a:gd name="connsiteY494" fmla="*/ 3262599 h 4444293"/>
              <a:gd name="connsiteX495" fmla="*/ 778399 w 4618181"/>
              <a:gd name="connsiteY495" fmla="*/ 3264575 h 4444293"/>
              <a:gd name="connsiteX496" fmla="*/ 732184 w 4618181"/>
              <a:gd name="connsiteY496" fmla="*/ 3251482 h 4444293"/>
              <a:gd name="connsiteX497" fmla="*/ 718820 w 4618181"/>
              <a:gd name="connsiteY497" fmla="*/ 3264452 h 4444293"/>
              <a:gd name="connsiteX498" fmla="*/ 721692 w 4618181"/>
              <a:gd name="connsiteY498" fmla="*/ 3283350 h 4444293"/>
              <a:gd name="connsiteX499" fmla="*/ 700834 w 4618181"/>
              <a:gd name="connsiteY499" fmla="*/ 3288785 h 4444293"/>
              <a:gd name="connsiteX500" fmla="*/ 685970 w 4618181"/>
              <a:gd name="connsiteY500" fmla="*/ 3286067 h 4444293"/>
              <a:gd name="connsiteX501" fmla="*/ 684971 w 4618181"/>
              <a:gd name="connsiteY501" fmla="*/ 3263093 h 4444293"/>
              <a:gd name="connsiteX502" fmla="*/ 662738 w 4618181"/>
              <a:gd name="connsiteY502" fmla="*/ 3240489 h 4444293"/>
              <a:gd name="connsiteX503" fmla="*/ 664237 w 4618181"/>
              <a:gd name="connsiteY503" fmla="*/ 3215539 h 4444293"/>
              <a:gd name="connsiteX504" fmla="*/ 644377 w 4618181"/>
              <a:gd name="connsiteY504" fmla="*/ 3187500 h 4444293"/>
              <a:gd name="connsiteX505" fmla="*/ 642129 w 4618181"/>
              <a:gd name="connsiteY505" fmla="*/ 3165267 h 4444293"/>
              <a:gd name="connsiteX506" fmla="*/ 649373 w 4618181"/>
              <a:gd name="connsiteY506" fmla="*/ 3150568 h 4444293"/>
              <a:gd name="connsiteX507" fmla="*/ 669982 w 4618181"/>
              <a:gd name="connsiteY507" fmla="*/ 3167984 h 4444293"/>
              <a:gd name="connsiteX508" fmla="*/ 717321 w 4618181"/>
              <a:gd name="connsiteY508" fmla="*/ 3159462 h 4444293"/>
              <a:gd name="connsiteX509" fmla="*/ 734557 w 4618181"/>
              <a:gd name="connsiteY509" fmla="*/ 3128582 h 4444293"/>
              <a:gd name="connsiteX510" fmla="*/ 744800 w 4618181"/>
              <a:gd name="connsiteY510" fmla="*/ 3118948 h 4444293"/>
              <a:gd name="connsiteX511" fmla="*/ 720318 w 4618181"/>
              <a:gd name="connsiteY511" fmla="*/ 3104249 h 4444293"/>
              <a:gd name="connsiteX512" fmla="*/ 716946 w 4618181"/>
              <a:gd name="connsiteY512" fmla="*/ 3087327 h 4444293"/>
              <a:gd name="connsiteX513" fmla="*/ 681224 w 4618181"/>
              <a:gd name="connsiteY513" fmla="*/ 3058671 h 4444293"/>
              <a:gd name="connsiteX514" fmla="*/ 650373 w 4618181"/>
              <a:gd name="connsiteY514" fmla="*/ 3052125 h 4444293"/>
              <a:gd name="connsiteX515" fmla="*/ 641130 w 4618181"/>
              <a:gd name="connsiteY515" fmla="*/ 3022357 h 4444293"/>
              <a:gd name="connsiteX516" fmla="*/ 622019 w 4618181"/>
              <a:gd name="connsiteY516" fmla="*/ 3010005 h 4444293"/>
              <a:gd name="connsiteX517" fmla="*/ 596789 w 4618181"/>
              <a:gd name="connsiteY517" fmla="*/ 2978261 h 4444293"/>
              <a:gd name="connsiteX518" fmla="*/ 585173 w 4618181"/>
              <a:gd name="connsiteY518" fmla="*/ 2953804 h 4444293"/>
              <a:gd name="connsiteX519" fmla="*/ 563065 w 4618181"/>
              <a:gd name="connsiteY519" fmla="*/ 2932436 h 4444293"/>
              <a:gd name="connsiteX520" fmla="*/ 561816 w 4618181"/>
              <a:gd name="connsiteY520" fmla="*/ 2905015 h 4444293"/>
              <a:gd name="connsiteX521" fmla="*/ 545079 w 4618181"/>
              <a:gd name="connsiteY521" fmla="*/ 2887352 h 4444293"/>
              <a:gd name="connsiteX522" fmla="*/ 550700 w 4618181"/>
              <a:gd name="connsiteY522" fmla="*/ 2863513 h 4444293"/>
              <a:gd name="connsiteX523" fmla="*/ 544579 w 4618181"/>
              <a:gd name="connsiteY523" fmla="*/ 2842762 h 4444293"/>
              <a:gd name="connsiteX524" fmla="*/ 504235 w 4618181"/>
              <a:gd name="connsiteY524" fmla="*/ 2830040 h 4444293"/>
              <a:gd name="connsiteX525" fmla="*/ 490996 w 4618181"/>
              <a:gd name="connsiteY525" fmla="*/ 2830657 h 4444293"/>
              <a:gd name="connsiteX526" fmla="*/ 479754 w 4618181"/>
              <a:gd name="connsiteY526" fmla="*/ 2818059 h 4444293"/>
              <a:gd name="connsiteX527" fmla="*/ 453650 w 4618181"/>
              <a:gd name="connsiteY527" fmla="*/ 2827075 h 4444293"/>
              <a:gd name="connsiteX528" fmla="*/ 430667 w 4618181"/>
              <a:gd name="connsiteY528" fmla="*/ 2846467 h 4444293"/>
              <a:gd name="connsiteX529" fmla="*/ 412182 w 4618181"/>
              <a:gd name="connsiteY529" fmla="*/ 2817070 h 4444293"/>
              <a:gd name="connsiteX530" fmla="*/ 392197 w 4618181"/>
              <a:gd name="connsiteY530" fmla="*/ 2815341 h 4444293"/>
              <a:gd name="connsiteX531" fmla="*/ 370214 w 4618181"/>
              <a:gd name="connsiteY531" fmla="*/ 2826705 h 4444293"/>
              <a:gd name="connsiteX532" fmla="*/ 350354 w 4618181"/>
              <a:gd name="connsiteY532" fmla="*/ 2798666 h 4444293"/>
              <a:gd name="connsiteX533" fmla="*/ 330994 w 4618181"/>
              <a:gd name="connsiteY533" fmla="*/ 2811265 h 4444293"/>
              <a:gd name="connsiteX534" fmla="*/ 314632 w 4618181"/>
              <a:gd name="connsiteY534" fmla="*/ 2801507 h 4444293"/>
              <a:gd name="connsiteX535" fmla="*/ 307388 w 4618181"/>
              <a:gd name="connsiteY535" fmla="*/ 2803483 h 4444293"/>
              <a:gd name="connsiteX536" fmla="*/ 303141 w 4618181"/>
              <a:gd name="connsiteY536" fmla="*/ 2778039 h 4444293"/>
              <a:gd name="connsiteX537" fmla="*/ 289901 w 4618181"/>
              <a:gd name="connsiteY537" fmla="*/ 2761611 h 4444293"/>
              <a:gd name="connsiteX538" fmla="*/ 278785 w 4618181"/>
              <a:gd name="connsiteY538" fmla="*/ 2735919 h 4444293"/>
              <a:gd name="connsiteX539" fmla="*/ 272415 w 4618181"/>
              <a:gd name="connsiteY539" fmla="*/ 2727643 h 4444293"/>
              <a:gd name="connsiteX540" fmla="*/ 259549 w 4618181"/>
              <a:gd name="connsiteY540" fmla="*/ 2705904 h 4444293"/>
              <a:gd name="connsiteX541" fmla="*/ 261673 w 4618181"/>
              <a:gd name="connsiteY541" fmla="*/ 2694047 h 4444293"/>
              <a:gd name="connsiteX542" fmla="*/ 255802 w 4618181"/>
              <a:gd name="connsiteY542" fmla="*/ 2679224 h 4444293"/>
              <a:gd name="connsiteX543" fmla="*/ 247559 w 4618181"/>
              <a:gd name="connsiteY543" fmla="*/ 2672307 h 4444293"/>
              <a:gd name="connsiteX544" fmla="*/ 251181 w 4618181"/>
              <a:gd name="connsiteY544" fmla="*/ 2663661 h 4444293"/>
              <a:gd name="connsiteX545" fmla="*/ 247933 w 4618181"/>
              <a:gd name="connsiteY545" fmla="*/ 2648098 h 4444293"/>
              <a:gd name="connsiteX546" fmla="*/ 229573 w 4618181"/>
              <a:gd name="connsiteY546" fmla="*/ 2646245 h 4444293"/>
              <a:gd name="connsiteX547" fmla="*/ 242313 w 4618181"/>
              <a:gd name="connsiteY547" fmla="*/ 2625371 h 4444293"/>
              <a:gd name="connsiteX548" fmla="*/ 238940 w 4618181"/>
              <a:gd name="connsiteY548" fmla="*/ 2608449 h 4444293"/>
              <a:gd name="connsiteX549" fmla="*/ 252930 w 4618181"/>
              <a:gd name="connsiteY549" fmla="*/ 2595356 h 4444293"/>
              <a:gd name="connsiteX550" fmla="*/ 252180 w 4618181"/>
              <a:gd name="connsiteY550" fmla="*/ 2577075 h 4444293"/>
              <a:gd name="connsiteX551" fmla="*/ 206590 w 4618181"/>
              <a:gd name="connsiteY551" fmla="*/ 2503088 h 4444293"/>
              <a:gd name="connsiteX552" fmla="*/ 210213 w 4618181"/>
              <a:gd name="connsiteY552" fmla="*/ 2434906 h 4444293"/>
              <a:gd name="connsiteX553" fmla="*/ 220580 w 4618181"/>
              <a:gd name="connsiteY553" fmla="*/ 2427125 h 4444293"/>
              <a:gd name="connsiteX554" fmla="*/ 225701 w 4618181"/>
              <a:gd name="connsiteY554" fmla="*/ 2400939 h 4444293"/>
              <a:gd name="connsiteX555" fmla="*/ 239315 w 4618181"/>
              <a:gd name="connsiteY555" fmla="*/ 2382288 h 4444293"/>
              <a:gd name="connsiteX556" fmla="*/ 241438 w 4618181"/>
              <a:gd name="connsiteY556" fmla="*/ 2376482 h 4444293"/>
              <a:gd name="connsiteX557" fmla="*/ 240189 w 4618181"/>
              <a:gd name="connsiteY557" fmla="*/ 2373641 h 4444293"/>
              <a:gd name="connsiteX558" fmla="*/ 231196 w 4618181"/>
              <a:gd name="connsiteY558" fmla="*/ 2359931 h 4444293"/>
              <a:gd name="connsiteX559" fmla="*/ 230822 w 4618181"/>
              <a:gd name="connsiteY559" fmla="*/ 2358202 h 4444293"/>
              <a:gd name="connsiteX560" fmla="*/ 235693 w 4618181"/>
              <a:gd name="connsiteY560" fmla="*/ 2338192 h 4444293"/>
              <a:gd name="connsiteX561" fmla="*/ 226825 w 4618181"/>
              <a:gd name="connsiteY561" fmla="*/ 2324852 h 4444293"/>
              <a:gd name="connsiteX562" fmla="*/ 226325 w 4618181"/>
              <a:gd name="connsiteY562" fmla="*/ 2314476 h 4444293"/>
              <a:gd name="connsiteX563" fmla="*/ 234569 w 4618181"/>
              <a:gd name="connsiteY563" fmla="*/ 2311389 h 4444293"/>
              <a:gd name="connsiteX564" fmla="*/ 242812 w 4618181"/>
              <a:gd name="connsiteY564" fmla="*/ 2326211 h 4444293"/>
              <a:gd name="connsiteX565" fmla="*/ 259300 w 4618181"/>
              <a:gd name="connsiteY565" fmla="*/ 2320035 h 4444293"/>
              <a:gd name="connsiteX566" fmla="*/ 257176 w 4618181"/>
              <a:gd name="connsiteY566" fmla="*/ 2302248 h 4444293"/>
              <a:gd name="connsiteX567" fmla="*/ 267169 w 4618181"/>
              <a:gd name="connsiteY567" fmla="*/ 2293602 h 4444293"/>
              <a:gd name="connsiteX568" fmla="*/ 285654 w 4618181"/>
              <a:gd name="connsiteY568" fmla="*/ 2303854 h 4444293"/>
              <a:gd name="connsiteX569" fmla="*/ 307138 w 4618181"/>
              <a:gd name="connsiteY569" fmla="*/ 2286438 h 4444293"/>
              <a:gd name="connsiteX570" fmla="*/ 311260 w 4618181"/>
              <a:gd name="connsiteY570" fmla="*/ 2270504 h 4444293"/>
              <a:gd name="connsiteX571" fmla="*/ 322251 w 4618181"/>
              <a:gd name="connsiteY571" fmla="*/ 2265934 h 4444293"/>
              <a:gd name="connsiteX572" fmla="*/ 349730 w 4618181"/>
              <a:gd name="connsiteY572" fmla="*/ 2273716 h 4444293"/>
              <a:gd name="connsiteX573" fmla="*/ 360222 w 4618181"/>
              <a:gd name="connsiteY573" fmla="*/ 2259511 h 4444293"/>
              <a:gd name="connsiteX574" fmla="*/ 343360 w 4618181"/>
              <a:gd name="connsiteY574" fmla="*/ 2237525 h 4444293"/>
              <a:gd name="connsiteX575" fmla="*/ 328871 w 4618181"/>
              <a:gd name="connsiteY575" fmla="*/ 2238142 h 4444293"/>
              <a:gd name="connsiteX576" fmla="*/ 320627 w 4618181"/>
              <a:gd name="connsiteY576" fmla="*/ 2241971 h 4444293"/>
              <a:gd name="connsiteX577" fmla="*/ 299768 w 4618181"/>
              <a:gd name="connsiteY577" fmla="*/ 2242836 h 4444293"/>
              <a:gd name="connsiteX578" fmla="*/ 287153 w 4618181"/>
              <a:gd name="connsiteY578" fmla="*/ 2226161 h 4444293"/>
              <a:gd name="connsiteX579" fmla="*/ 265545 w 4618181"/>
              <a:gd name="connsiteY579" fmla="*/ 2225667 h 4444293"/>
              <a:gd name="connsiteX580" fmla="*/ 243062 w 4618181"/>
              <a:gd name="connsiteY580" fmla="*/ 2203310 h 4444293"/>
              <a:gd name="connsiteX581" fmla="*/ 245935 w 4618181"/>
              <a:gd name="connsiteY581" fmla="*/ 2191453 h 4444293"/>
              <a:gd name="connsiteX582" fmla="*/ 266794 w 4618181"/>
              <a:gd name="connsiteY582" fmla="*/ 2207016 h 4444293"/>
              <a:gd name="connsiteX583" fmla="*/ 266169 w 4618181"/>
              <a:gd name="connsiteY583" fmla="*/ 2191206 h 4444293"/>
              <a:gd name="connsiteX584" fmla="*/ 259425 w 4618181"/>
              <a:gd name="connsiteY584" fmla="*/ 2179842 h 4444293"/>
              <a:gd name="connsiteX585" fmla="*/ 272040 w 4618181"/>
              <a:gd name="connsiteY585" fmla="*/ 2168231 h 4444293"/>
              <a:gd name="connsiteX586" fmla="*/ 252055 w 4618181"/>
              <a:gd name="connsiteY586" fmla="*/ 2172554 h 4444293"/>
              <a:gd name="connsiteX587" fmla="*/ 226950 w 4618181"/>
              <a:gd name="connsiteY587" fmla="*/ 2187377 h 4444293"/>
              <a:gd name="connsiteX588" fmla="*/ 222828 w 4618181"/>
              <a:gd name="connsiteY588" fmla="*/ 2192441 h 4444293"/>
              <a:gd name="connsiteX589" fmla="*/ 222578 w 4618181"/>
              <a:gd name="connsiteY589" fmla="*/ 2192441 h 4444293"/>
              <a:gd name="connsiteX590" fmla="*/ 218206 w 4618181"/>
              <a:gd name="connsiteY590" fmla="*/ 2167614 h 4444293"/>
              <a:gd name="connsiteX591" fmla="*/ 258800 w 4618181"/>
              <a:gd name="connsiteY591" fmla="*/ 2125988 h 4444293"/>
              <a:gd name="connsiteX592" fmla="*/ 280159 w 4618181"/>
              <a:gd name="connsiteY592" fmla="*/ 2114625 h 4444293"/>
              <a:gd name="connsiteX593" fmla="*/ 302766 w 4618181"/>
              <a:gd name="connsiteY593" fmla="*/ 2070529 h 4444293"/>
              <a:gd name="connsiteX594" fmla="*/ 326872 w 4618181"/>
              <a:gd name="connsiteY594" fmla="*/ 2031497 h 4444293"/>
              <a:gd name="connsiteX595" fmla="*/ 344109 w 4618181"/>
              <a:gd name="connsiteY595" fmla="*/ 1985548 h 4444293"/>
              <a:gd name="connsiteX596" fmla="*/ 378333 w 4618181"/>
              <a:gd name="connsiteY596" fmla="*/ 1921937 h 4444293"/>
              <a:gd name="connsiteX597" fmla="*/ 401939 w 4618181"/>
              <a:gd name="connsiteY597" fmla="*/ 1856102 h 4444293"/>
              <a:gd name="connsiteX598" fmla="*/ 394820 w 4618181"/>
              <a:gd name="connsiteY598" fmla="*/ 1828928 h 4444293"/>
              <a:gd name="connsiteX599" fmla="*/ 353227 w 4618181"/>
              <a:gd name="connsiteY599" fmla="*/ 1785573 h 4444293"/>
              <a:gd name="connsiteX600" fmla="*/ 329121 w 4618181"/>
              <a:gd name="connsiteY600" fmla="*/ 1778780 h 4444293"/>
              <a:gd name="connsiteX601" fmla="*/ 284155 w 4618181"/>
              <a:gd name="connsiteY601" fmla="*/ 1721714 h 4444293"/>
              <a:gd name="connsiteX602" fmla="*/ 290276 w 4618181"/>
              <a:gd name="connsiteY602" fmla="*/ 1694664 h 4444293"/>
              <a:gd name="connsiteX603" fmla="*/ 306388 w 4618181"/>
              <a:gd name="connsiteY603" fmla="*/ 1670331 h 4444293"/>
              <a:gd name="connsiteX604" fmla="*/ 303266 w 4618181"/>
              <a:gd name="connsiteY604" fmla="*/ 1643651 h 4444293"/>
              <a:gd name="connsiteX605" fmla="*/ 274663 w 4618181"/>
              <a:gd name="connsiteY605" fmla="*/ 1625865 h 4444293"/>
              <a:gd name="connsiteX606" fmla="*/ 263796 w 4618181"/>
              <a:gd name="connsiteY606" fmla="*/ 1605361 h 4444293"/>
              <a:gd name="connsiteX607" fmla="*/ 261048 w 4618181"/>
              <a:gd name="connsiteY607" fmla="*/ 1572134 h 4444293"/>
              <a:gd name="connsiteX608" fmla="*/ 267918 w 4618181"/>
              <a:gd name="connsiteY608" fmla="*/ 1563365 h 4444293"/>
              <a:gd name="connsiteX609" fmla="*/ 259300 w 4618181"/>
              <a:gd name="connsiteY609" fmla="*/ 1546690 h 4444293"/>
              <a:gd name="connsiteX610" fmla="*/ 236692 w 4618181"/>
              <a:gd name="connsiteY610" fmla="*/ 1543725 h 4444293"/>
              <a:gd name="connsiteX611" fmla="*/ 224077 w 4618181"/>
              <a:gd name="connsiteY611" fmla="*/ 1529150 h 4444293"/>
              <a:gd name="connsiteX612" fmla="*/ 222828 w 4618181"/>
              <a:gd name="connsiteY612" fmla="*/ 1499135 h 4444293"/>
              <a:gd name="connsiteX613" fmla="*/ 234694 w 4618181"/>
              <a:gd name="connsiteY613" fmla="*/ 1482213 h 4444293"/>
              <a:gd name="connsiteX614" fmla="*/ 216583 w 4618181"/>
              <a:gd name="connsiteY614" fmla="*/ 1478384 h 4444293"/>
              <a:gd name="connsiteX615" fmla="*/ 215209 w 4618181"/>
              <a:gd name="connsiteY615" fmla="*/ 1462698 h 4444293"/>
              <a:gd name="connsiteX616" fmla="*/ 216583 w 4618181"/>
              <a:gd name="connsiteY616" fmla="*/ 1403780 h 4444293"/>
              <a:gd name="connsiteX617" fmla="*/ 232945 w 4618181"/>
              <a:gd name="connsiteY617" fmla="*/ 1399210 h 4444293"/>
              <a:gd name="connsiteX618" fmla="*/ 187855 w 4618181"/>
              <a:gd name="connsiteY618" fmla="*/ 1306818 h 4444293"/>
              <a:gd name="connsiteX619" fmla="*/ 147136 w 4618181"/>
              <a:gd name="connsiteY619" fmla="*/ 1239872 h 4444293"/>
              <a:gd name="connsiteX620" fmla="*/ 138143 w 4618181"/>
              <a:gd name="connsiteY620" fmla="*/ 1214674 h 4444293"/>
              <a:gd name="connsiteX621" fmla="*/ 115286 w 4618181"/>
              <a:gd name="connsiteY621" fmla="*/ 1192070 h 4444293"/>
              <a:gd name="connsiteX622" fmla="*/ 128651 w 4618181"/>
              <a:gd name="connsiteY622" fmla="*/ 1148221 h 4444293"/>
              <a:gd name="connsiteX623" fmla="*/ 145887 w 4618181"/>
              <a:gd name="connsiteY623" fmla="*/ 1118083 h 4444293"/>
              <a:gd name="connsiteX624" fmla="*/ 153381 w 4618181"/>
              <a:gd name="connsiteY624" fmla="*/ 1090909 h 4444293"/>
              <a:gd name="connsiteX625" fmla="*/ 141641 w 4618181"/>
              <a:gd name="connsiteY625" fmla="*/ 1080904 h 4444293"/>
              <a:gd name="connsiteX626" fmla="*/ 98799 w 4618181"/>
              <a:gd name="connsiteY626" fmla="*/ 1056571 h 4444293"/>
              <a:gd name="connsiteX627" fmla="*/ 90805 w 4618181"/>
              <a:gd name="connsiteY627" fmla="*/ 1039896 h 4444293"/>
              <a:gd name="connsiteX628" fmla="*/ 75941 w 4618181"/>
              <a:gd name="connsiteY628" fmla="*/ 1019639 h 4444293"/>
              <a:gd name="connsiteX629" fmla="*/ 50211 w 4618181"/>
              <a:gd name="connsiteY629" fmla="*/ 1006917 h 4444293"/>
              <a:gd name="connsiteX630" fmla="*/ 37596 w 4618181"/>
              <a:gd name="connsiteY630" fmla="*/ 1005558 h 4444293"/>
              <a:gd name="connsiteX631" fmla="*/ 19985 w 4618181"/>
              <a:gd name="connsiteY631" fmla="*/ 965045 h 4444293"/>
              <a:gd name="connsiteX632" fmla="*/ 6745 w 4618181"/>
              <a:gd name="connsiteY632" fmla="*/ 950593 h 4444293"/>
              <a:gd name="connsiteX633" fmla="*/ 11991 w 4618181"/>
              <a:gd name="connsiteY633" fmla="*/ 919590 h 4444293"/>
              <a:gd name="connsiteX634" fmla="*/ 14988 w 4618181"/>
              <a:gd name="connsiteY634" fmla="*/ 895257 h 4444293"/>
              <a:gd name="connsiteX635" fmla="*/ 0 w 4618181"/>
              <a:gd name="connsiteY635" fmla="*/ 891057 h 4444293"/>
              <a:gd name="connsiteX636" fmla="*/ 14489 w 4618181"/>
              <a:gd name="connsiteY636" fmla="*/ 880311 h 4444293"/>
              <a:gd name="connsiteX637" fmla="*/ 38220 w 4618181"/>
              <a:gd name="connsiteY637" fmla="*/ 869812 h 4444293"/>
              <a:gd name="connsiteX638" fmla="*/ 38220 w 4618181"/>
              <a:gd name="connsiteY638" fmla="*/ 869071 h 4444293"/>
              <a:gd name="connsiteX639" fmla="*/ 48962 w 4618181"/>
              <a:gd name="connsiteY639" fmla="*/ 866724 h 4444293"/>
              <a:gd name="connsiteX640" fmla="*/ 48213 w 4618181"/>
              <a:gd name="connsiteY640" fmla="*/ 834857 h 4444293"/>
              <a:gd name="connsiteX641" fmla="*/ 71695 w 4618181"/>
              <a:gd name="connsiteY641" fmla="*/ 810524 h 4444293"/>
              <a:gd name="connsiteX642" fmla="*/ 93428 w 4618181"/>
              <a:gd name="connsiteY642" fmla="*/ 806695 h 4444293"/>
              <a:gd name="connsiteX643" fmla="*/ 106792 w 4618181"/>
              <a:gd name="connsiteY643" fmla="*/ 787055 h 4444293"/>
              <a:gd name="connsiteX644" fmla="*/ 103670 w 4618181"/>
              <a:gd name="connsiteY644" fmla="*/ 761240 h 4444293"/>
              <a:gd name="connsiteX645" fmla="*/ 118908 w 4618181"/>
              <a:gd name="connsiteY645" fmla="*/ 759264 h 4444293"/>
              <a:gd name="connsiteX646" fmla="*/ 138143 w 4618181"/>
              <a:gd name="connsiteY646" fmla="*/ 765934 h 4444293"/>
              <a:gd name="connsiteX647" fmla="*/ 148760 w 4618181"/>
              <a:gd name="connsiteY647" fmla="*/ 751359 h 4444293"/>
              <a:gd name="connsiteX648" fmla="*/ 147136 w 4618181"/>
              <a:gd name="connsiteY648" fmla="*/ 732831 h 4444293"/>
              <a:gd name="connsiteX649" fmla="*/ 147511 w 4618181"/>
              <a:gd name="connsiteY649" fmla="*/ 732213 h 4444293"/>
              <a:gd name="connsiteX650" fmla="*/ 167371 w 4618181"/>
              <a:gd name="connsiteY650" fmla="*/ 733819 h 4444293"/>
              <a:gd name="connsiteX651" fmla="*/ 175365 w 4618181"/>
              <a:gd name="connsiteY651" fmla="*/ 740366 h 4444293"/>
              <a:gd name="connsiteX652" fmla="*/ 175739 w 4618181"/>
              <a:gd name="connsiteY652" fmla="*/ 758152 h 4444293"/>
              <a:gd name="connsiteX653" fmla="*/ 184108 w 4618181"/>
              <a:gd name="connsiteY653" fmla="*/ 769145 h 4444293"/>
              <a:gd name="connsiteX654" fmla="*/ 185482 w 4618181"/>
              <a:gd name="connsiteY654" fmla="*/ 746418 h 4444293"/>
              <a:gd name="connsiteX655" fmla="*/ 192226 w 4618181"/>
              <a:gd name="connsiteY655" fmla="*/ 734190 h 4444293"/>
              <a:gd name="connsiteX656" fmla="*/ 204342 w 4618181"/>
              <a:gd name="connsiteY656" fmla="*/ 735054 h 4444293"/>
              <a:gd name="connsiteX657" fmla="*/ 212086 w 4618181"/>
              <a:gd name="connsiteY657" fmla="*/ 730608 h 4444293"/>
              <a:gd name="connsiteX658" fmla="*/ 196098 w 4618181"/>
              <a:gd name="connsiteY658" fmla="*/ 720603 h 4444293"/>
              <a:gd name="connsiteX659" fmla="*/ 196098 w 4618181"/>
              <a:gd name="connsiteY659" fmla="*/ 713809 h 4444293"/>
              <a:gd name="connsiteX660" fmla="*/ 206590 w 4618181"/>
              <a:gd name="connsiteY660" fmla="*/ 715415 h 4444293"/>
              <a:gd name="connsiteX661" fmla="*/ 217457 w 4618181"/>
              <a:gd name="connsiteY661" fmla="*/ 712574 h 4444293"/>
              <a:gd name="connsiteX662" fmla="*/ 217207 w 4618181"/>
              <a:gd name="connsiteY662" fmla="*/ 705781 h 4444293"/>
              <a:gd name="connsiteX663" fmla="*/ 211587 w 4618181"/>
              <a:gd name="connsiteY663" fmla="*/ 704298 h 4444293"/>
              <a:gd name="connsiteX664" fmla="*/ 204967 w 4618181"/>
              <a:gd name="connsiteY664" fmla="*/ 694294 h 4444293"/>
              <a:gd name="connsiteX665" fmla="*/ 208589 w 4618181"/>
              <a:gd name="connsiteY665" fmla="*/ 688365 h 4444293"/>
              <a:gd name="connsiteX666" fmla="*/ 225950 w 4618181"/>
              <a:gd name="connsiteY666" fmla="*/ 689353 h 4444293"/>
              <a:gd name="connsiteX667" fmla="*/ 244686 w 4618181"/>
              <a:gd name="connsiteY667" fmla="*/ 697134 h 4444293"/>
              <a:gd name="connsiteX668" fmla="*/ 254928 w 4618181"/>
              <a:gd name="connsiteY668" fmla="*/ 710104 h 4444293"/>
              <a:gd name="connsiteX669" fmla="*/ 265045 w 4618181"/>
              <a:gd name="connsiteY669" fmla="*/ 717885 h 4444293"/>
              <a:gd name="connsiteX670" fmla="*/ 272040 w 4618181"/>
              <a:gd name="connsiteY670" fmla="*/ 710721 h 4444293"/>
              <a:gd name="connsiteX671" fmla="*/ 286154 w 4618181"/>
              <a:gd name="connsiteY671" fmla="*/ 715909 h 4444293"/>
              <a:gd name="connsiteX672" fmla="*/ 290900 w 4618181"/>
              <a:gd name="connsiteY672" fmla="*/ 721838 h 4444293"/>
              <a:gd name="connsiteX673" fmla="*/ 302266 w 4618181"/>
              <a:gd name="connsiteY673" fmla="*/ 728137 h 4444293"/>
              <a:gd name="connsiteX674" fmla="*/ 304015 w 4618181"/>
              <a:gd name="connsiteY674" fmla="*/ 737648 h 4444293"/>
              <a:gd name="connsiteX675" fmla="*/ 288652 w 4618181"/>
              <a:gd name="connsiteY675" fmla="*/ 750618 h 4444293"/>
              <a:gd name="connsiteX676" fmla="*/ 274538 w 4618181"/>
              <a:gd name="connsiteY676" fmla="*/ 745059 h 4444293"/>
              <a:gd name="connsiteX677" fmla="*/ 253179 w 4618181"/>
              <a:gd name="connsiteY677" fmla="*/ 748765 h 4444293"/>
              <a:gd name="connsiteX678" fmla="*/ 238691 w 4618181"/>
              <a:gd name="connsiteY678" fmla="*/ 735301 h 4444293"/>
              <a:gd name="connsiteX679" fmla="*/ 237192 w 4618181"/>
              <a:gd name="connsiteY679" fmla="*/ 724061 h 4444293"/>
              <a:gd name="connsiteX680" fmla="*/ 228074 w 4618181"/>
              <a:gd name="connsiteY680" fmla="*/ 737154 h 4444293"/>
              <a:gd name="connsiteX681" fmla="*/ 228573 w 4618181"/>
              <a:gd name="connsiteY681" fmla="*/ 757041 h 4444293"/>
              <a:gd name="connsiteX682" fmla="*/ 234444 w 4618181"/>
              <a:gd name="connsiteY682" fmla="*/ 772851 h 4444293"/>
              <a:gd name="connsiteX683" fmla="*/ 246310 w 4618181"/>
              <a:gd name="connsiteY683" fmla="*/ 760376 h 4444293"/>
              <a:gd name="connsiteX684" fmla="*/ 253804 w 4618181"/>
              <a:gd name="connsiteY684" fmla="*/ 765193 h 4444293"/>
              <a:gd name="connsiteX685" fmla="*/ 258925 w 4618181"/>
              <a:gd name="connsiteY685" fmla="*/ 781003 h 4444293"/>
              <a:gd name="connsiteX686" fmla="*/ 272914 w 4618181"/>
              <a:gd name="connsiteY686" fmla="*/ 768034 h 4444293"/>
              <a:gd name="connsiteX687" fmla="*/ 288402 w 4618181"/>
              <a:gd name="connsiteY687" fmla="*/ 772480 h 4444293"/>
              <a:gd name="connsiteX688" fmla="*/ 290650 w 4618181"/>
              <a:gd name="connsiteY688" fmla="*/ 785697 h 4444293"/>
              <a:gd name="connsiteX689" fmla="*/ 295397 w 4618181"/>
              <a:gd name="connsiteY689" fmla="*/ 784091 h 4444293"/>
              <a:gd name="connsiteX690" fmla="*/ 303016 w 4618181"/>
              <a:gd name="connsiteY690" fmla="*/ 772851 h 4444293"/>
              <a:gd name="connsiteX691" fmla="*/ 308137 w 4618181"/>
              <a:gd name="connsiteY691" fmla="*/ 778162 h 4444293"/>
              <a:gd name="connsiteX692" fmla="*/ 306388 w 4618181"/>
              <a:gd name="connsiteY692" fmla="*/ 785079 h 4444293"/>
              <a:gd name="connsiteX693" fmla="*/ 306888 w 4618181"/>
              <a:gd name="connsiteY693" fmla="*/ 796690 h 4444293"/>
              <a:gd name="connsiteX694" fmla="*/ 321252 w 4618181"/>
              <a:gd name="connsiteY694" fmla="*/ 776803 h 4444293"/>
              <a:gd name="connsiteX695" fmla="*/ 329246 w 4618181"/>
              <a:gd name="connsiteY695" fmla="*/ 768157 h 4444293"/>
              <a:gd name="connsiteX696" fmla="*/ 336990 w 4618181"/>
              <a:gd name="connsiteY696" fmla="*/ 771986 h 4444293"/>
              <a:gd name="connsiteX697" fmla="*/ 332493 w 4618181"/>
              <a:gd name="connsiteY697" fmla="*/ 779027 h 4444293"/>
              <a:gd name="connsiteX698" fmla="*/ 329495 w 4618181"/>
              <a:gd name="connsiteY698" fmla="*/ 789526 h 4444293"/>
              <a:gd name="connsiteX699" fmla="*/ 343360 w 4618181"/>
              <a:gd name="connsiteY699" fmla="*/ 788908 h 4444293"/>
              <a:gd name="connsiteX700" fmla="*/ 349980 w 4618181"/>
              <a:gd name="connsiteY700" fmla="*/ 796196 h 4444293"/>
              <a:gd name="connsiteX701" fmla="*/ 339113 w 4618181"/>
              <a:gd name="connsiteY701" fmla="*/ 803483 h 4444293"/>
              <a:gd name="connsiteX702" fmla="*/ 328746 w 4618181"/>
              <a:gd name="connsiteY702" fmla="*/ 821146 h 4444293"/>
              <a:gd name="connsiteX703" fmla="*/ 348106 w 4618181"/>
              <a:gd name="connsiteY703" fmla="*/ 818305 h 4444293"/>
              <a:gd name="connsiteX704" fmla="*/ 358973 w 4618181"/>
              <a:gd name="connsiteY704" fmla="*/ 795825 h 4444293"/>
              <a:gd name="connsiteX705" fmla="*/ 354976 w 4618181"/>
              <a:gd name="connsiteY705" fmla="*/ 784338 h 4444293"/>
              <a:gd name="connsiteX706" fmla="*/ 361596 w 4618181"/>
              <a:gd name="connsiteY706" fmla="*/ 777174 h 4444293"/>
              <a:gd name="connsiteX707" fmla="*/ 380331 w 4618181"/>
              <a:gd name="connsiteY707" fmla="*/ 774333 h 4444293"/>
              <a:gd name="connsiteX708" fmla="*/ 393196 w 4618181"/>
              <a:gd name="connsiteY708" fmla="*/ 782732 h 4444293"/>
              <a:gd name="connsiteX709" fmla="*/ 395569 w 4618181"/>
              <a:gd name="connsiteY709" fmla="*/ 774333 h 4444293"/>
              <a:gd name="connsiteX710" fmla="*/ 385327 w 4618181"/>
              <a:gd name="connsiteY710" fmla="*/ 761734 h 4444293"/>
              <a:gd name="connsiteX711" fmla="*/ 385827 w 4618181"/>
              <a:gd name="connsiteY711" fmla="*/ 756917 h 4444293"/>
              <a:gd name="connsiteX712" fmla="*/ 403563 w 4618181"/>
              <a:gd name="connsiteY712" fmla="*/ 763711 h 4444293"/>
              <a:gd name="connsiteX713" fmla="*/ 416054 w 4618181"/>
              <a:gd name="connsiteY713" fmla="*/ 779027 h 4444293"/>
              <a:gd name="connsiteX714" fmla="*/ 442408 w 4618181"/>
              <a:gd name="connsiteY714" fmla="*/ 779274 h 4444293"/>
              <a:gd name="connsiteX715" fmla="*/ 460769 w 4618181"/>
              <a:gd name="connsiteY715" fmla="*/ 785326 h 4444293"/>
              <a:gd name="connsiteX716" fmla="*/ 474259 w 4618181"/>
              <a:gd name="connsiteY716" fmla="*/ 777174 h 4444293"/>
              <a:gd name="connsiteX717" fmla="*/ 471761 w 4618181"/>
              <a:gd name="connsiteY717" fmla="*/ 768404 h 4444293"/>
              <a:gd name="connsiteX718" fmla="*/ 494118 w 4618181"/>
              <a:gd name="connsiteY718" fmla="*/ 772233 h 4444293"/>
              <a:gd name="connsiteX719" fmla="*/ 513978 w 4618181"/>
              <a:gd name="connsiteY719" fmla="*/ 783103 h 4444293"/>
              <a:gd name="connsiteX720" fmla="*/ 516476 w 4618181"/>
              <a:gd name="connsiteY720" fmla="*/ 775445 h 4444293"/>
              <a:gd name="connsiteX721" fmla="*/ 538334 w 4618181"/>
              <a:gd name="connsiteY721" fmla="*/ 783473 h 4444293"/>
              <a:gd name="connsiteX722" fmla="*/ 634135 w 4618181"/>
              <a:gd name="connsiteY722" fmla="*/ 828928 h 4444293"/>
              <a:gd name="connsiteX723" fmla="*/ 699085 w 4618181"/>
              <a:gd name="connsiteY723" fmla="*/ 867342 h 4444293"/>
              <a:gd name="connsiteX724" fmla="*/ 712949 w 4618181"/>
              <a:gd name="connsiteY724" fmla="*/ 881793 h 4444293"/>
              <a:gd name="connsiteX725" fmla="*/ 730561 w 4618181"/>
              <a:gd name="connsiteY725" fmla="*/ 886611 h 4444293"/>
              <a:gd name="connsiteX726" fmla="*/ 753418 w 4618181"/>
              <a:gd name="connsiteY726" fmla="*/ 917243 h 4444293"/>
              <a:gd name="connsiteX727" fmla="*/ 767407 w 4618181"/>
              <a:gd name="connsiteY727" fmla="*/ 920084 h 4444293"/>
              <a:gd name="connsiteX728" fmla="*/ 763535 w 4618181"/>
              <a:gd name="connsiteY728" fmla="*/ 909956 h 4444293"/>
              <a:gd name="connsiteX729" fmla="*/ 763160 w 4618181"/>
              <a:gd name="connsiteY729" fmla="*/ 902421 h 4444293"/>
              <a:gd name="connsiteX730" fmla="*/ 772278 w 4618181"/>
              <a:gd name="connsiteY730" fmla="*/ 902050 h 4444293"/>
              <a:gd name="connsiteX731" fmla="*/ 799632 w 4618181"/>
              <a:gd name="connsiteY731" fmla="*/ 924901 h 4444293"/>
              <a:gd name="connsiteX732" fmla="*/ 814246 w 4618181"/>
              <a:gd name="connsiteY732" fmla="*/ 925642 h 4444293"/>
              <a:gd name="connsiteX733" fmla="*/ 837978 w 4618181"/>
              <a:gd name="connsiteY733" fmla="*/ 945282 h 4444293"/>
              <a:gd name="connsiteX734" fmla="*/ 850968 w 4618181"/>
              <a:gd name="connsiteY734" fmla="*/ 939229 h 4444293"/>
              <a:gd name="connsiteX735" fmla="*/ 835479 w 4618181"/>
              <a:gd name="connsiteY735" fmla="*/ 918602 h 4444293"/>
              <a:gd name="connsiteX736" fmla="*/ 830983 w 4618181"/>
              <a:gd name="connsiteY736" fmla="*/ 909832 h 4444293"/>
              <a:gd name="connsiteX737" fmla="*/ 840725 w 4618181"/>
              <a:gd name="connsiteY737" fmla="*/ 909462 h 4444293"/>
              <a:gd name="connsiteX738" fmla="*/ 860960 w 4618181"/>
              <a:gd name="connsiteY738" fmla="*/ 927866 h 4444293"/>
              <a:gd name="connsiteX739" fmla="*/ 860335 w 4618181"/>
              <a:gd name="connsiteY739" fmla="*/ 945035 h 4444293"/>
              <a:gd name="connsiteX740" fmla="*/ 898181 w 4618181"/>
              <a:gd name="connsiteY740" fmla="*/ 968874 h 4444293"/>
              <a:gd name="connsiteX741" fmla="*/ 896682 w 4618181"/>
              <a:gd name="connsiteY741" fmla="*/ 980608 h 4444293"/>
              <a:gd name="connsiteX742" fmla="*/ 917916 w 4618181"/>
              <a:gd name="connsiteY742" fmla="*/ 989377 h 4444293"/>
              <a:gd name="connsiteX743" fmla="*/ 921663 w 4618181"/>
              <a:gd name="connsiteY743" fmla="*/ 980978 h 4444293"/>
              <a:gd name="connsiteX744" fmla="*/ 937775 w 4618181"/>
              <a:gd name="connsiteY744" fmla="*/ 983696 h 4444293"/>
              <a:gd name="connsiteX745" fmla="*/ 958135 w 4618181"/>
              <a:gd name="connsiteY745" fmla="*/ 1002841 h 4444293"/>
              <a:gd name="connsiteX746" fmla="*/ 965379 w 4618181"/>
              <a:gd name="connsiteY746" fmla="*/ 1025198 h 4444293"/>
              <a:gd name="connsiteX747" fmla="*/ 976870 w 4618181"/>
              <a:gd name="connsiteY747" fmla="*/ 1031621 h 4444293"/>
              <a:gd name="connsiteX748" fmla="*/ 992358 w 4618181"/>
              <a:gd name="connsiteY748" fmla="*/ 1053607 h 4444293"/>
              <a:gd name="connsiteX749" fmla="*/ 999228 w 4618181"/>
              <a:gd name="connsiteY749" fmla="*/ 1051260 h 4444293"/>
              <a:gd name="connsiteX750" fmla="*/ 1006472 w 4618181"/>
              <a:gd name="connsiteY750" fmla="*/ 1057806 h 4444293"/>
              <a:gd name="connsiteX751" fmla="*/ 1008096 w 4618181"/>
              <a:gd name="connsiteY751" fmla="*/ 1080410 h 4444293"/>
              <a:gd name="connsiteX752" fmla="*/ 1009720 w 4618181"/>
              <a:gd name="connsiteY752" fmla="*/ 1101655 h 4444293"/>
              <a:gd name="connsiteX753" fmla="*/ 1006722 w 4618181"/>
              <a:gd name="connsiteY753" fmla="*/ 1128582 h 4444293"/>
              <a:gd name="connsiteX754" fmla="*/ 1001102 w 4618181"/>
              <a:gd name="connsiteY754" fmla="*/ 1142540 h 4444293"/>
              <a:gd name="connsiteX755" fmla="*/ 1001601 w 4618181"/>
              <a:gd name="connsiteY755" fmla="*/ 1154891 h 4444293"/>
              <a:gd name="connsiteX756" fmla="*/ 982616 w 4618181"/>
              <a:gd name="connsiteY756" fmla="*/ 1181077 h 4444293"/>
              <a:gd name="connsiteX757" fmla="*/ 979618 w 4618181"/>
              <a:gd name="connsiteY757" fmla="*/ 1193552 h 4444293"/>
              <a:gd name="connsiteX758" fmla="*/ 946893 w 4618181"/>
              <a:gd name="connsiteY758" fmla="*/ 1241724 h 4444293"/>
              <a:gd name="connsiteX759" fmla="*/ 922412 w 4618181"/>
              <a:gd name="connsiteY759" fmla="*/ 1255805 h 4444293"/>
              <a:gd name="connsiteX760" fmla="*/ 892810 w 4618181"/>
              <a:gd name="connsiteY760" fmla="*/ 1262599 h 4444293"/>
              <a:gd name="connsiteX761" fmla="*/ 880070 w 4618181"/>
              <a:gd name="connsiteY761" fmla="*/ 1273468 h 4444293"/>
              <a:gd name="connsiteX762" fmla="*/ 852966 w 4618181"/>
              <a:gd name="connsiteY762" fmla="*/ 1274580 h 4444293"/>
              <a:gd name="connsiteX763" fmla="*/ 847720 w 4618181"/>
              <a:gd name="connsiteY763" fmla="*/ 1282362 h 4444293"/>
              <a:gd name="connsiteX764" fmla="*/ 806252 w 4618181"/>
              <a:gd name="connsiteY764" fmla="*/ 1288908 h 4444293"/>
              <a:gd name="connsiteX765" fmla="*/ 753168 w 4618181"/>
              <a:gd name="connsiteY765" fmla="*/ 1288291 h 4444293"/>
              <a:gd name="connsiteX766" fmla="*/ 722692 w 4618181"/>
              <a:gd name="connsiteY766" fmla="*/ 1281003 h 4444293"/>
              <a:gd name="connsiteX767" fmla="*/ 700209 w 4618181"/>
              <a:gd name="connsiteY767" fmla="*/ 1266551 h 4444293"/>
              <a:gd name="connsiteX768" fmla="*/ 687219 w 4618181"/>
              <a:gd name="connsiteY768" fmla="*/ 1276680 h 4444293"/>
              <a:gd name="connsiteX769" fmla="*/ 671731 w 4618181"/>
              <a:gd name="connsiteY769" fmla="*/ 1272851 h 4444293"/>
              <a:gd name="connsiteX770" fmla="*/ 646501 w 4618181"/>
              <a:gd name="connsiteY770" fmla="*/ 1273715 h 4444293"/>
              <a:gd name="connsiteX771" fmla="*/ 642629 w 4618181"/>
              <a:gd name="connsiteY771" fmla="*/ 1264946 h 4444293"/>
              <a:gd name="connsiteX772" fmla="*/ 627140 w 4618181"/>
              <a:gd name="connsiteY772" fmla="*/ 1260746 h 4444293"/>
              <a:gd name="connsiteX773" fmla="*/ 613651 w 4618181"/>
              <a:gd name="connsiteY773" fmla="*/ 1270875 h 4444293"/>
              <a:gd name="connsiteX774" fmla="*/ 589794 w 4618181"/>
              <a:gd name="connsiteY774" fmla="*/ 1249877 h 4444293"/>
              <a:gd name="connsiteX775" fmla="*/ 590044 w 4618181"/>
              <a:gd name="connsiteY775" fmla="*/ 1238883 h 4444293"/>
              <a:gd name="connsiteX776" fmla="*/ 572183 w 4618181"/>
              <a:gd name="connsiteY776" fmla="*/ 1242342 h 4444293"/>
              <a:gd name="connsiteX777" fmla="*/ 556070 w 4618181"/>
              <a:gd name="connsiteY777" fmla="*/ 1240983 h 4444293"/>
              <a:gd name="connsiteX778" fmla="*/ 563565 w 4618181"/>
              <a:gd name="connsiteY778" fmla="*/ 1236537 h 4444293"/>
              <a:gd name="connsiteX779" fmla="*/ 534337 w 4618181"/>
              <a:gd name="connsiteY779" fmla="*/ 1237154 h 4444293"/>
              <a:gd name="connsiteX780" fmla="*/ 526343 w 4618181"/>
              <a:gd name="connsiteY780" fmla="*/ 1246418 h 4444293"/>
              <a:gd name="connsiteX781" fmla="*/ 508232 w 4618181"/>
              <a:gd name="connsiteY781" fmla="*/ 1246418 h 4444293"/>
              <a:gd name="connsiteX782" fmla="*/ 507733 w 4618181"/>
              <a:gd name="connsiteY782" fmla="*/ 1236166 h 4444293"/>
              <a:gd name="connsiteX783" fmla="*/ 500613 w 4618181"/>
              <a:gd name="connsiteY783" fmla="*/ 1230978 h 4444293"/>
              <a:gd name="connsiteX784" fmla="*/ 511355 w 4618181"/>
              <a:gd name="connsiteY784" fmla="*/ 1222950 h 4444293"/>
              <a:gd name="connsiteX785" fmla="*/ 498989 w 4618181"/>
              <a:gd name="connsiteY785" fmla="*/ 1210474 h 4444293"/>
              <a:gd name="connsiteX786" fmla="*/ 495867 w 4618181"/>
              <a:gd name="connsiteY786" fmla="*/ 1218132 h 4444293"/>
              <a:gd name="connsiteX787" fmla="*/ 466015 w 4618181"/>
              <a:gd name="connsiteY787" fmla="*/ 1219368 h 4444293"/>
              <a:gd name="connsiteX788" fmla="*/ 446780 w 4618181"/>
              <a:gd name="connsiteY788" fmla="*/ 1207139 h 4444293"/>
              <a:gd name="connsiteX789" fmla="*/ 443532 w 4618181"/>
              <a:gd name="connsiteY789" fmla="*/ 1213439 h 4444293"/>
              <a:gd name="connsiteX790" fmla="*/ 430917 w 4618181"/>
              <a:gd name="connsiteY790" fmla="*/ 1212574 h 4444293"/>
              <a:gd name="connsiteX791" fmla="*/ 389949 w 4618181"/>
              <a:gd name="connsiteY791" fmla="*/ 1182065 h 4444293"/>
              <a:gd name="connsiteX792" fmla="*/ 385702 w 4618181"/>
              <a:gd name="connsiteY792" fmla="*/ 1165020 h 4444293"/>
              <a:gd name="connsiteX793" fmla="*/ 362095 w 4618181"/>
              <a:gd name="connsiteY793" fmla="*/ 1163908 h 4444293"/>
              <a:gd name="connsiteX794" fmla="*/ 356974 w 4618181"/>
              <a:gd name="connsiteY794" fmla="*/ 1158597 h 4444293"/>
              <a:gd name="connsiteX795" fmla="*/ 340362 w 4618181"/>
              <a:gd name="connsiteY795" fmla="*/ 1159956 h 4444293"/>
              <a:gd name="connsiteX796" fmla="*/ 336490 w 4618181"/>
              <a:gd name="connsiteY796" fmla="*/ 1165637 h 4444293"/>
              <a:gd name="connsiteX797" fmla="*/ 356475 w 4618181"/>
              <a:gd name="connsiteY797" fmla="*/ 1177866 h 4444293"/>
              <a:gd name="connsiteX798" fmla="*/ 361721 w 4618181"/>
              <a:gd name="connsiteY798" fmla="*/ 1203681 h 4444293"/>
              <a:gd name="connsiteX799" fmla="*/ 383828 w 4618181"/>
              <a:gd name="connsiteY799" fmla="*/ 1216527 h 4444293"/>
              <a:gd name="connsiteX800" fmla="*/ 389324 w 4618181"/>
              <a:gd name="connsiteY800" fmla="*/ 1229990 h 4444293"/>
              <a:gd name="connsiteX801" fmla="*/ 416678 w 4618181"/>
              <a:gd name="connsiteY801" fmla="*/ 1235054 h 4444293"/>
              <a:gd name="connsiteX802" fmla="*/ 422424 w 4618181"/>
              <a:gd name="connsiteY802" fmla="*/ 1240983 h 4444293"/>
              <a:gd name="connsiteX803" fmla="*/ 404812 w 4618181"/>
              <a:gd name="connsiteY803" fmla="*/ 1250618 h 4444293"/>
              <a:gd name="connsiteX804" fmla="*/ 396943 w 4618181"/>
              <a:gd name="connsiteY804" fmla="*/ 1261981 h 4444293"/>
              <a:gd name="connsiteX805" fmla="*/ 401315 w 4618181"/>
              <a:gd name="connsiteY805" fmla="*/ 1266551 h 4444293"/>
              <a:gd name="connsiteX806" fmla="*/ 430792 w 4618181"/>
              <a:gd name="connsiteY806" fmla="*/ 1257782 h 4444293"/>
              <a:gd name="connsiteX807" fmla="*/ 442908 w 4618181"/>
              <a:gd name="connsiteY807" fmla="*/ 1249012 h 4444293"/>
              <a:gd name="connsiteX808" fmla="*/ 455773 w 4618181"/>
              <a:gd name="connsiteY808" fmla="*/ 1257411 h 4444293"/>
              <a:gd name="connsiteX809" fmla="*/ 442783 w 4618181"/>
              <a:gd name="connsiteY809" fmla="*/ 1263463 h 4444293"/>
              <a:gd name="connsiteX810" fmla="*/ 443033 w 4618181"/>
              <a:gd name="connsiteY810" fmla="*/ 1268898 h 4444293"/>
              <a:gd name="connsiteX811" fmla="*/ 463267 w 4618181"/>
              <a:gd name="connsiteY811" fmla="*/ 1270133 h 4444293"/>
              <a:gd name="connsiteX812" fmla="*/ 459020 w 4618181"/>
              <a:gd name="connsiteY812" fmla="*/ 1284091 h 4444293"/>
              <a:gd name="connsiteX813" fmla="*/ 441159 w 4618181"/>
              <a:gd name="connsiteY813" fmla="*/ 1287673 h 4444293"/>
              <a:gd name="connsiteX814" fmla="*/ 433915 w 4618181"/>
              <a:gd name="connsiteY814" fmla="*/ 1298296 h 4444293"/>
              <a:gd name="connsiteX815" fmla="*/ 455523 w 4618181"/>
              <a:gd name="connsiteY815" fmla="*/ 1300766 h 4444293"/>
              <a:gd name="connsiteX816" fmla="*/ 462892 w 4618181"/>
              <a:gd name="connsiteY816" fmla="*/ 1294961 h 4444293"/>
              <a:gd name="connsiteX817" fmla="*/ 477381 w 4618181"/>
              <a:gd name="connsiteY817" fmla="*/ 1294343 h 4444293"/>
              <a:gd name="connsiteX818" fmla="*/ 486874 w 4618181"/>
              <a:gd name="connsiteY818" fmla="*/ 1303607 h 4444293"/>
              <a:gd name="connsiteX819" fmla="*/ 497616 w 4618181"/>
              <a:gd name="connsiteY819" fmla="*/ 1294961 h 4444293"/>
              <a:gd name="connsiteX820" fmla="*/ 539958 w 4618181"/>
              <a:gd name="connsiteY820" fmla="*/ 1310277 h 4444293"/>
              <a:gd name="connsiteX821" fmla="*/ 561191 w 4618181"/>
              <a:gd name="connsiteY821" fmla="*/ 1336833 h 4444293"/>
              <a:gd name="connsiteX822" fmla="*/ 571059 w 4618181"/>
              <a:gd name="connsiteY822" fmla="*/ 1338439 h 4444293"/>
              <a:gd name="connsiteX823" fmla="*/ 565313 w 4618181"/>
              <a:gd name="connsiteY823" fmla="*/ 1349679 h 4444293"/>
              <a:gd name="connsiteX824" fmla="*/ 564439 w 4618181"/>
              <a:gd name="connsiteY824" fmla="*/ 1362154 h 4444293"/>
              <a:gd name="connsiteX825" fmla="*/ 570809 w 4618181"/>
              <a:gd name="connsiteY825" fmla="*/ 1363883 h 4444293"/>
              <a:gd name="connsiteX826" fmla="*/ 572932 w 4618181"/>
              <a:gd name="connsiteY826" fmla="*/ 1381670 h 4444293"/>
              <a:gd name="connsiteX827" fmla="*/ 571434 w 4618181"/>
              <a:gd name="connsiteY827" fmla="*/ 1410573 h 4444293"/>
              <a:gd name="connsiteX828" fmla="*/ 557819 w 4618181"/>
              <a:gd name="connsiteY828" fmla="*/ 1416008 h 4444293"/>
              <a:gd name="connsiteX829" fmla="*/ 555071 w 4618181"/>
              <a:gd name="connsiteY829" fmla="*/ 1431942 h 4444293"/>
              <a:gd name="connsiteX830" fmla="*/ 569810 w 4618181"/>
              <a:gd name="connsiteY830" fmla="*/ 1435400 h 4444293"/>
              <a:gd name="connsiteX831" fmla="*/ 572183 w 4618181"/>
              <a:gd name="connsiteY831" fmla="*/ 1455904 h 4444293"/>
              <a:gd name="connsiteX832" fmla="*/ 598163 w 4618181"/>
              <a:gd name="connsiteY832" fmla="*/ 1478879 h 4444293"/>
              <a:gd name="connsiteX833" fmla="*/ 598163 w 4618181"/>
              <a:gd name="connsiteY833" fmla="*/ 1493948 h 4444293"/>
              <a:gd name="connsiteX834" fmla="*/ 616773 w 4618181"/>
              <a:gd name="connsiteY834" fmla="*/ 1506176 h 4444293"/>
              <a:gd name="connsiteX835" fmla="*/ 617523 w 4618181"/>
              <a:gd name="connsiteY835" fmla="*/ 1523345 h 4444293"/>
              <a:gd name="connsiteX836" fmla="*/ 622019 w 4618181"/>
              <a:gd name="connsiteY836" fmla="*/ 1544343 h 4444293"/>
              <a:gd name="connsiteX837" fmla="*/ 615025 w 4618181"/>
              <a:gd name="connsiteY837" fmla="*/ 1559042 h 4444293"/>
              <a:gd name="connsiteX838" fmla="*/ 624143 w 4618181"/>
              <a:gd name="connsiteY838" fmla="*/ 1567564 h 4444293"/>
              <a:gd name="connsiteX839" fmla="*/ 633011 w 4618181"/>
              <a:gd name="connsiteY839" fmla="*/ 1581892 h 4444293"/>
              <a:gd name="connsiteX840" fmla="*/ 670232 w 4618181"/>
              <a:gd name="connsiteY840" fmla="*/ 1593627 h 4444293"/>
              <a:gd name="connsiteX841" fmla="*/ 686595 w 4618181"/>
              <a:gd name="connsiteY841" fmla="*/ 1579175 h 4444293"/>
              <a:gd name="connsiteX842" fmla="*/ 693839 w 4618181"/>
              <a:gd name="connsiteY842" fmla="*/ 1579916 h 4444293"/>
              <a:gd name="connsiteX843" fmla="*/ 706954 w 4618181"/>
              <a:gd name="connsiteY843" fmla="*/ 1596097 h 4444293"/>
              <a:gd name="connsiteX844" fmla="*/ 723316 w 4618181"/>
              <a:gd name="connsiteY844" fmla="*/ 1605361 h 4444293"/>
              <a:gd name="connsiteX845" fmla="*/ 726314 w 4618181"/>
              <a:gd name="connsiteY845" fmla="*/ 1627470 h 4444293"/>
              <a:gd name="connsiteX846" fmla="*/ 734932 w 4618181"/>
              <a:gd name="connsiteY846" fmla="*/ 1633646 h 4444293"/>
              <a:gd name="connsiteX847" fmla="*/ 763660 w 4618181"/>
              <a:gd name="connsiteY847" fmla="*/ 1632782 h 4444293"/>
              <a:gd name="connsiteX848" fmla="*/ 775901 w 4618181"/>
              <a:gd name="connsiteY848" fmla="*/ 1642169 h 4444293"/>
              <a:gd name="connsiteX849" fmla="*/ 802255 w 4618181"/>
              <a:gd name="connsiteY849" fmla="*/ 1641798 h 4444293"/>
              <a:gd name="connsiteX850" fmla="*/ 819117 w 4618181"/>
              <a:gd name="connsiteY850" fmla="*/ 1656127 h 4444293"/>
              <a:gd name="connsiteX851" fmla="*/ 829234 w 4618181"/>
              <a:gd name="connsiteY851" fmla="*/ 1656374 h 4444293"/>
              <a:gd name="connsiteX852" fmla="*/ 847970 w 4618181"/>
              <a:gd name="connsiteY852" fmla="*/ 1634264 h 4444293"/>
              <a:gd name="connsiteX853" fmla="*/ 863208 w 4618181"/>
              <a:gd name="connsiteY853" fmla="*/ 1632288 h 4444293"/>
              <a:gd name="connsiteX854" fmla="*/ 874075 w 4618181"/>
              <a:gd name="connsiteY854" fmla="*/ 1626976 h 4444293"/>
              <a:gd name="connsiteX855" fmla="*/ 874075 w 4618181"/>
              <a:gd name="connsiteY855" fmla="*/ 1598567 h 4444293"/>
              <a:gd name="connsiteX856" fmla="*/ 859836 w 4618181"/>
              <a:gd name="connsiteY856" fmla="*/ 1587204 h 4444293"/>
              <a:gd name="connsiteX857" fmla="*/ 865706 w 4618181"/>
              <a:gd name="connsiteY857" fmla="*/ 1578063 h 4444293"/>
              <a:gd name="connsiteX858" fmla="*/ 864332 w 4618181"/>
              <a:gd name="connsiteY858" fmla="*/ 1571270 h 4444293"/>
              <a:gd name="connsiteX859" fmla="*/ 843848 w 4618181"/>
              <a:gd name="connsiteY859" fmla="*/ 1564476 h 4444293"/>
              <a:gd name="connsiteX860" fmla="*/ 841225 w 4618181"/>
              <a:gd name="connsiteY860" fmla="*/ 1550148 h 4444293"/>
              <a:gd name="connsiteX861" fmla="*/ 827111 w 4618181"/>
              <a:gd name="connsiteY861" fmla="*/ 1561018 h 4444293"/>
              <a:gd name="connsiteX862" fmla="*/ 816619 w 4618181"/>
              <a:gd name="connsiteY862" fmla="*/ 1560771 h 4444293"/>
              <a:gd name="connsiteX863" fmla="*/ 799632 w 4618181"/>
              <a:gd name="connsiteY863" fmla="*/ 1569046 h 4444293"/>
              <a:gd name="connsiteX864" fmla="*/ 777025 w 4618181"/>
              <a:gd name="connsiteY864" fmla="*/ 1559042 h 4444293"/>
              <a:gd name="connsiteX865" fmla="*/ 760163 w 4618181"/>
              <a:gd name="connsiteY865" fmla="*/ 1538414 h 4444293"/>
              <a:gd name="connsiteX866" fmla="*/ 734682 w 4618181"/>
              <a:gd name="connsiteY866" fmla="*/ 1527792 h 4444293"/>
              <a:gd name="connsiteX867" fmla="*/ 728937 w 4618181"/>
              <a:gd name="connsiteY867" fmla="*/ 1508152 h 4444293"/>
              <a:gd name="connsiteX868" fmla="*/ 714698 w 4618181"/>
              <a:gd name="connsiteY868" fmla="*/ 1484066 h 4444293"/>
              <a:gd name="connsiteX869" fmla="*/ 732809 w 4618181"/>
              <a:gd name="connsiteY869" fmla="*/ 1484684 h 4444293"/>
              <a:gd name="connsiteX870" fmla="*/ 744050 w 4618181"/>
              <a:gd name="connsiteY870" fmla="*/ 1472456 h 4444293"/>
              <a:gd name="connsiteX871" fmla="*/ 737305 w 4618181"/>
              <a:gd name="connsiteY871" fmla="*/ 1463192 h 4444293"/>
              <a:gd name="connsiteX872" fmla="*/ 741052 w 4618181"/>
              <a:gd name="connsiteY872" fmla="*/ 1452693 h 4444293"/>
              <a:gd name="connsiteX873" fmla="*/ 735057 w 4618181"/>
              <a:gd name="connsiteY873" fmla="*/ 1441329 h 4444293"/>
              <a:gd name="connsiteX874" fmla="*/ 738679 w 4618181"/>
              <a:gd name="connsiteY874" fmla="*/ 1429471 h 4444293"/>
              <a:gd name="connsiteX875" fmla="*/ 759538 w 4618181"/>
              <a:gd name="connsiteY875" fmla="*/ 1427866 h 4444293"/>
              <a:gd name="connsiteX876" fmla="*/ 780897 w 4618181"/>
              <a:gd name="connsiteY876" fmla="*/ 1440711 h 4444293"/>
              <a:gd name="connsiteX877" fmla="*/ 806752 w 4618181"/>
              <a:gd name="connsiteY877" fmla="*/ 1444417 h 4444293"/>
              <a:gd name="connsiteX878" fmla="*/ 820116 w 4618181"/>
              <a:gd name="connsiteY878" fmla="*/ 1463068 h 4444293"/>
              <a:gd name="connsiteX879" fmla="*/ 837353 w 4618181"/>
              <a:gd name="connsiteY879" fmla="*/ 1476038 h 4444293"/>
              <a:gd name="connsiteX880" fmla="*/ 869328 w 4618181"/>
              <a:gd name="connsiteY880" fmla="*/ 1476038 h 4444293"/>
              <a:gd name="connsiteX881" fmla="*/ 876073 w 4618181"/>
              <a:gd name="connsiteY881" fmla="*/ 1487401 h 4444293"/>
              <a:gd name="connsiteX882" fmla="*/ 896307 w 4618181"/>
              <a:gd name="connsiteY882" fmla="*/ 1488636 h 4444293"/>
              <a:gd name="connsiteX883" fmla="*/ 955762 w 4618181"/>
              <a:gd name="connsiteY883" fmla="*/ 1513587 h 4444293"/>
              <a:gd name="connsiteX884" fmla="*/ 981117 w 4618181"/>
              <a:gd name="connsiteY884" fmla="*/ 1535944 h 4444293"/>
              <a:gd name="connsiteX885" fmla="*/ 990110 w 4618181"/>
              <a:gd name="connsiteY885" fmla="*/ 1520504 h 4444293"/>
              <a:gd name="connsiteX886" fmla="*/ 1005473 w 4618181"/>
              <a:gd name="connsiteY886" fmla="*/ 1506794 h 4444293"/>
              <a:gd name="connsiteX887" fmla="*/ 1003974 w 4618181"/>
              <a:gd name="connsiteY887" fmla="*/ 1487648 h 4444293"/>
              <a:gd name="connsiteX888" fmla="*/ 1017714 w 4618181"/>
              <a:gd name="connsiteY888" fmla="*/ 1486413 h 4444293"/>
              <a:gd name="connsiteX889" fmla="*/ 1030953 w 4618181"/>
              <a:gd name="connsiteY889" fmla="*/ 1470109 h 4444293"/>
              <a:gd name="connsiteX890" fmla="*/ 1005098 w 4618181"/>
              <a:gd name="connsiteY890" fmla="*/ 1435524 h 4444293"/>
              <a:gd name="connsiteX891" fmla="*/ 963131 w 4618181"/>
              <a:gd name="connsiteY891" fmla="*/ 1396122 h 4444293"/>
              <a:gd name="connsiteX892" fmla="*/ 952264 w 4618181"/>
              <a:gd name="connsiteY892" fmla="*/ 1369812 h 4444293"/>
              <a:gd name="connsiteX893" fmla="*/ 953638 w 4618181"/>
              <a:gd name="connsiteY893" fmla="*/ 1354002 h 4444293"/>
              <a:gd name="connsiteX894" fmla="*/ 977745 w 4618181"/>
              <a:gd name="connsiteY894" fmla="*/ 1333004 h 4444293"/>
              <a:gd name="connsiteX895" fmla="*/ 996605 w 4618181"/>
              <a:gd name="connsiteY895" fmla="*/ 1305336 h 4444293"/>
              <a:gd name="connsiteX896" fmla="*/ 1001226 w 4618181"/>
              <a:gd name="connsiteY896" fmla="*/ 1281744 h 4444293"/>
              <a:gd name="connsiteX897" fmla="*/ 1015840 w 4618181"/>
              <a:gd name="connsiteY897" fmla="*/ 1266675 h 4444293"/>
              <a:gd name="connsiteX898" fmla="*/ 1037199 w 4618181"/>
              <a:gd name="connsiteY898" fmla="*/ 1261611 h 4444293"/>
              <a:gd name="connsiteX899" fmla="*/ 1066051 w 4618181"/>
              <a:gd name="connsiteY899" fmla="*/ 1236290 h 4444293"/>
              <a:gd name="connsiteX900" fmla="*/ 1084912 w 4618181"/>
              <a:gd name="connsiteY900" fmla="*/ 1191453 h 4444293"/>
              <a:gd name="connsiteX901" fmla="*/ 1097027 w 4618181"/>
              <a:gd name="connsiteY901" fmla="*/ 1181324 h 4444293"/>
              <a:gd name="connsiteX902" fmla="*/ 1120010 w 4618181"/>
              <a:gd name="connsiteY902" fmla="*/ 1183795 h 4444293"/>
              <a:gd name="connsiteX903" fmla="*/ 1138620 w 4618181"/>
              <a:gd name="connsiteY903" fmla="*/ 1197381 h 4444293"/>
              <a:gd name="connsiteX904" fmla="*/ 1164850 w 4618181"/>
              <a:gd name="connsiteY904" fmla="*/ 1192811 h 4444293"/>
              <a:gd name="connsiteX905" fmla="*/ 1193453 w 4618181"/>
              <a:gd name="connsiteY905" fmla="*/ 1195035 h 4444293"/>
              <a:gd name="connsiteX906" fmla="*/ 1203695 w 4618181"/>
              <a:gd name="connsiteY906" fmla="*/ 1207016 h 4444293"/>
              <a:gd name="connsiteX907" fmla="*/ 1201821 w 4618181"/>
              <a:gd name="connsiteY907" fmla="*/ 1226285 h 4444293"/>
              <a:gd name="connsiteX908" fmla="*/ 1223055 w 4618181"/>
              <a:gd name="connsiteY908" fmla="*/ 1204793 h 4444293"/>
              <a:gd name="connsiteX909" fmla="*/ 1246662 w 4618181"/>
              <a:gd name="connsiteY909" fmla="*/ 1220973 h 4444293"/>
              <a:gd name="connsiteX910" fmla="*/ 1254656 w 4618181"/>
              <a:gd name="connsiteY910" fmla="*/ 1243330 h 4444293"/>
              <a:gd name="connsiteX911" fmla="*/ 1266896 w 4618181"/>
              <a:gd name="connsiteY911" fmla="*/ 1253088 h 4444293"/>
              <a:gd name="connsiteX912" fmla="*/ 1262774 w 4618181"/>
              <a:gd name="connsiteY912" fmla="*/ 1220232 h 4444293"/>
              <a:gd name="connsiteX913" fmla="*/ 1249285 w 4618181"/>
              <a:gd name="connsiteY913" fmla="*/ 1196764 h 4444293"/>
              <a:gd name="connsiteX914" fmla="*/ 1256529 w 4618181"/>
              <a:gd name="connsiteY914" fmla="*/ 1186141 h 4444293"/>
              <a:gd name="connsiteX915" fmla="*/ 1253906 w 4618181"/>
              <a:gd name="connsiteY915" fmla="*/ 1144392 h 4444293"/>
              <a:gd name="connsiteX916" fmla="*/ 1259652 w 4618181"/>
              <a:gd name="connsiteY916" fmla="*/ 1131052 h 4444293"/>
              <a:gd name="connsiteX917" fmla="*/ 1251033 w 4618181"/>
              <a:gd name="connsiteY917" fmla="*/ 1125247 h 4444293"/>
              <a:gd name="connsiteX918" fmla="*/ 1249909 w 4618181"/>
              <a:gd name="connsiteY918" fmla="*/ 1114995 h 4444293"/>
              <a:gd name="connsiteX919" fmla="*/ 1253032 w 4618181"/>
              <a:gd name="connsiteY919" fmla="*/ 1105978 h 4444293"/>
              <a:gd name="connsiteX920" fmla="*/ 1249035 w 4618181"/>
              <a:gd name="connsiteY920" fmla="*/ 1093750 h 4444293"/>
              <a:gd name="connsiteX921" fmla="*/ 1252158 w 4618181"/>
              <a:gd name="connsiteY921" fmla="*/ 1084610 h 4444293"/>
              <a:gd name="connsiteX922" fmla="*/ 1238293 w 4618181"/>
              <a:gd name="connsiteY922" fmla="*/ 1070776 h 4444293"/>
              <a:gd name="connsiteX923" fmla="*/ 1217684 w 4618181"/>
              <a:gd name="connsiteY923" fmla="*/ 1060030 h 4444293"/>
              <a:gd name="connsiteX924" fmla="*/ 1190705 w 4618181"/>
              <a:gd name="connsiteY924" fmla="*/ 1062624 h 4444293"/>
              <a:gd name="connsiteX925" fmla="*/ 1182087 w 4618181"/>
              <a:gd name="connsiteY925" fmla="*/ 1040267 h 4444293"/>
              <a:gd name="connsiteX926" fmla="*/ 1188082 w 4618181"/>
              <a:gd name="connsiteY926" fmla="*/ 1016675 h 4444293"/>
              <a:gd name="connsiteX927" fmla="*/ 1186333 w 4618181"/>
              <a:gd name="connsiteY927" fmla="*/ 975544 h 4444293"/>
              <a:gd name="connsiteX928" fmla="*/ 1192953 w 4618181"/>
              <a:gd name="connsiteY928" fmla="*/ 969738 h 4444293"/>
              <a:gd name="connsiteX929" fmla="*/ 1188207 w 4618181"/>
              <a:gd name="connsiteY929" fmla="*/ 956892 h 4444293"/>
              <a:gd name="connsiteX930" fmla="*/ 1188207 w 4618181"/>
              <a:gd name="connsiteY930" fmla="*/ 939723 h 4444293"/>
              <a:gd name="connsiteX931" fmla="*/ 1195576 w 4618181"/>
              <a:gd name="connsiteY931" fmla="*/ 933177 h 4444293"/>
              <a:gd name="connsiteX932" fmla="*/ 1185334 w 4618181"/>
              <a:gd name="connsiteY932" fmla="*/ 921196 h 4444293"/>
              <a:gd name="connsiteX933" fmla="*/ 1184460 w 4618181"/>
              <a:gd name="connsiteY933" fmla="*/ 900568 h 4444293"/>
              <a:gd name="connsiteX934" fmla="*/ 1168972 w 4618181"/>
              <a:gd name="connsiteY934" fmla="*/ 862772 h 4444293"/>
              <a:gd name="connsiteX935" fmla="*/ 1141743 w 4618181"/>
              <a:gd name="connsiteY935" fmla="*/ 845356 h 4444293"/>
              <a:gd name="connsiteX936" fmla="*/ 1095029 w 4618181"/>
              <a:gd name="connsiteY936" fmla="*/ 810894 h 4444293"/>
              <a:gd name="connsiteX937" fmla="*/ 1093905 w 4618181"/>
              <a:gd name="connsiteY937" fmla="*/ 801260 h 4444293"/>
              <a:gd name="connsiteX938" fmla="*/ 1114639 w 4618181"/>
              <a:gd name="connsiteY938" fmla="*/ 800395 h 4444293"/>
              <a:gd name="connsiteX939" fmla="*/ 1153234 w 4618181"/>
              <a:gd name="connsiteY939" fmla="*/ 823493 h 4444293"/>
              <a:gd name="connsiteX940" fmla="*/ 1175342 w 4618181"/>
              <a:gd name="connsiteY940" fmla="*/ 821887 h 4444293"/>
              <a:gd name="connsiteX941" fmla="*/ 1189581 w 4618181"/>
              <a:gd name="connsiteY941" fmla="*/ 813735 h 4444293"/>
              <a:gd name="connsiteX942" fmla="*/ 1223430 w 4618181"/>
              <a:gd name="connsiteY942" fmla="*/ 809536 h 4444293"/>
              <a:gd name="connsiteX943" fmla="*/ 1272892 w 4618181"/>
              <a:gd name="connsiteY943" fmla="*/ 812253 h 4444293"/>
              <a:gd name="connsiteX944" fmla="*/ 1296373 w 4618181"/>
              <a:gd name="connsiteY944" fmla="*/ 825716 h 4444293"/>
              <a:gd name="connsiteX945" fmla="*/ 1296373 w 4618181"/>
              <a:gd name="connsiteY945" fmla="*/ 842268 h 4444293"/>
              <a:gd name="connsiteX946" fmla="*/ 1316733 w 4618181"/>
              <a:gd name="connsiteY946" fmla="*/ 864007 h 4444293"/>
              <a:gd name="connsiteX947" fmla="*/ 1337717 w 4618181"/>
              <a:gd name="connsiteY947" fmla="*/ 865860 h 4444293"/>
              <a:gd name="connsiteX948" fmla="*/ 1341838 w 4618181"/>
              <a:gd name="connsiteY948" fmla="*/ 880064 h 4444293"/>
              <a:gd name="connsiteX949" fmla="*/ 1368942 w 4618181"/>
              <a:gd name="connsiteY949" fmla="*/ 911191 h 4444293"/>
              <a:gd name="connsiteX950" fmla="*/ 1366070 w 4618181"/>
              <a:gd name="connsiteY950" fmla="*/ 925025 h 4444293"/>
              <a:gd name="connsiteX951" fmla="*/ 1333470 w 4618181"/>
              <a:gd name="connsiteY951" fmla="*/ 925766 h 4444293"/>
              <a:gd name="connsiteX952" fmla="*/ 1325726 w 4618181"/>
              <a:gd name="connsiteY952" fmla="*/ 938488 h 4444293"/>
              <a:gd name="connsiteX953" fmla="*/ 1297248 w 4618181"/>
              <a:gd name="connsiteY953" fmla="*/ 940341 h 4444293"/>
              <a:gd name="connsiteX954" fmla="*/ 1288629 w 4618181"/>
              <a:gd name="connsiteY954" fmla="*/ 950346 h 4444293"/>
              <a:gd name="connsiteX955" fmla="*/ 1291877 w 4618181"/>
              <a:gd name="connsiteY955" fmla="*/ 960474 h 4444293"/>
              <a:gd name="connsiteX956" fmla="*/ 1284757 w 4618181"/>
              <a:gd name="connsiteY956" fmla="*/ 973814 h 4444293"/>
              <a:gd name="connsiteX957" fmla="*/ 1274765 w 4618181"/>
              <a:gd name="connsiteY957" fmla="*/ 968750 h 4444293"/>
              <a:gd name="connsiteX958" fmla="*/ 1270393 w 4618181"/>
              <a:gd name="connsiteY958" fmla="*/ 979249 h 4444293"/>
              <a:gd name="connsiteX959" fmla="*/ 1270144 w 4618181"/>
              <a:gd name="connsiteY959" fmla="*/ 1006052 h 4444293"/>
              <a:gd name="connsiteX960" fmla="*/ 1283633 w 4618181"/>
              <a:gd name="connsiteY960" fmla="*/ 1012352 h 4444293"/>
              <a:gd name="connsiteX961" fmla="*/ 1323103 w 4618181"/>
              <a:gd name="connsiteY961" fmla="*/ 1042243 h 4444293"/>
              <a:gd name="connsiteX962" fmla="*/ 1361948 w 4618181"/>
              <a:gd name="connsiteY962" fmla="*/ 1087945 h 4444293"/>
              <a:gd name="connsiteX963" fmla="*/ 1378560 w 4618181"/>
              <a:gd name="connsiteY963" fmla="*/ 1087204 h 4444293"/>
              <a:gd name="connsiteX964" fmla="*/ 1402167 w 4618181"/>
              <a:gd name="connsiteY964" fmla="*/ 1069047 h 4444293"/>
              <a:gd name="connsiteX965" fmla="*/ 1414157 w 4618181"/>
              <a:gd name="connsiteY965" fmla="*/ 1088439 h 4444293"/>
              <a:gd name="connsiteX966" fmla="*/ 1422026 w 4618181"/>
              <a:gd name="connsiteY966" fmla="*/ 1077075 h 4444293"/>
              <a:gd name="connsiteX967" fmla="*/ 1441511 w 4618181"/>
              <a:gd name="connsiteY967" fmla="*/ 1076211 h 4444293"/>
              <a:gd name="connsiteX968" fmla="*/ 1445883 w 4618181"/>
              <a:gd name="connsiteY968" fmla="*/ 1066453 h 4444293"/>
              <a:gd name="connsiteX969" fmla="*/ 1477858 w 4618181"/>
              <a:gd name="connsiteY969" fmla="*/ 1050642 h 4444293"/>
              <a:gd name="connsiteX970" fmla="*/ 1483229 w 4618181"/>
              <a:gd name="connsiteY970" fmla="*/ 1031127 h 4444293"/>
              <a:gd name="connsiteX971" fmla="*/ 1473736 w 4618181"/>
              <a:gd name="connsiteY971" fmla="*/ 1004076 h 4444293"/>
              <a:gd name="connsiteX972" fmla="*/ 1484603 w 4618181"/>
              <a:gd name="connsiteY972" fmla="*/ 982955 h 4444293"/>
              <a:gd name="connsiteX973" fmla="*/ 1483229 w 4618181"/>
              <a:gd name="connsiteY973" fmla="*/ 966527 h 4444293"/>
              <a:gd name="connsiteX974" fmla="*/ 1468615 w 4618181"/>
              <a:gd name="connsiteY974" fmla="*/ 949975 h 4444293"/>
              <a:gd name="connsiteX975" fmla="*/ 1477983 w 4618181"/>
              <a:gd name="connsiteY975" fmla="*/ 942688 h 4444293"/>
              <a:gd name="connsiteX976" fmla="*/ 1527070 w 4618181"/>
              <a:gd name="connsiteY976" fmla="*/ 934412 h 4444293"/>
              <a:gd name="connsiteX977" fmla="*/ 1534190 w 4618181"/>
              <a:gd name="connsiteY977" fmla="*/ 923790 h 4444293"/>
              <a:gd name="connsiteX978" fmla="*/ 1564541 w 4618181"/>
              <a:gd name="connsiteY978" fmla="*/ 933547 h 4444293"/>
              <a:gd name="connsiteX979" fmla="*/ 1559795 w 4618181"/>
              <a:gd name="connsiteY979" fmla="*/ 919961 h 4444293"/>
              <a:gd name="connsiteX980" fmla="*/ 1534814 w 4618181"/>
              <a:gd name="connsiteY980" fmla="*/ 903162 h 4444293"/>
              <a:gd name="connsiteX981" fmla="*/ 1526446 w 4618181"/>
              <a:gd name="connsiteY981" fmla="*/ 885623 h 4444293"/>
              <a:gd name="connsiteX982" fmla="*/ 1535439 w 4618181"/>
              <a:gd name="connsiteY982" fmla="*/ 885252 h 4444293"/>
              <a:gd name="connsiteX983" fmla="*/ 1549928 w 4618181"/>
              <a:gd name="connsiteY983" fmla="*/ 897727 h 4444293"/>
              <a:gd name="connsiteX984" fmla="*/ 1564791 w 4618181"/>
              <a:gd name="connsiteY984" fmla="*/ 888834 h 4444293"/>
              <a:gd name="connsiteX985" fmla="*/ 1597016 w 4618181"/>
              <a:gd name="connsiteY985" fmla="*/ 846220 h 4444293"/>
              <a:gd name="connsiteX986" fmla="*/ 1607383 w 4618181"/>
              <a:gd name="connsiteY986" fmla="*/ 843009 h 4444293"/>
              <a:gd name="connsiteX987" fmla="*/ 1642856 w 4618181"/>
              <a:gd name="connsiteY987" fmla="*/ 796196 h 4444293"/>
              <a:gd name="connsiteX988" fmla="*/ 1642356 w 4618181"/>
              <a:gd name="connsiteY988" fmla="*/ 785944 h 4444293"/>
              <a:gd name="connsiteX989" fmla="*/ 1653098 w 4618181"/>
              <a:gd name="connsiteY989" fmla="*/ 779768 h 4444293"/>
              <a:gd name="connsiteX990" fmla="*/ 1673332 w 4618181"/>
              <a:gd name="connsiteY990" fmla="*/ 782609 h 4444293"/>
              <a:gd name="connsiteX991" fmla="*/ 1697813 w 4618181"/>
              <a:gd name="connsiteY991" fmla="*/ 769886 h 4444293"/>
              <a:gd name="connsiteX992" fmla="*/ 1701810 w 4618181"/>
              <a:gd name="connsiteY992" fmla="*/ 758029 h 4444293"/>
              <a:gd name="connsiteX993" fmla="*/ 1737033 w 4618181"/>
              <a:gd name="connsiteY993" fmla="*/ 745553 h 4444293"/>
              <a:gd name="connsiteX994" fmla="*/ 1739656 w 4618181"/>
              <a:gd name="connsiteY994" fmla="*/ 759140 h 4444293"/>
              <a:gd name="connsiteX995" fmla="*/ 1746276 w 4618181"/>
              <a:gd name="connsiteY995" fmla="*/ 759511 h 4444293"/>
              <a:gd name="connsiteX996" fmla="*/ 1750398 w 4618181"/>
              <a:gd name="connsiteY996" fmla="*/ 773345 h 4444293"/>
              <a:gd name="connsiteX997" fmla="*/ 1744277 w 4618181"/>
              <a:gd name="connsiteY997" fmla="*/ 784214 h 4444293"/>
              <a:gd name="connsiteX998" fmla="*/ 1754520 w 4618181"/>
              <a:gd name="connsiteY998" fmla="*/ 790637 h 4444293"/>
              <a:gd name="connsiteX999" fmla="*/ 1774754 w 4618181"/>
              <a:gd name="connsiteY999" fmla="*/ 769269 h 4444293"/>
              <a:gd name="connsiteX1000" fmla="*/ 1776253 w 4618181"/>
              <a:gd name="connsiteY1000" fmla="*/ 756176 h 4444293"/>
              <a:gd name="connsiteX1001" fmla="*/ 1765386 w 4618181"/>
              <a:gd name="connsiteY1001" fmla="*/ 751853 h 4444293"/>
              <a:gd name="connsiteX1002" fmla="*/ 1751147 w 4618181"/>
              <a:gd name="connsiteY1002" fmla="*/ 738636 h 4444293"/>
              <a:gd name="connsiteX1003" fmla="*/ 1749648 w 4618181"/>
              <a:gd name="connsiteY1003" fmla="*/ 730484 h 4444293"/>
              <a:gd name="connsiteX1004" fmla="*/ 1782123 w 4618181"/>
              <a:gd name="connsiteY1004" fmla="*/ 696023 h 4444293"/>
              <a:gd name="connsiteX1005" fmla="*/ 1787744 w 4618181"/>
              <a:gd name="connsiteY1005" fmla="*/ 695652 h 4444293"/>
              <a:gd name="connsiteX1006" fmla="*/ 1791241 w 4618181"/>
              <a:gd name="connsiteY1006" fmla="*/ 706892 h 4444293"/>
              <a:gd name="connsiteX1007" fmla="*/ 1784996 w 4618181"/>
              <a:gd name="connsiteY1007" fmla="*/ 710721 h 4444293"/>
              <a:gd name="connsiteX1008" fmla="*/ 1779250 w 4618181"/>
              <a:gd name="connsiteY1008" fmla="*/ 719491 h 4444293"/>
              <a:gd name="connsiteX1009" fmla="*/ 1797111 w 4618181"/>
              <a:gd name="connsiteY1009" fmla="*/ 737154 h 4444293"/>
              <a:gd name="connsiteX1010" fmla="*/ 1808103 w 4618181"/>
              <a:gd name="connsiteY1010" fmla="*/ 733449 h 4444293"/>
              <a:gd name="connsiteX1011" fmla="*/ 1817721 w 4618181"/>
              <a:gd name="connsiteY1011" fmla="*/ 719738 h 4444293"/>
              <a:gd name="connsiteX1012" fmla="*/ 1810476 w 4618181"/>
              <a:gd name="connsiteY1012" fmla="*/ 709239 h 4444293"/>
              <a:gd name="connsiteX1013" fmla="*/ 1804231 w 4618181"/>
              <a:gd name="connsiteY1013" fmla="*/ 692688 h 4444293"/>
              <a:gd name="connsiteX1014" fmla="*/ 1797361 w 4618181"/>
              <a:gd name="connsiteY1014" fmla="*/ 684783 h 4444293"/>
              <a:gd name="connsiteX1015" fmla="*/ 1811350 w 4618181"/>
              <a:gd name="connsiteY1015" fmla="*/ 672554 h 4444293"/>
              <a:gd name="connsiteX1016" fmla="*/ 1858939 w 4618181"/>
              <a:gd name="connsiteY1016" fmla="*/ 649951 h 4444293"/>
              <a:gd name="connsiteX1017" fmla="*/ 1891539 w 4618181"/>
              <a:gd name="connsiteY1017" fmla="*/ 643775 h 4444293"/>
              <a:gd name="connsiteX1018" fmla="*/ 1895286 w 4618181"/>
              <a:gd name="connsiteY1018" fmla="*/ 650815 h 4444293"/>
              <a:gd name="connsiteX1019" fmla="*/ 1877299 w 4618181"/>
              <a:gd name="connsiteY1019" fmla="*/ 660820 h 4444293"/>
              <a:gd name="connsiteX1020" fmla="*/ 1863560 w 4618181"/>
              <a:gd name="connsiteY1020" fmla="*/ 662426 h 4444293"/>
              <a:gd name="connsiteX1021" fmla="*/ 1830336 w 4618181"/>
              <a:gd name="connsiteY1021" fmla="*/ 679595 h 4444293"/>
              <a:gd name="connsiteX1022" fmla="*/ 1836956 w 4618181"/>
              <a:gd name="connsiteY1022" fmla="*/ 687871 h 4444293"/>
              <a:gd name="connsiteX1023" fmla="*/ 1849571 w 4618181"/>
              <a:gd name="connsiteY1023" fmla="*/ 690094 h 4444293"/>
              <a:gd name="connsiteX1024" fmla="*/ 1859688 w 4618181"/>
              <a:gd name="connsiteY1024" fmla="*/ 684165 h 4444293"/>
              <a:gd name="connsiteX1025" fmla="*/ 1881671 w 4618181"/>
              <a:gd name="connsiteY1025" fmla="*/ 702816 h 4444293"/>
              <a:gd name="connsiteX1026" fmla="*/ 1870180 w 4618181"/>
              <a:gd name="connsiteY1026" fmla="*/ 709857 h 4444293"/>
              <a:gd name="connsiteX1027" fmla="*/ 1866308 w 4618181"/>
              <a:gd name="connsiteY1027" fmla="*/ 717144 h 4444293"/>
              <a:gd name="connsiteX1028" fmla="*/ 1879548 w 4618181"/>
              <a:gd name="connsiteY1028" fmla="*/ 735796 h 4444293"/>
              <a:gd name="connsiteX1029" fmla="*/ 1872553 w 4618181"/>
              <a:gd name="connsiteY1029" fmla="*/ 749135 h 4444293"/>
              <a:gd name="connsiteX1030" fmla="*/ 1854192 w 4618181"/>
              <a:gd name="connsiteY1030" fmla="*/ 750618 h 4444293"/>
              <a:gd name="connsiteX1031" fmla="*/ 1836331 w 4618181"/>
              <a:gd name="connsiteY1031" fmla="*/ 769269 h 4444293"/>
              <a:gd name="connsiteX1032" fmla="*/ 1840828 w 4618181"/>
              <a:gd name="connsiteY1032" fmla="*/ 783844 h 4444293"/>
              <a:gd name="connsiteX1033" fmla="*/ 1856191 w 4618181"/>
              <a:gd name="connsiteY1033" fmla="*/ 786314 h 4444293"/>
              <a:gd name="connsiteX1034" fmla="*/ 1868182 w 4618181"/>
              <a:gd name="connsiteY1034" fmla="*/ 782362 h 4444293"/>
              <a:gd name="connsiteX1035" fmla="*/ 1880297 w 4618181"/>
              <a:gd name="connsiteY1035" fmla="*/ 782362 h 4444293"/>
              <a:gd name="connsiteX1036" fmla="*/ 1892663 w 4618181"/>
              <a:gd name="connsiteY1036" fmla="*/ 773468 h 4444293"/>
              <a:gd name="connsiteX1037" fmla="*/ 1912023 w 4618181"/>
              <a:gd name="connsiteY1037" fmla="*/ 779891 h 4444293"/>
              <a:gd name="connsiteX1038" fmla="*/ 1913022 w 4618181"/>
              <a:gd name="connsiteY1038" fmla="*/ 801383 h 4444293"/>
              <a:gd name="connsiteX1039" fmla="*/ 1921016 w 4618181"/>
              <a:gd name="connsiteY1039" fmla="*/ 778780 h 4444293"/>
              <a:gd name="connsiteX1040" fmla="*/ 1939127 w 4618181"/>
              <a:gd name="connsiteY1040" fmla="*/ 756052 h 4444293"/>
              <a:gd name="connsiteX1041" fmla="*/ 1947995 w 4618181"/>
              <a:gd name="connsiteY1041" fmla="*/ 754323 h 4444293"/>
              <a:gd name="connsiteX1042" fmla="*/ 1956488 w 4618181"/>
              <a:gd name="connsiteY1042" fmla="*/ 766304 h 4444293"/>
              <a:gd name="connsiteX1043" fmla="*/ 1971852 w 4618181"/>
              <a:gd name="connsiteY1043" fmla="*/ 776680 h 4444293"/>
              <a:gd name="connsiteX1044" fmla="*/ 1977347 w 4618181"/>
              <a:gd name="connsiteY1044" fmla="*/ 768898 h 4444293"/>
              <a:gd name="connsiteX1045" fmla="*/ 1973101 w 4618181"/>
              <a:gd name="connsiteY1045" fmla="*/ 758399 h 4444293"/>
              <a:gd name="connsiteX1046" fmla="*/ 1977097 w 4618181"/>
              <a:gd name="connsiteY1046" fmla="*/ 746912 h 4444293"/>
              <a:gd name="connsiteX1047" fmla="*/ 1963233 w 4618181"/>
              <a:gd name="connsiteY1047" fmla="*/ 737895 h 4444293"/>
              <a:gd name="connsiteX1048" fmla="*/ 1962484 w 4618181"/>
              <a:gd name="connsiteY1048" fmla="*/ 729743 h 4444293"/>
              <a:gd name="connsiteX1049" fmla="*/ 1977347 w 4618181"/>
              <a:gd name="connsiteY1049" fmla="*/ 712327 h 4444293"/>
              <a:gd name="connsiteX1050" fmla="*/ 1995833 w 4618181"/>
              <a:gd name="connsiteY1050" fmla="*/ 708498 h 4444293"/>
              <a:gd name="connsiteX1051" fmla="*/ 2000579 w 4618181"/>
              <a:gd name="connsiteY1051" fmla="*/ 698740 h 4444293"/>
              <a:gd name="connsiteX1052" fmla="*/ 2024061 w 4618181"/>
              <a:gd name="connsiteY1052" fmla="*/ 682683 h 4444293"/>
              <a:gd name="connsiteX1053" fmla="*/ 2035178 w 4618181"/>
              <a:gd name="connsiteY1053" fmla="*/ 690464 h 4444293"/>
              <a:gd name="connsiteX1054" fmla="*/ 2047418 w 4618181"/>
              <a:gd name="connsiteY1054" fmla="*/ 690711 h 4444293"/>
              <a:gd name="connsiteX1055" fmla="*/ 2055537 w 4618181"/>
              <a:gd name="connsiteY1055" fmla="*/ 685894 h 4444293"/>
              <a:gd name="connsiteX1056" fmla="*/ 2069276 w 4618181"/>
              <a:gd name="connsiteY1056" fmla="*/ 690464 h 4444293"/>
              <a:gd name="connsiteX1057" fmla="*/ 2109121 w 4618181"/>
              <a:gd name="connsiteY1057" fmla="*/ 688735 h 4444293"/>
              <a:gd name="connsiteX1058" fmla="*/ 2122860 w 4618181"/>
              <a:gd name="connsiteY1058" fmla="*/ 677866 h 4444293"/>
              <a:gd name="connsiteX1059" fmla="*/ 2122360 w 4618181"/>
              <a:gd name="connsiteY1059" fmla="*/ 666255 h 4444293"/>
              <a:gd name="connsiteX1060" fmla="*/ 2131603 w 4618181"/>
              <a:gd name="connsiteY1060" fmla="*/ 655262 h 4444293"/>
              <a:gd name="connsiteX1061" fmla="*/ 2154336 w 4618181"/>
              <a:gd name="connsiteY1061" fmla="*/ 652174 h 4444293"/>
              <a:gd name="connsiteX1062" fmla="*/ 2155585 w 4618181"/>
              <a:gd name="connsiteY1062" fmla="*/ 642169 h 4444293"/>
              <a:gd name="connsiteX1063" fmla="*/ 2171947 w 4618181"/>
              <a:gd name="connsiteY1063" fmla="*/ 626729 h 4444293"/>
              <a:gd name="connsiteX1064" fmla="*/ 2186061 w 4618181"/>
              <a:gd name="connsiteY1064" fmla="*/ 623024 h 4444293"/>
              <a:gd name="connsiteX1065" fmla="*/ 2209168 w 4618181"/>
              <a:gd name="connsiteY1065" fmla="*/ 598320 h 4444293"/>
              <a:gd name="connsiteX1066" fmla="*/ 2218786 w 4618181"/>
              <a:gd name="connsiteY1066" fmla="*/ 597209 h 4444293"/>
              <a:gd name="connsiteX1067" fmla="*/ 2232275 w 4618181"/>
              <a:gd name="connsiteY1067" fmla="*/ 589427 h 4444293"/>
              <a:gd name="connsiteX1068" fmla="*/ 2236022 w 4618181"/>
              <a:gd name="connsiteY1068" fmla="*/ 595479 h 4444293"/>
              <a:gd name="connsiteX1069" fmla="*/ 2222783 w 4618181"/>
              <a:gd name="connsiteY1069" fmla="*/ 611784 h 4444293"/>
              <a:gd name="connsiteX1070" fmla="*/ 2237271 w 4618181"/>
              <a:gd name="connsiteY1070" fmla="*/ 616601 h 4444293"/>
              <a:gd name="connsiteX1071" fmla="*/ 2256382 w 4618181"/>
              <a:gd name="connsiteY1071" fmla="*/ 633646 h 4444293"/>
              <a:gd name="connsiteX1072" fmla="*/ 2257131 w 4618181"/>
              <a:gd name="connsiteY1072" fmla="*/ 643528 h 4444293"/>
              <a:gd name="connsiteX1073" fmla="*/ 2242892 w 4618181"/>
              <a:gd name="connsiteY1073" fmla="*/ 657856 h 4444293"/>
              <a:gd name="connsiteX1074" fmla="*/ 2252260 w 4618181"/>
              <a:gd name="connsiteY1074" fmla="*/ 675642 h 4444293"/>
              <a:gd name="connsiteX1075" fmla="*/ 2249012 w 4618181"/>
              <a:gd name="connsiteY1075" fmla="*/ 689847 h 4444293"/>
              <a:gd name="connsiteX1076" fmla="*/ 2260379 w 4618181"/>
              <a:gd name="connsiteY1076" fmla="*/ 702693 h 4444293"/>
              <a:gd name="connsiteX1077" fmla="*/ 2306843 w 4618181"/>
              <a:gd name="connsiteY1077" fmla="*/ 702693 h 4444293"/>
              <a:gd name="connsiteX1078" fmla="*/ 2316086 w 4618181"/>
              <a:gd name="connsiteY1078" fmla="*/ 691700 h 4444293"/>
              <a:gd name="connsiteX1079" fmla="*/ 2315836 w 4618181"/>
              <a:gd name="connsiteY1079" fmla="*/ 680707 h 4444293"/>
              <a:gd name="connsiteX1080" fmla="*/ 2308591 w 4618181"/>
              <a:gd name="connsiteY1080" fmla="*/ 674531 h 4444293"/>
              <a:gd name="connsiteX1081" fmla="*/ 2288232 w 4618181"/>
              <a:gd name="connsiteY1081" fmla="*/ 652421 h 4444293"/>
              <a:gd name="connsiteX1082" fmla="*/ 2289106 w 4618181"/>
              <a:gd name="connsiteY1082" fmla="*/ 642169 h 4444293"/>
              <a:gd name="connsiteX1083" fmla="*/ 2301722 w 4618181"/>
              <a:gd name="connsiteY1083" fmla="*/ 631546 h 4444293"/>
              <a:gd name="connsiteX1084" fmla="*/ 2327202 w 4618181"/>
              <a:gd name="connsiteY1084" fmla="*/ 641428 h 4444293"/>
              <a:gd name="connsiteX1085" fmla="*/ 2344064 w 4618181"/>
              <a:gd name="connsiteY1085" fmla="*/ 629076 h 4444293"/>
              <a:gd name="connsiteX1086" fmla="*/ 2350309 w 4618181"/>
              <a:gd name="connsiteY1086" fmla="*/ 598567 h 4444293"/>
              <a:gd name="connsiteX1087" fmla="*/ 2364173 w 4618181"/>
              <a:gd name="connsiteY1087" fmla="*/ 596591 h 4444293"/>
              <a:gd name="connsiteX1088" fmla="*/ 2372792 w 4618181"/>
              <a:gd name="connsiteY1088" fmla="*/ 603755 h 4444293"/>
              <a:gd name="connsiteX1089" fmla="*/ 2397273 w 4618181"/>
              <a:gd name="connsiteY1089" fmla="*/ 606843 h 4444293"/>
              <a:gd name="connsiteX1090" fmla="*/ 2371168 w 4618181"/>
              <a:gd name="connsiteY1090" fmla="*/ 581151 h 4444293"/>
              <a:gd name="connsiteX1091" fmla="*/ 2350184 w 4618181"/>
              <a:gd name="connsiteY1091" fmla="*/ 576581 h 4444293"/>
              <a:gd name="connsiteX1092" fmla="*/ 2347311 w 4618181"/>
              <a:gd name="connsiteY1092" fmla="*/ 560153 h 4444293"/>
              <a:gd name="connsiteX1093" fmla="*/ 2330824 w 4618181"/>
              <a:gd name="connsiteY1093" fmla="*/ 531250 h 4444293"/>
              <a:gd name="connsiteX1094" fmla="*/ 2319583 w 4618181"/>
              <a:gd name="connsiteY1094" fmla="*/ 530385 h 4444293"/>
              <a:gd name="connsiteX1095" fmla="*/ 2316835 w 4618181"/>
              <a:gd name="connsiteY1095" fmla="*/ 546319 h 4444293"/>
              <a:gd name="connsiteX1096" fmla="*/ 2307218 w 4618181"/>
              <a:gd name="connsiteY1096" fmla="*/ 531621 h 4444293"/>
              <a:gd name="connsiteX1097" fmla="*/ 2296101 w 4618181"/>
              <a:gd name="connsiteY1097" fmla="*/ 499135 h 4444293"/>
              <a:gd name="connsiteX1098" fmla="*/ 2283361 w 4618181"/>
              <a:gd name="connsiteY1098" fmla="*/ 492836 h 4444293"/>
              <a:gd name="connsiteX1099" fmla="*/ 2269247 w 4618181"/>
              <a:gd name="connsiteY1099" fmla="*/ 472826 h 4444293"/>
              <a:gd name="connsiteX1100" fmla="*/ 2268872 w 4618181"/>
              <a:gd name="connsiteY1100" fmla="*/ 465292 h 4444293"/>
              <a:gd name="connsiteX1101" fmla="*/ 2287982 w 4618181"/>
              <a:gd name="connsiteY1101" fmla="*/ 457633 h 4444293"/>
              <a:gd name="connsiteX1102" fmla="*/ 2287358 w 4618181"/>
              <a:gd name="connsiteY1102" fmla="*/ 442564 h 4444293"/>
              <a:gd name="connsiteX1103" fmla="*/ 2277490 w 4618181"/>
              <a:gd name="connsiteY1103" fmla="*/ 423790 h 4444293"/>
              <a:gd name="connsiteX1104" fmla="*/ 2288107 w 4618181"/>
              <a:gd name="connsiteY1104" fmla="*/ 413044 h 4444293"/>
              <a:gd name="connsiteX1105" fmla="*/ 2303595 w 4618181"/>
              <a:gd name="connsiteY1105" fmla="*/ 415761 h 4444293"/>
              <a:gd name="connsiteX1106" fmla="*/ 2310964 w 4618181"/>
              <a:gd name="connsiteY1106" fmla="*/ 411314 h 4444293"/>
              <a:gd name="connsiteX1107" fmla="*/ 2326702 w 4618181"/>
              <a:gd name="connsiteY1107" fmla="*/ 420949 h 4444293"/>
              <a:gd name="connsiteX1108" fmla="*/ 2344564 w 4618181"/>
              <a:gd name="connsiteY1108" fmla="*/ 417367 h 4444293"/>
              <a:gd name="connsiteX1109" fmla="*/ 2362175 w 4618181"/>
              <a:gd name="connsiteY1109" fmla="*/ 422184 h 4444293"/>
              <a:gd name="connsiteX1110" fmla="*/ 2431122 w 4618181"/>
              <a:gd name="connsiteY1110" fmla="*/ 409585 h 4444293"/>
              <a:gd name="connsiteX1111" fmla="*/ 2519428 w 4618181"/>
              <a:gd name="connsiteY1111" fmla="*/ 410573 h 4444293"/>
              <a:gd name="connsiteX1112" fmla="*/ 2546532 w 4618181"/>
              <a:gd name="connsiteY1112" fmla="*/ 427248 h 4444293"/>
              <a:gd name="connsiteX1113" fmla="*/ 2605737 w 4618181"/>
              <a:gd name="connsiteY1113" fmla="*/ 446023 h 4444293"/>
              <a:gd name="connsiteX1114" fmla="*/ 2611108 w 4618181"/>
              <a:gd name="connsiteY1114" fmla="*/ 458127 h 4444293"/>
              <a:gd name="connsiteX1115" fmla="*/ 2605362 w 4618181"/>
              <a:gd name="connsiteY1115" fmla="*/ 468009 h 4444293"/>
              <a:gd name="connsiteX1116" fmla="*/ 2615229 w 4618181"/>
              <a:gd name="connsiteY1116" fmla="*/ 487525 h 4444293"/>
              <a:gd name="connsiteX1117" fmla="*/ 2631842 w 4618181"/>
              <a:gd name="connsiteY1117" fmla="*/ 471714 h 4444293"/>
              <a:gd name="connsiteX1118" fmla="*/ 2657822 w 4618181"/>
              <a:gd name="connsiteY1118" fmla="*/ 460968 h 4444293"/>
              <a:gd name="connsiteX1119" fmla="*/ 2673684 w 4618181"/>
              <a:gd name="connsiteY1119" fmla="*/ 474061 h 4444293"/>
              <a:gd name="connsiteX1120" fmla="*/ 2687673 w 4618181"/>
              <a:gd name="connsiteY1120" fmla="*/ 474802 h 4444293"/>
              <a:gd name="connsiteX1121" fmla="*/ 2691920 w 4618181"/>
              <a:gd name="connsiteY1121" fmla="*/ 491724 h 4444293"/>
              <a:gd name="connsiteX1122" fmla="*/ 2722646 w 4618181"/>
              <a:gd name="connsiteY1122" fmla="*/ 494565 h 4444293"/>
              <a:gd name="connsiteX1123" fmla="*/ 2774481 w 4618181"/>
              <a:gd name="connsiteY1123" fmla="*/ 521245 h 4444293"/>
              <a:gd name="connsiteX1124" fmla="*/ 2823194 w 4618181"/>
              <a:gd name="connsiteY1124" fmla="*/ 523221 h 4444293"/>
              <a:gd name="connsiteX1125" fmla="*/ 2843303 w 4618181"/>
              <a:gd name="connsiteY1125" fmla="*/ 538167 h 4444293"/>
              <a:gd name="connsiteX1126" fmla="*/ 2856168 w 4618181"/>
              <a:gd name="connsiteY1126" fmla="*/ 562994 h 4444293"/>
              <a:gd name="connsiteX1127" fmla="*/ 2884771 w 4618181"/>
              <a:gd name="connsiteY1127" fmla="*/ 567317 h 4444293"/>
              <a:gd name="connsiteX1128" fmla="*/ 2910626 w 4618181"/>
              <a:gd name="connsiteY1128" fmla="*/ 584733 h 4444293"/>
              <a:gd name="connsiteX1129" fmla="*/ 2933858 w 4618181"/>
              <a:gd name="connsiteY1129" fmla="*/ 624259 h 4444293"/>
              <a:gd name="connsiteX1130" fmla="*/ 2953468 w 4618181"/>
              <a:gd name="connsiteY1130" fmla="*/ 627594 h 4444293"/>
              <a:gd name="connsiteX1131" fmla="*/ 2954342 w 4618181"/>
              <a:gd name="connsiteY1131" fmla="*/ 615860 h 4444293"/>
              <a:gd name="connsiteX1132" fmla="*/ 2948347 w 4618181"/>
              <a:gd name="connsiteY1132" fmla="*/ 590662 h 4444293"/>
              <a:gd name="connsiteX1133" fmla="*/ 2959464 w 4618181"/>
              <a:gd name="connsiteY1133" fmla="*/ 589550 h 4444293"/>
              <a:gd name="connsiteX1134" fmla="*/ 2963211 w 4618181"/>
              <a:gd name="connsiteY1134" fmla="*/ 579793 h 4444293"/>
              <a:gd name="connsiteX1135" fmla="*/ 2949846 w 4618181"/>
              <a:gd name="connsiteY1135" fmla="*/ 561141 h 4444293"/>
              <a:gd name="connsiteX1136" fmla="*/ 2954842 w 4618181"/>
              <a:gd name="connsiteY1136" fmla="*/ 548543 h 4444293"/>
              <a:gd name="connsiteX1137" fmla="*/ 2952094 w 4618181"/>
              <a:gd name="connsiteY1137" fmla="*/ 499876 h 4444293"/>
              <a:gd name="connsiteX1138" fmla="*/ 2968207 w 4618181"/>
              <a:gd name="connsiteY1138" fmla="*/ 486166 h 4444293"/>
              <a:gd name="connsiteX1139" fmla="*/ 2951595 w 4618181"/>
              <a:gd name="connsiteY1139" fmla="*/ 488266 h 4444293"/>
              <a:gd name="connsiteX1140" fmla="*/ 2948472 w 4618181"/>
              <a:gd name="connsiteY1140" fmla="*/ 480855 h 4444293"/>
              <a:gd name="connsiteX1141" fmla="*/ 2931110 w 4618181"/>
              <a:gd name="connsiteY1141" fmla="*/ 481596 h 4444293"/>
              <a:gd name="connsiteX1142" fmla="*/ 2917621 w 4618181"/>
              <a:gd name="connsiteY1142" fmla="*/ 491107 h 4444293"/>
              <a:gd name="connsiteX1143" fmla="*/ 2898635 w 4618181"/>
              <a:gd name="connsiteY1143" fmla="*/ 486413 h 4444293"/>
              <a:gd name="connsiteX1144" fmla="*/ 2859291 w 4618181"/>
              <a:gd name="connsiteY1144" fmla="*/ 444170 h 4444293"/>
              <a:gd name="connsiteX1145" fmla="*/ 2848799 w 4618181"/>
              <a:gd name="connsiteY1145" fmla="*/ 442564 h 4444293"/>
              <a:gd name="connsiteX1146" fmla="*/ 2834185 w 4618181"/>
              <a:gd name="connsiteY1146" fmla="*/ 426013 h 4444293"/>
              <a:gd name="connsiteX1147" fmla="*/ 2832811 w 4618181"/>
              <a:gd name="connsiteY1147" fmla="*/ 393775 h 4444293"/>
              <a:gd name="connsiteX1148" fmla="*/ 2822694 w 4618181"/>
              <a:gd name="connsiteY1148" fmla="*/ 385252 h 4444293"/>
              <a:gd name="connsiteX1149" fmla="*/ 2806332 w 4618181"/>
              <a:gd name="connsiteY1149" fmla="*/ 409956 h 4444293"/>
              <a:gd name="connsiteX1150" fmla="*/ 2786347 w 4618181"/>
              <a:gd name="connsiteY1150" fmla="*/ 397727 h 4444293"/>
              <a:gd name="connsiteX1151" fmla="*/ 2764864 w 4618181"/>
              <a:gd name="connsiteY1151" fmla="*/ 397974 h 4444293"/>
              <a:gd name="connsiteX1152" fmla="*/ 2747752 w 4618181"/>
              <a:gd name="connsiteY1152" fmla="*/ 387722 h 4444293"/>
              <a:gd name="connsiteX1153" fmla="*/ 2739383 w 4618181"/>
              <a:gd name="connsiteY1153" fmla="*/ 402544 h 4444293"/>
              <a:gd name="connsiteX1154" fmla="*/ 2731764 w 4618181"/>
              <a:gd name="connsiteY1154" fmla="*/ 371912 h 4444293"/>
              <a:gd name="connsiteX1155" fmla="*/ 2717401 w 4618181"/>
              <a:gd name="connsiteY1155" fmla="*/ 360178 h 4444293"/>
              <a:gd name="connsiteX1156" fmla="*/ 2700414 w 4618181"/>
              <a:gd name="connsiteY1156" fmla="*/ 321764 h 4444293"/>
              <a:gd name="connsiteX1157" fmla="*/ 2699789 w 4618181"/>
              <a:gd name="connsiteY1157" fmla="*/ 308053 h 4444293"/>
              <a:gd name="connsiteX1158" fmla="*/ 2712654 w 4618181"/>
              <a:gd name="connsiteY1158" fmla="*/ 317194 h 4444293"/>
              <a:gd name="connsiteX1159" fmla="*/ 2726643 w 4618181"/>
              <a:gd name="connsiteY1159" fmla="*/ 303483 h 4444293"/>
              <a:gd name="connsiteX1160" fmla="*/ 2725769 w 4618181"/>
              <a:gd name="connsiteY1160" fmla="*/ 282856 h 4444293"/>
              <a:gd name="connsiteX1161" fmla="*/ 2697166 w 4618181"/>
              <a:gd name="connsiteY1161" fmla="*/ 264205 h 4444293"/>
              <a:gd name="connsiteX1162" fmla="*/ 2694168 w 4618181"/>
              <a:gd name="connsiteY1162" fmla="*/ 241724 h 4444293"/>
              <a:gd name="connsiteX1163" fmla="*/ 2706659 w 4618181"/>
              <a:gd name="connsiteY1163" fmla="*/ 224061 h 4444293"/>
              <a:gd name="connsiteX1164" fmla="*/ 2720023 w 4618181"/>
              <a:gd name="connsiteY1164" fmla="*/ 226902 h 4444293"/>
              <a:gd name="connsiteX1165" fmla="*/ 2702662 w 4618181"/>
              <a:gd name="connsiteY1165" fmla="*/ 212451 h 4444293"/>
              <a:gd name="connsiteX1166" fmla="*/ 2681803 w 4618181"/>
              <a:gd name="connsiteY1166" fmla="*/ 211957 h 4444293"/>
              <a:gd name="connsiteX1167" fmla="*/ 2667189 w 4618181"/>
              <a:gd name="connsiteY1167" fmla="*/ 179595 h 4444293"/>
              <a:gd name="connsiteX1168" fmla="*/ 2654199 w 4618181"/>
              <a:gd name="connsiteY1168" fmla="*/ 168478 h 4444293"/>
              <a:gd name="connsiteX1169" fmla="*/ 2642833 w 4618181"/>
              <a:gd name="connsiteY1169" fmla="*/ 176507 h 4444293"/>
              <a:gd name="connsiteX1170" fmla="*/ 2619726 w 4618181"/>
              <a:gd name="connsiteY1170" fmla="*/ 156868 h 4444293"/>
              <a:gd name="connsiteX1171" fmla="*/ 2621225 w 4618181"/>
              <a:gd name="connsiteY1171" fmla="*/ 126606 h 4444293"/>
              <a:gd name="connsiteX1172" fmla="*/ 2630967 w 4618181"/>
              <a:gd name="connsiteY1172" fmla="*/ 110425 h 4444293"/>
              <a:gd name="connsiteX1173" fmla="*/ 2618352 w 4618181"/>
              <a:gd name="connsiteY1173" fmla="*/ 93132 h 4444293"/>
              <a:gd name="connsiteX1174" fmla="*/ 2614230 w 4618181"/>
              <a:gd name="connsiteY1174" fmla="*/ 78187 h 4444293"/>
              <a:gd name="connsiteX1175" fmla="*/ 2626346 w 4618181"/>
              <a:gd name="connsiteY1175" fmla="*/ 69417 h 4444293"/>
              <a:gd name="connsiteX1176" fmla="*/ 2656073 w 4618181"/>
              <a:gd name="connsiteY1176" fmla="*/ 18651 h 4444293"/>
              <a:gd name="connsiteX1177" fmla="*/ 2675558 w 4618181"/>
              <a:gd name="connsiteY1177" fmla="*/ 4076 h 4444293"/>
              <a:gd name="connsiteX1178" fmla="*/ 2977699 w 4618181"/>
              <a:gd name="connsiteY1178" fmla="*/ 4076 h 4444293"/>
              <a:gd name="connsiteX1179" fmla="*/ 2977699 w 4618181"/>
              <a:gd name="connsiteY1179" fmla="*/ 16675 h 4444293"/>
              <a:gd name="connsiteX1180" fmla="*/ 2999433 w 4618181"/>
              <a:gd name="connsiteY1180" fmla="*/ 21986 h 4444293"/>
              <a:gd name="connsiteX1181" fmla="*/ 2999682 w 4618181"/>
              <a:gd name="connsiteY1181" fmla="*/ 26803 h 4444293"/>
              <a:gd name="connsiteX1182" fmla="*/ 3013422 w 4618181"/>
              <a:gd name="connsiteY1182" fmla="*/ 20751 h 4444293"/>
              <a:gd name="connsiteX1183" fmla="*/ 3023414 w 4618181"/>
              <a:gd name="connsiteY1183" fmla="*/ 27915 h 4444293"/>
              <a:gd name="connsiteX1184" fmla="*/ 3032532 w 4618181"/>
              <a:gd name="connsiteY1184" fmla="*/ 61882 h 4444293"/>
              <a:gd name="connsiteX1185" fmla="*/ 3055389 w 4618181"/>
              <a:gd name="connsiteY1185" fmla="*/ 76087 h 4444293"/>
              <a:gd name="connsiteX1186" fmla="*/ 3068005 w 4618181"/>
              <a:gd name="connsiteY1186" fmla="*/ 94121 h 4444293"/>
              <a:gd name="connsiteX1187" fmla="*/ 3077372 w 4618181"/>
              <a:gd name="connsiteY1187" fmla="*/ 149333 h 4444293"/>
              <a:gd name="connsiteX1188" fmla="*/ 3093235 w 4618181"/>
              <a:gd name="connsiteY1188" fmla="*/ 164526 h 4444293"/>
              <a:gd name="connsiteX1189" fmla="*/ 3093235 w 4618181"/>
              <a:gd name="connsiteY1189" fmla="*/ 176877 h 4444293"/>
              <a:gd name="connsiteX1190" fmla="*/ 3088114 w 4618181"/>
              <a:gd name="connsiteY1190" fmla="*/ 190094 h 4444293"/>
              <a:gd name="connsiteX1191" fmla="*/ 3108473 w 4618181"/>
              <a:gd name="connsiteY1191" fmla="*/ 210598 h 4444293"/>
              <a:gd name="connsiteX1192" fmla="*/ 3109722 w 4618181"/>
              <a:gd name="connsiteY1192" fmla="*/ 238019 h 4444293"/>
              <a:gd name="connsiteX1193" fmla="*/ 3139949 w 4618181"/>
              <a:gd name="connsiteY1193" fmla="*/ 277915 h 4444293"/>
              <a:gd name="connsiteX1194" fmla="*/ 3134079 w 4618181"/>
              <a:gd name="connsiteY1194" fmla="*/ 302248 h 4444293"/>
              <a:gd name="connsiteX1195" fmla="*/ 3146069 w 4618181"/>
              <a:gd name="connsiteY1195" fmla="*/ 321640 h 4444293"/>
              <a:gd name="connsiteX1196" fmla="*/ 3165929 w 4618181"/>
              <a:gd name="connsiteY1196" fmla="*/ 332510 h 4444293"/>
              <a:gd name="connsiteX1197" fmla="*/ 3156936 w 4618181"/>
              <a:gd name="connsiteY1197" fmla="*/ 348691 h 4444293"/>
              <a:gd name="connsiteX1198" fmla="*/ 3167803 w 4618181"/>
              <a:gd name="connsiteY1198" fmla="*/ 357831 h 4444293"/>
              <a:gd name="connsiteX1199" fmla="*/ 3177170 w 4618181"/>
              <a:gd name="connsiteY1199" fmla="*/ 395875 h 4444293"/>
              <a:gd name="connsiteX1200" fmla="*/ 3215890 w 4618181"/>
              <a:gd name="connsiteY1200" fmla="*/ 440959 h 4444293"/>
              <a:gd name="connsiteX1201" fmla="*/ 3245492 w 4618181"/>
              <a:gd name="connsiteY1201" fmla="*/ 449358 h 4444293"/>
              <a:gd name="connsiteX1202" fmla="*/ 3258607 w 4618181"/>
              <a:gd name="connsiteY1202" fmla="*/ 463933 h 4444293"/>
              <a:gd name="connsiteX1203" fmla="*/ 3271847 w 4618181"/>
              <a:gd name="connsiteY1203" fmla="*/ 466156 h 4444293"/>
              <a:gd name="connsiteX1204" fmla="*/ 3300700 w 4618181"/>
              <a:gd name="connsiteY1204" fmla="*/ 491724 h 4444293"/>
              <a:gd name="connsiteX1205" fmla="*/ 3301324 w 4618181"/>
              <a:gd name="connsiteY1205" fmla="*/ 506176 h 4444293"/>
              <a:gd name="connsiteX1206" fmla="*/ 3292206 w 4618181"/>
              <a:gd name="connsiteY1206" fmla="*/ 503088 h 4444293"/>
              <a:gd name="connsiteX1207" fmla="*/ 3292206 w 4618181"/>
              <a:gd name="connsiteY1207" fmla="*/ 522974 h 4444293"/>
              <a:gd name="connsiteX1208" fmla="*/ 3288584 w 4618181"/>
              <a:gd name="connsiteY1208" fmla="*/ 547925 h 4444293"/>
              <a:gd name="connsiteX1209" fmla="*/ 3301949 w 4618181"/>
              <a:gd name="connsiteY1209" fmla="*/ 581769 h 4444293"/>
              <a:gd name="connsiteX1210" fmla="*/ 3323557 w 4618181"/>
              <a:gd name="connsiteY1210" fmla="*/ 601408 h 4444293"/>
              <a:gd name="connsiteX1211" fmla="*/ 3327554 w 4618181"/>
              <a:gd name="connsiteY1211" fmla="*/ 629447 h 4444293"/>
              <a:gd name="connsiteX1212" fmla="*/ 3311567 w 4618181"/>
              <a:gd name="connsiteY1212" fmla="*/ 644516 h 4444293"/>
              <a:gd name="connsiteX1213" fmla="*/ 3313315 w 4618181"/>
              <a:gd name="connsiteY1213" fmla="*/ 653409 h 4444293"/>
              <a:gd name="connsiteX1214" fmla="*/ 3301449 w 4618181"/>
              <a:gd name="connsiteY1214" fmla="*/ 668972 h 4444293"/>
              <a:gd name="connsiteX1215" fmla="*/ 3309568 w 4618181"/>
              <a:gd name="connsiteY1215" fmla="*/ 678977 h 4444293"/>
              <a:gd name="connsiteX1216" fmla="*/ 3310567 w 4618181"/>
              <a:gd name="connsiteY1216" fmla="*/ 718132 h 4444293"/>
              <a:gd name="connsiteX1217" fmla="*/ 3290957 w 4618181"/>
              <a:gd name="connsiteY1217" fmla="*/ 729249 h 4444293"/>
              <a:gd name="connsiteX1218" fmla="*/ 3295454 w 4618181"/>
              <a:gd name="connsiteY1218" fmla="*/ 736660 h 4444293"/>
              <a:gd name="connsiteX1219" fmla="*/ 3309193 w 4618181"/>
              <a:gd name="connsiteY1219" fmla="*/ 732584 h 4444293"/>
              <a:gd name="connsiteX1220" fmla="*/ 3312316 w 4618181"/>
              <a:gd name="connsiteY1220" fmla="*/ 742712 h 4444293"/>
              <a:gd name="connsiteX1221" fmla="*/ 3291332 w 4618181"/>
              <a:gd name="connsiteY1221" fmla="*/ 755929 h 4444293"/>
              <a:gd name="connsiteX1222" fmla="*/ 3291582 w 4618181"/>
              <a:gd name="connsiteY1222" fmla="*/ 793725 h 4444293"/>
              <a:gd name="connsiteX1223" fmla="*/ 3283713 w 4618181"/>
              <a:gd name="connsiteY1223" fmla="*/ 805707 h 4444293"/>
              <a:gd name="connsiteX1224" fmla="*/ 3260356 w 4618181"/>
              <a:gd name="connsiteY1224" fmla="*/ 795702 h 4444293"/>
              <a:gd name="connsiteX1225" fmla="*/ 3260856 w 4618181"/>
              <a:gd name="connsiteY1225" fmla="*/ 808053 h 4444293"/>
              <a:gd name="connsiteX1226" fmla="*/ 3280465 w 4618181"/>
              <a:gd name="connsiteY1226" fmla="*/ 827816 h 4444293"/>
              <a:gd name="connsiteX1227" fmla="*/ 3283213 w 4618181"/>
              <a:gd name="connsiteY1227" fmla="*/ 841403 h 4444293"/>
              <a:gd name="connsiteX1228" fmla="*/ 3264103 w 4618181"/>
              <a:gd name="connsiteY1228" fmla="*/ 851161 h 4444293"/>
              <a:gd name="connsiteX1229" fmla="*/ 3250988 w 4618181"/>
              <a:gd name="connsiteY1229" fmla="*/ 869565 h 4444293"/>
              <a:gd name="connsiteX1230" fmla="*/ 3217015 w 4618181"/>
              <a:gd name="connsiteY1230" fmla="*/ 873024 h 4444293"/>
              <a:gd name="connsiteX1231" fmla="*/ 3199153 w 4618181"/>
              <a:gd name="connsiteY1231" fmla="*/ 859313 h 4444293"/>
              <a:gd name="connsiteX1232" fmla="*/ 3226257 w 4618181"/>
              <a:gd name="connsiteY1232" fmla="*/ 843009 h 4444293"/>
              <a:gd name="connsiteX1233" fmla="*/ 3226257 w 4618181"/>
              <a:gd name="connsiteY1233" fmla="*/ 829298 h 4444293"/>
              <a:gd name="connsiteX1234" fmla="*/ 3206897 w 4618181"/>
              <a:gd name="connsiteY1234" fmla="*/ 830163 h 4444293"/>
              <a:gd name="connsiteX1235" fmla="*/ 3202526 w 4618181"/>
              <a:gd name="connsiteY1235" fmla="*/ 842021 h 4444293"/>
              <a:gd name="connsiteX1236" fmla="*/ 3189411 w 4618181"/>
              <a:gd name="connsiteY1236" fmla="*/ 843997 h 4444293"/>
              <a:gd name="connsiteX1237" fmla="*/ 3146819 w 4618181"/>
              <a:gd name="connsiteY1237" fmla="*/ 822381 h 4444293"/>
              <a:gd name="connsiteX1238" fmla="*/ 3138325 w 4618181"/>
              <a:gd name="connsiteY1238" fmla="*/ 834486 h 4444293"/>
              <a:gd name="connsiteX1239" fmla="*/ 3086615 w 4618181"/>
              <a:gd name="connsiteY1239" fmla="*/ 843503 h 4444293"/>
              <a:gd name="connsiteX1240" fmla="*/ 3059636 w 4618181"/>
              <a:gd name="connsiteY1240" fmla="*/ 846714 h 4444293"/>
              <a:gd name="connsiteX1241" fmla="*/ 3047520 w 4618181"/>
              <a:gd name="connsiteY1241" fmla="*/ 871294 h 4444293"/>
              <a:gd name="connsiteX1242" fmla="*/ 3060136 w 4618181"/>
              <a:gd name="connsiteY1242" fmla="*/ 872777 h 4444293"/>
              <a:gd name="connsiteX1243" fmla="*/ 3066631 w 4618181"/>
              <a:gd name="connsiteY1243" fmla="*/ 879323 h 4444293"/>
              <a:gd name="connsiteX1244" fmla="*/ 3076373 w 4618181"/>
              <a:gd name="connsiteY1244" fmla="*/ 861660 h 4444293"/>
              <a:gd name="connsiteX1245" fmla="*/ 3104601 w 4618181"/>
              <a:gd name="connsiteY1245" fmla="*/ 854990 h 4444293"/>
              <a:gd name="connsiteX1246" fmla="*/ 3113719 w 4618181"/>
              <a:gd name="connsiteY1246" fmla="*/ 872406 h 4444293"/>
              <a:gd name="connsiteX1247" fmla="*/ 3138950 w 4618181"/>
              <a:gd name="connsiteY1247" fmla="*/ 894022 h 4444293"/>
              <a:gd name="connsiteX1248" fmla="*/ 3207397 w 4618181"/>
              <a:gd name="connsiteY1248" fmla="*/ 902050 h 4444293"/>
              <a:gd name="connsiteX1249" fmla="*/ 3236874 w 4618181"/>
              <a:gd name="connsiteY1249" fmla="*/ 908967 h 4444293"/>
              <a:gd name="connsiteX1250" fmla="*/ 3270598 w 4618181"/>
              <a:gd name="connsiteY1250" fmla="*/ 902050 h 4444293"/>
              <a:gd name="connsiteX1251" fmla="*/ 3302573 w 4618181"/>
              <a:gd name="connsiteY1251" fmla="*/ 900074 h 4444293"/>
              <a:gd name="connsiteX1252" fmla="*/ 3309193 w 4618181"/>
              <a:gd name="connsiteY1252" fmla="*/ 909462 h 4444293"/>
              <a:gd name="connsiteX1253" fmla="*/ 3344916 w 4618181"/>
              <a:gd name="connsiteY1253" fmla="*/ 915514 h 4444293"/>
              <a:gd name="connsiteX1254" fmla="*/ 3372020 w 4618181"/>
              <a:gd name="connsiteY1254" fmla="*/ 898592 h 4444293"/>
              <a:gd name="connsiteX1255" fmla="*/ 3370521 w 4618181"/>
              <a:gd name="connsiteY1255" fmla="*/ 880805 h 4444293"/>
              <a:gd name="connsiteX1256" fmla="*/ 3358780 w 4618181"/>
              <a:gd name="connsiteY1256" fmla="*/ 868207 h 4444293"/>
              <a:gd name="connsiteX1257" fmla="*/ 3357781 w 4618181"/>
              <a:gd name="connsiteY1257" fmla="*/ 845603 h 4444293"/>
              <a:gd name="connsiteX1258" fmla="*/ 3368897 w 4618181"/>
              <a:gd name="connsiteY1258" fmla="*/ 829298 h 4444293"/>
              <a:gd name="connsiteX1259" fmla="*/ 3385884 w 4618181"/>
              <a:gd name="connsiteY1259" fmla="*/ 820282 h 4444293"/>
              <a:gd name="connsiteX1260" fmla="*/ 3386633 w 4618181"/>
              <a:gd name="connsiteY1260" fmla="*/ 807189 h 4444293"/>
              <a:gd name="connsiteX1261" fmla="*/ 3411239 w 4618181"/>
              <a:gd name="connsiteY1261" fmla="*/ 780756 h 4444293"/>
              <a:gd name="connsiteX1262" fmla="*/ 3412613 w 4618181"/>
              <a:gd name="connsiteY1262" fmla="*/ 764205 h 4444293"/>
              <a:gd name="connsiteX1263" fmla="*/ 3426728 w 4618181"/>
              <a:gd name="connsiteY1263" fmla="*/ 720973 h 4444293"/>
              <a:gd name="connsiteX1264" fmla="*/ 3409615 w 4618181"/>
              <a:gd name="connsiteY1264" fmla="*/ 694911 h 4444293"/>
              <a:gd name="connsiteX1265" fmla="*/ 3413113 w 4618181"/>
              <a:gd name="connsiteY1265" fmla="*/ 664526 h 4444293"/>
              <a:gd name="connsiteX1266" fmla="*/ 3439343 w 4618181"/>
              <a:gd name="connsiteY1266" fmla="*/ 613883 h 4444293"/>
              <a:gd name="connsiteX1267" fmla="*/ 3441466 w 4618181"/>
              <a:gd name="connsiteY1267" fmla="*/ 597332 h 4444293"/>
              <a:gd name="connsiteX1268" fmla="*/ 3410865 w 4618181"/>
              <a:gd name="connsiteY1268" fmla="*/ 531991 h 4444293"/>
              <a:gd name="connsiteX1269" fmla="*/ 3371770 w 4618181"/>
              <a:gd name="connsiteY1269" fmla="*/ 511611 h 4444293"/>
              <a:gd name="connsiteX1270" fmla="*/ 3359904 w 4618181"/>
              <a:gd name="connsiteY1270" fmla="*/ 496294 h 4444293"/>
              <a:gd name="connsiteX1271" fmla="*/ 3354908 w 4618181"/>
              <a:gd name="connsiteY1271" fmla="*/ 444293 h 4444293"/>
              <a:gd name="connsiteX1272" fmla="*/ 3382387 w 4618181"/>
              <a:gd name="connsiteY1272" fmla="*/ 421072 h 4444293"/>
              <a:gd name="connsiteX1273" fmla="*/ 3396126 w 4618181"/>
              <a:gd name="connsiteY1273" fmla="*/ 399210 h 4444293"/>
              <a:gd name="connsiteX1274" fmla="*/ 3420232 w 4618181"/>
              <a:gd name="connsiteY1274" fmla="*/ 394763 h 4444293"/>
              <a:gd name="connsiteX1275" fmla="*/ 3456205 w 4618181"/>
              <a:gd name="connsiteY1275" fmla="*/ 357460 h 4444293"/>
              <a:gd name="connsiteX1276" fmla="*/ 3481060 w 4618181"/>
              <a:gd name="connsiteY1276" fmla="*/ 354990 h 4444293"/>
              <a:gd name="connsiteX1277" fmla="*/ 3511412 w 4618181"/>
              <a:gd name="connsiteY1277" fmla="*/ 381917 h 4444293"/>
              <a:gd name="connsiteX1278" fmla="*/ 3512536 w 4618181"/>
              <a:gd name="connsiteY1278" fmla="*/ 406621 h 4444293"/>
              <a:gd name="connsiteX1279" fmla="*/ 3543013 w 4618181"/>
              <a:gd name="connsiteY1279" fmla="*/ 419713 h 4444293"/>
              <a:gd name="connsiteX1280" fmla="*/ 3551256 w 4618181"/>
              <a:gd name="connsiteY1280" fmla="*/ 433053 h 4444293"/>
              <a:gd name="connsiteX1281" fmla="*/ 3559500 w 4618181"/>
              <a:gd name="connsiteY1281" fmla="*/ 432683 h 4444293"/>
              <a:gd name="connsiteX1282" fmla="*/ 3583606 w 4618181"/>
              <a:gd name="connsiteY1282" fmla="*/ 459857 h 4444293"/>
              <a:gd name="connsiteX1283" fmla="*/ 3581108 w 4618181"/>
              <a:gd name="connsiteY1283" fmla="*/ 481966 h 4444293"/>
              <a:gd name="connsiteX1284" fmla="*/ 3597470 w 4618181"/>
              <a:gd name="connsiteY1284" fmla="*/ 491601 h 4444293"/>
              <a:gd name="connsiteX1285" fmla="*/ 3603216 w 4618181"/>
              <a:gd name="connsiteY1285" fmla="*/ 511981 h 4444293"/>
              <a:gd name="connsiteX1286" fmla="*/ 3621452 w 4618181"/>
              <a:gd name="connsiteY1286" fmla="*/ 532485 h 4444293"/>
              <a:gd name="connsiteX1287" fmla="*/ 3625948 w 4618181"/>
              <a:gd name="connsiteY1287" fmla="*/ 554965 h 4444293"/>
              <a:gd name="connsiteX1288" fmla="*/ 3617330 w 4618181"/>
              <a:gd name="connsiteY1288" fmla="*/ 563612 h 4444293"/>
              <a:gd name="connsiteX1289" fmla="*/ 3632069 w 4618181"/>
              <a:gd name="connsiteY1289" fmla="*/ 583622 h 4444293"/>
              <a:gd name="connsiteX1290" fmla="*/ 3654302 w 4618181"/>
              <a:gd name="connsiteY1290" fmla="*/ 584116 h 4444293"/>
              <a:gd name="connsiteX1291" fmla="*/ 3679407 w 4618181"/>
              <a:gd name="connsiteY1291" fmla="*/ 600296 h 4444293"/>
              <a:gd name="connsiteX1292" fmla="*/ 3704138 w 4618181"/>
              <a:gd name="connsiteY1292" fmla="*/ 593750 h 4444293"/>
              <a:gd name="connsiteX1293" fmla="*/ 3719127 w 4618181"/>
              <a:gd name="connsiteY1293" fmla="*/ 588315 h 4444293"/>
              <a:gd name="connsiteX1294" fmla="*/ 3746730 w 4618181"/>
              <a:gd name="connsiteY1294" fmla="*/ 584363 h 4444293"/>
              <a:gd name="connsiteX1295" fmla="*/ 3752601 w 4618181"/>
              <a:gd name="connsiteY1295" fmla="*/ 573864 h 4444293"/>
              <a:gd name="connsiteX1296" fmla="*/ 3762718 w 4618181"/>
              <a:gd name="connsiteY1296" fmla="*/ 567194 h 4444293"/>
              <a:gd name="connsiteX1297" fmla="*/ 3749978 w 4618181"/>
              <a:gd name="connsiteY1297" fmla="*/ 562871 h 4444293"/>
              <a:gd name="connsiteX1298" fmla="*/ 3732116 w 4618181"/>
              <a:gd name="connsiteY1298" fmla="*/ 568429 h 4444293"/>
              <a:gd name="connsiteX1299" fmla="*/ 3725247 w 4618181"/>
              <a:gd name="connsiteY1299" fmla="*/ 554965 h 4444293"/>
              <a:gd name="connsiteX1300" fmla="*/ 3712382 w 4618181"/>
              <a:gd name="connsiteY1300" fmla="*/ 578804 h 4444293"/>
              <a:gd name="connsiteX1301" fmla="*/ 3686027 w 4618181"/>
              <a:gd name="connsiteY1301" fmla="*/ 579916 h 4444293"/>
              <a:gd name="connsiteX1302" fmla="*/ 3673537 w 4618181"/>
              <a:gd name="connsiteY1302" fmla="*/ 563982 h 4444293"/>
              <a:gd name="connsiteX1303" fmla="*/ 3652803 w 4618181"/>
              <a:gd name="connsiteY1303" fmla="*/ 565588 h 4444293"/>
              <a:gd name="connsiteX1304" fmla="*/ 3641062 w 4618181"/>
              <a:gd name="connsiteY1304" fmla="*/ 549654 h 4444293"/>
              <a:gd name="connsiteX1305" fmla="*/ 3646682 w 4618181"/>
              <a:gd name="connsiteY1305" fmla="*/ 534214 h 4444293"/>
              <a:gd name="connsiteX1306" fmla="*/ 3635316 w 4618181"/>
              <a:gd name="connsiteY1306" fmla="*/ 527915 h 4444293"/>
              <a:gd name="connsiteX1307" fmla="*/ 3620952 w 4618181"/>
              <a:gd name="connsiteY1307" fmla="*/ 502347 h 4444293"/>
              <a:gd name="connsiteX1308" fmla="*/ 3621702 w 4618181"/>
              <a:gd name="connsiteY1308" fmla="*/ 472085 h 4444293"/>
              <a:gd name="connsiteX1309" fmla="*/ 3639563 w 4618181"/>
              <a:gd name="connsiteY1309" fmla="*/ 466527 h 4444293"/>
              <a:gd name="connsiteX1310" fmla="*/ 3653552 w 4618181"/>
              <a:gd name="connsiteY1310" fmla="*/ 453557 h 4444293"/>
              <a:gd name="connsiteX1311" fmla="*/ 3639938 w 4618181"/>
              <a:gd name="connsiteY1311" fmla="*/ 443799 h 4444293"/>
              <a:gd name="connsiteX1312" fmla="*/ 3635192 w 4618181"/>
              <a:gd name="connsiteY1312" fmla="*/ 429595 h 4444293"/>
              <a:gd name="connsiteX1313" fmla="*/ 3629446 w 4618181"/>
              <a:gd name="connsiteY1313" fmla="*/ 426383 h 4444293"/>
              <a:gd name="connsiteX1314" fmla="*/ 3622576 w 4618181"/>
              <a:gd name="connsiteY1314" fmla="*/ 412179 h 4444293"/>
              <a:gd name="connsiteX1315" fmla="*/ 3594098 w 4618181"/>
              <a:gd name="connsiteY1315" fmla="*/ 397604 h 4444293"/>
              <a:gd name="connsiteX1316" fmla="*/ 3592100 w 4618181"/>
              <a:gd name="connsiteY1316" fmla="*/ 383276 h 4444293"/>
              <a:gd name="connsiteX1317" fmla="*/ 3570117 w 4618181"/>
              <a:gd name="connsiteY1317" fmla="*/ 356719 h 4444293"/>
              <a:gd name="connsiteX1318" fmla="*/ 3539016 w 4618181"/>
              <a:gd name="connsiteY1318" fmla="*/ 358696 h 4444293"/>
              <a:gd name="connsiteX1319" fmla="*/ 3494550 w 4618181"/>
              <a:gd name="connsiteY1319" fmla="*/ 342762 h 4444293"/>
              <a:gd name="connsiteX1320" fmla="*/ 3482559 w 4618181"/>
              <a:gd name="connsiteY1320" fmla="*/ 322628 h 4444293"/>
              <a:gd name="connsiteX1321" fmla="*/ 3463449 w 4618181"/>
              <a:gd name="connsiteY1321" fmla="*/ 330287 h 4444293"/>
              <a:gd name="connsiteX1322" fmla="*/ 3429350 w 4618181"/>
              <a:gd name="connsiteY1322" fmla="*/ 312500 h 4444293"/>
              <a:gd name="connsiteX1323" fmla="*/ 3413612 w 4618181"/>
              <a:gd name="connsiteY1323" fmla="*/ 318676 h 4444293"/>
              <a:gd name="connsiteX1324" fmla="*/ 3390381 w 4618181"/>
              <a:gd name="connsiteY1324" fmla="*/ 312747 h 4444293"/>
              <a:gd name="connsiteX1325" fmla="*/ 3369147 w 4618181"/>
              <a:gd name="connsiteY1325" fmla="*/ 336339 h 4444293"/>
              <a:gd name="connsiteX1326" fmla="*/ 3364026 w 4618181"/>
              <a:gd name="connsiteY1326" fmla="*/ 361290 h 4444293"/>
              <a:gd name="connsiteX1327" fmla="*/ 3352035 w 4618181"/>
              <a:gd name="connsiteY1327" fmla="*/ 372159 h 4444293"/>
              <a:gd name="connsiteX1328" fmla="*/ 3318936 w 4618181"/>
              <a:gd name="connsiteY1328" fmla="*/ 363266 h 4444293"/>
              <a:gd name="connsiteX1329" fmla="*/ 3292581 w 4618181"/>
              <a:gd name="connsiteY1329" fmla="*/ 380929 h 4444293"/>
              <a:gd name="connsiteX1330" fmla="*/ 3266601 w 4618181"/>
              <a:gd name="connsiteY1330" fmla="*/ 374506 h 4444293"/>
              <a:gd name="connsiteX1331" fmla="*/ 3256359 w 4618181"/>
              <a:gd name="connsiteY1331" fmla="*/ 362525 h 4444293"/>
              <a:gd name="connsiteX1332" fmla="*/ 3258108 w 4618181"/>
              <a:gd name="connsiteY1332" fmla="*/ 339056 h 4444293"/>
              <a:gd name="connsiteX1333" fmla="*/ 3254486 w 4618181"/>
              <a:gd name="connsiteY1333" fmla="*/ 319911 h 4444293"/>
              <a:gd name="connsiteX1334" fmla="*/ 3218264 w 4618181"/>
              <a:gd name="connsiteY1334" fmla="*/ 285697 h 4444293"/>
              <a:gd name="connsiteX1335" fmla="*/ 3206273 w 4618181"/>
              <a:gd name="connsiteY1335" fmla="*/ 264946 h 4444293"/>
              <a:gd name="connsiteX1336" fmla="*/ 3208021 w 4618181"/>
              <a:gd name="connsiteY1336" fmla="*/ 224308 h 4444293"/>
              <a:gd name="connsiteX1337" fmla="*/ 3185789 w 4618181"/>
              <a:gd name="connsiteY1337" fmla="*/ 192935 h 4444293"/>
              <a:gd name="connsiteX1338" fmla="*/ 3189661 w 4618181"/>
              <a:gd name="connsiteY1338" fmla="*/ 170084 h 4444293"/>
              <a:gd name="connsiteX1339" fmla="*/ 3192658 w 4618181"/>
              <a:gd name="connsiteY1339" fmla="*/ 110795 h 4444293"/>
              <a:gd name="connsiteX1340" fmla="*/ 3174422 w 4618181"/>
              <a:gd name="connsiteY1340" fmla="*/ 74481 h 4444293"/>
              <a:gd name="connsiteX1341" fmla="*/ 3153439 w 4618181"/>
              <a:gd name="connsiteY1341" fmla="*/ 54101 h 4444293"/>
              <a:gd name="connsiteX1342" fmla="*/ 3129832 w 4618181"/>
              <a:gd name="connsiteY1342" fmla="*/ 55089 h 4444293"/>
              <a:gd name="connsiteX1343" fmla="*/ 3119590 w 4618181"/>
              <a:gd name="connsiteY1343" fmla="*/ 30138 h 4444293"/>
              <a:gd name="connsiteX1344" fmla="*/ 3113844 w 4618181"/>
              <a:gd name="connsiteY1344" fmla="*/ 124 h 4444293"/>
              <a:gd name="connsiteX1345" fmla="*/ 3817675 w 4618181"/>
              <a:gd name="connsiteY1345" fmla="*/ 124 h 4444293"/>
              <a:gd name="connsiteX1346" fmla="*/ 3822671 w 4618181"/>
              <a:gd name="connsiteY1346" fmla="*/ 8399 h 4444293"/>
              <a:gd name="connsiteX1347" fmla="*/ 3810556 w 4618181"/>
              <a:gd name="connsiteY1347" fmla="*/ 17169 h 4444293"/>
              <a:gd name="connsiteX1348" fmla="*/ 3811430 w 4618181"/>
              <a:gd name="connsiteY1348" fmla="*/ 38414 h 4444293"/>
              <a:gd name="connsiteX1349" fmla="*/ 3803437 w 4618181"/>
              <a:gd name="connsiteY1349" fmla="*/ 45578 h 4444293"/>
              <a:gd name="connsiteX1350" fmla="*/ 3837535 w 4618181"/>
              <a:gd name="connsiteY1350" fmla="*/ 65835 h 4444293"/>
              <a:gd name="connsiteX1351" fmla="*/ 3866762 w 4618181"/>
              <a:gd name="connsiteY1351" fmla="*/ 62747 h 4444293"/>
              <a:gd name="connsiteX1352" fmla="*/ 3895490 w 4618181"/>
              <a:gd name="connsiteY1352" fmla="*/ 68429 h 4444293"/>
              <a:gd name="connsiteX1353" fmla="*/ 3913851 w 4618181"/>
              <a:gd name="connsiteY1353" fmla="*/ 91033 h 4444293"/>
              <a:gd name="connsiteX1354" fmla="*/ 3913351 w 4618181"/>
              <a:gd name="connsiteY1354" fmla="*/ 110301 h 4444293"/>
              <a:gd name="connsiteX1355" fmla="*/ 3934086 w 4618181"/>
              <a:gd name="connsiteY1355" fmla="*/ 124506 h 4444293"/>
              <a:gd name="connsiteX1356" fmla="*/ 3971557 w 4618181"/>
              <a:gd name="connsiteY1356" fmla="*/ 123641 h 4444293"/>
              <a:gd name="connsiteX1357" fmla="*/ 4009902 w 4618181"/>
              <a:gd name="connsiteY1357" fmla="*/ 159832 h 4444293"/>
              <a:gd name="connsiteX1358" fmla="*/ 4005905 w 4618181"/>
              <a:gd name="connsiteY1358" fmla="*/ 146986 h 4444293"/>
              <a:gd name="connsiteX1359" fmla="*/ 4005530 w 4618181"/>
              <a:gd name="connsiteY1359" fmla="*/ 121542 h 4444293"/>
              <a:gd name="connsiteX1360" fmla="*/ 4032010 w 4618181"/>
              <a:gd name="connsiteY1360" fmla="*/ 91527 h 4444293"/>
              <a:gd name="connsiteX1361" fmla="*/ 4052119 w 4618181"/>
              <a:gd name="connsiteY1361" fmla="*/ 90044 h 4444293"/>
              <a:gd name="connsiteX1362" fmla="*/ 4093087 w 4618181"/>
              <a:gd name="connsiteY1362" fmla="*/ 119195 h 4444293"/>
              <a:gd name="connsiteX1363" fmla="*/ 4120816 w 4618181"/>
              <a:gd name="connsiteY1363" fmla="*/ 117959 h 4444293"/>
              <a:gd name="connsiteX1364" fmla="*/ 4136179 w 4618181"/>
              <a:gd name="connsiteY1364" fmla="*/ 135128 h 4444293"/>
              <a:gd name="connsiteX1365" fmla="*/ 4146671 w 4618181"/>
              <a:gd name="connsiteY1365" fmla="*/ 168355 h 4444293"/>
              <a:gd name="connsiteX1366" fmla="*/ 4140926 w 4618181"/>
              <a:gd name="connsiteY1366" fmla="*/ 132164 h 4444293"/>
              <a:gd name="connsiteX1367" fmla="*/ 4128810 w 4618181"/>
              <a:gd name="connsiteY1367" fmla="*/ 109313 h 4444293"/>
              <a:gd name="connsiteX1368" fmla="*/ 4112073 w 4618181"/>
              <a:gd name="connsiteY1368" fmla="*/ 109313 h 4444293"/>
              <a:gd name="connsiteX1369" fmla="*/ 4086718 w 4618181"/>
              <a:gd name="connsiteY1369" fmla="*/ 101532 h 4444293"/>
              <a:gd name="connsiteX1370" fmla="*/ 4050995 w 4618181"/>
              <a:gd name="connsiteY1370" fmla="*/ 80410 h 4444293"/>
              <a:gd name="connsiteX1371" fmla="*/ 4021393 w 4618181"/>
              <a:gd name="connsiteY1371" fmla="*/ 87204 h 4444293"/>
              <a:gd name="connsiteX1372" fmla="*/ 3992665 w 4618181"/>
              <a:gd name="connsiteY1372" fmla="*/ 111784 h 4444293"/>
              <a:gd name="connsiteX1373" fmla="*/ 3978551 w 4618181"/>
              <a:gd name="connsiteY1373" fmla="*/ 107584 h 4444293"/>
              <a:gd name="connsiteX1374" fmla="*/ 3975179 w 4618181"/>
              <a:gd name="connsiteY1374" fmla="*/ 111166 h 4444293"/>
              <a:gd name="connsiteX1375" fmla="*/ 3942704 w 4618181"/>
              <a:gd name="connsiteY1375" fmla="*/ 99432 h 4444293"/>
              <a:gd name="connsiteX1376" fmla="*/ 3907106 w 4618181"/>
              <a:gd name="connsiteY1376" fmla="*/ 64600 h 4444293"/>
              <a:gd name="connsiteX1377" fmla="*/ 3888496 w 4618181"/>
              <a:gd name="connsiteY1377" fmla="*/ 52248 h 4444293"/>
              <a:gd name="connsiteX1378" fmla="*/ 3857145 w 4618181"/>
              <a:gd name="connsiteY1378" fmla="*/ 50889 h 4444293"/>
              <a:gd name="connsiteX1379" fmla="*/ 3838659 w 4618181"/>
              <a:gd name="connsiteY1379" fmla="*/ 24827 h 4444293"/>
              <a:gd name="connsiteX1380" fmla="*/ 3853398 w 4618181"/>
              <a:gd name="connsiteY1380" fmla="*/ 29644 h 4444293"/>
              <a:gd name="connsiteX1381" fmla="*/ 3864389 w 4618181"/>
              <a:gd name="connsiteY1381" fmla="*/ 27050 h 4444293"/>
              <a:gd name="connsiteX1382" fmla="*/ 3874631 w 4618181"/>
              <a:gd name="connsiteY1382" fmla="*/ 0 h 4444293"/>
              <a:gd name="connsiteX1383" fmla="*/ 4618182 w 4618181"/>
              <a:gd name="connsiteY1383" fmla="*/ 0 h 4444293"/>
              <a:gd name="connsiteX1384" fmla="*/ 4618182 w 4618181"/>
              <a:gd name="connsiteY1384" fmla="*/ 2851038 h 4444293"/>
              <a:gd name="connsiteX1385" fmla="*/ 4554731 w 4618181"/>
              <a:gd name="connsiteY1385" fmla="*/ 2781621 h 4444293"/>
              <a:gd name="connsiteX1386" fmla="*/ 3743732 w 4618181"/>
              <a:gd name="connsiteY1386" fmla="*/ 16675 h 4444293"/>
              <a:gd name="connsiteX1387" fmla="*/ 3755473 w 4618181"/>
              <a:gd name="connsiteY1387" fmla="*/ 14822 h 4444293"/>
              <a:gd name="connsiteX1388" fmla="*/ 667609 w 4618181"/>
              <a:gd name="connsiteY1388" fmla="*/ 1475914 h 4444293"/>
              <a:gd name="connsiteX1389" fmla="*/ 658366 w 4618181"/>
              <a:gd name="connsiteY1389" fmla="*/ 1460968 h 4444293"/>
              <a:gd name="connsiteX1390" fmla="*/ 664362 w 4618181"/>
              <a:gd name="connsiteY1390" fmla="*/ 1453187 h 4444293"/>
              <a:gd name="connsiteX1391" fmla="*/ 661739 w 4618181"/>
              <a:gd name="connsiteY1391" fmla="*/ 1442441 h 4444293"/>
              <a:gd name="connsiteX1392" fmla="*/ 649748 w 4618181"/>
              <a:gd name="connsiteY1392" fmla="*/ 1440341 h 4444293"/>
              <a:gd name="connsiteX1393" fmla="*/ 638756 w 4618181"/>
              <a:gd name="connsiteY1393" fmla="*/ 1453187 h 4444293"/>
              <a:gd name="connsiteX1394" fmla="*/ 639756 w 4618181"/>
              <a:gd name="connsiteY1394" fmla="*/ 1465662 h 4444293"/>
              <a:gd name="connsiteX1395" fmla="*/ 653995 w 4618181"/>
              <a:gd name="connsiteY1395" fmla="*/ 1477520 h 4444293"/>
              <a:gd name="connsiteX1396" fmla="*/ 658491 w 4618181"/>
              <a:gd name="connsiteY1396" fmla="*/ 1485178 h 4444293"/>
              <a:gd name="connsiteX1397" fmla="*/ 665985 w 4618181"/>
              <a:gd name="connsiteY1397" fmla="*/ 1484560 h 4444293"/>
              <a:gd name="connsiteX1398" fmla="*/ 667734 w 4618181"/>
              <a:gd name="connsiteY1398" fmla="*/ 1475914 h 4444293"/>
              <a:gd name="connsiteX1399" fmla="*/ 667734 w 4618181"/>
              <a:gd name="connsiteY1399" fmla="*/ 1475914 h 4444293"/>
              <a:gd name="connsiteX1400" fmla="*/ 1129877 w 4618181"/>
              <a:gd name="connsiteY1400" fmla="*/ 1157238 h 4444293"/>
              <a:gd name="connsiteX1401" fmla="*/ 1138745 w 4618181"/>
              <a:gd name="connsiteY1401" fmla="*/ 1155509 h 4444293"/>
              <a:gd name="connsiteX1402" fmla="*/ 1136997 w 4618181"/>
              <a:gd name="connsiteY1402" fmla="*/ 1146122 h 4444293"/>
              <a:gd name="connsiteX1403" fmla="*/ 1126630 w 4618181"/>
              <a:gd name="connsiteY1403" fmla="*/ 1135005 h 4444293"/>
              <a:gd name="connsiteX1404" fmla="*/ 1117512 w 4618181"/>
              <a:gd name="connsiteY1404" fmla="*/ 1136981 h 4444293"/>
              <a:gd name="connsiteX1405" fmla="*/ 1117512 w 4618181"/>
              <a:gd name="connsiteY1405" fmla="*/ 1146492 h 4444293"/>
              <a:gd name="connsiteX1406" fmla="*/ 1130002 w 4618181"/>
              <a:gd name="connsiteY1406" fmla="*/ 1157115 h 4444293"/>
              <a:gd name="connsiteX1407" fmla="*/ 1130002 w 4618181"/>
              <a:gd name="connsiteY1407" fmla="*/ 1157115 h 4444293"/>
              <a:gd name="connsiteX1408" fmla="*/ 1647852 w 4618181"/>
              <a:gd name="connsiteY1408" fmla="*/ 774827 h 4444293"/>
              <a:gd name="connsiteX1409" fmla="*/ 1654097 w 4618181"/>
              <a:gd name="connsiteY1409" fmla="*/ 774580 h 4444293"/>
              <a:gd name="connsiteX1410" fmla="*/ 1658594 w 4618181"/>
              <a:gd name="connsiteY1410" fmla="*/ 768775 h 4444293"/>
              <a:gd name="connsiteX1411" fmla="*/ 1678953 w 4618181"/>
              <a:gd name="connsiteY1411" fmla="*/ 763958 h 4444293"/>
              <a:gd name="connsiteX1412" fmla="*/ 1688321 w 4618181"/>
              <a:gd name="connsiteY1412" fmla="*/ 756917 h 4444293"/>
              <a:gd name="connsiteX1413" fmla="*/ 1665089 w 4618181"/>
              <a:gd name="connsiteY1413" fmla="*/ 755558 h 4444293"/>
              <a:gd name="connsiteX1414" fmla="*/ 1648476 w 4618181"/>
              <a:gd name="connsiteY1414" fmla="*/ 764822 h 4444293"/>
              <a:gd name="connsiteX1415" fmla="*/ 1647977 w 4618181"/>
              <a:gd name="connsiteY1415" fmla="*/ 774704 h 4444293"/>
              <a:gd name="connsiteX1416" fmla="*/ 1647977 w 4618181"/>
              <a:gd name="connsiteY1416" fmla="*/ 774704 h 4444293"/>
              <a:gd name="connsiteX1417" fmla="*/ 1912148 w 4618181"/>
              <a:gd name="connsiteY1417" fmla="*/ 758029 h 4444293"/>
              <a:gd name="connsiteX1418" fmla="*/ 1918518 w 4618181"/>
              <a:gd name="connsiteY1418" fmla="*/ 764946 h 4444293"/>
              <a:gd name="connsiteX1419" fmla="*/ 1930633 w 4618181"/>
              <a:gd name="connsiteY1419" fmla="*/ 747406 h 4444293"/>
              <a:gd name="connsiteX1420" fmla="*/ 1929384 w 4618181"/>
              <a:gd name="connsiteY1420" fmla="*/ 734313 h 4444293"/>
              <a:gd name="connsiteX1421" fmla="*/ 1917518 w 4618181"/>
              <a:gd name="connsiteY1421" fmla="*/ 737154 h 4444293"/>
              <a:gd name="connsiteX1422" fmla="*/ 1910774 w 4618181"/>
              <a:gd name="connsiteY1422" fmla="*/ 749259 h 4444293"/>
              <a:gd name="connsiteX1423" fmla="*/ 1912148 w 4618181"/>
              <a:gd name="connsiteY1423" fmla="*/ 758029 h 4444293"/>
              <a:gd name="connsiteX1424" fmla="*/ 1912148 w 4618181"/>
              <a:gd name="connsiteY1424" fmla="*/ 758029 h 4444293"/>
              <a:gd name="connsiteX1425" fmla="*/ 1876925 w 4618181"/>
              <a:gd name="connsiteY1425" fmla="*/ 763463 h 4444293"/>
              <a:gd name="connsiteX1426" fmla="*/ 1890290 w 4618181"/>
              <a:gd name="connsiteY1426" fmla="*/ 764575 h 4444293"/>
              <a:gd name="connsiteX1427" fmla="*/ 1898159 w 4618181"/>
              <a:gd name="connsiteY1427" fmla="*/ 753706 h 4444293"/>
              <a:gd name="connsiteX1428" fmla="*/ 1891539 w 4618181"/>
              <a:gd name="connsiteY1428" fmla="*/ 744812 h 4444293"/>
              <a:gd name="connsiteX1429" fmla="*/ 1882795 w 4618181"/>
              <a:gd name="connsiteY1429" fmla="*/ 748765 h 4444293"/>
              <a:gd name="connsiteX1430" fmla="*/ 1877050 w 4618181"/>
              <a:gd name="connsiteY1430" fmla="*/ 763463 h 4444293"/>
              <a:gd name="connsiteX1431" fmla="*/ 1877050 w 4618181"/>
              <a:gd name="connsiteY1431" fmla="*/ 763463 h 4444293"/>
              <a:gd name="connsiteX1432" fmla="*/ 2091509 w 4618181"/>
              <a:gd name="connsiteY1432" fmla="*/ 662673 h 4444293"/>
              <a:gd name="connsiteX1433" fmla="*/ 2099253 w 4618181"/>
              <a:gd name="connsiteY1433" fmla="*/ 664649 h 4444293"/>
              <a:gd name="connsiteX1434" fmla="*/ 2108871 w 4618181"/>
              <a:gd name="connsiteY1434" fmla="*/ 656744 h 4444293"/>
              <a:gd name="connsiteX1435" fmla="*/ 2134351 w 4618181"/>
              <a:gd name="connsiteY1435" fmla="*/ 647480 h 4444293"/>
              <a:gd name="connsiteX1436" fmla="*/ 2140596 w 4618181"/>
              <a:gd name="connsiteY1436" fmla="*/ 638340 h 4444293"/>
              <a:gd name="connsiteX1437" fmla="*/ 2123859 w 4618181"/>
              <a:gd name="connsiteY1437" fmla="*/ 634511 h 4444293"/>
              <a:gd name="connsiteX1438" fmla="*/ 2100252 w 4618181"/>
              <a:gd name="connsiteY1438" fmla="*/ 647727 h 4444293"/>
              <a:gd name="connsiteX1439" fmla="*/ 2091634 w 4618181"/>
              <a:gd name="connsiteY1439" fmla="*/ 662920 h 4444293"/>
              <a:gd name="connsiteX1440" fmla="*/ 2091634 w 4618181"/>
              <a:gd name="connsiteY1440" fmla="*/ 662920 h 4444293"/>
              <a:gd name="connsiteX1441" fmla="*/ 3826668 w 4618181"/>
              <a:gd name="connsiteY1441" fmla="*/ 2841 h 4444293"/>
              <a:gd name="connsiteX1442" fmla="*/ 3832539 w 4618181"/>
              <a:gd name="connsiteY1442" fmla="*/ 9140 h 4444293"/>
              <a:gd name="connsiteX1443" fmla="*/ 2236272 w 4618181"/>
              <a:gd name="connsiteY1443" fmla="*/ 575593 h 4444293"/>
              <a:gd name="connsiteX1444" fmla="*/ 2246889 w 4618181"/>
              <a:gd name="connsiteY1444" fmla="*/ 561388 h 4444293"/>
              <a:gd name="connsiteX1445" fmla="*/ 2232400 w 4618181"/>
              <a:gd name="connsiteY1445" fmla="*/ 564600 h 4444293"/>
              <a:gd name="connsiteX1446" fmla="*/ 2236147 w 4618181"/>
              <a:gd name="connsiteY1446" fmla="*/ 575593 h 4444293"/>
              <a:gd name="connsiteX1447" fmla="*/ 2236147 w 4618181"/>
              <a:gd name="connsiteY1447" fmla="*/ 575593 h 4444293"/>
              <a:gd name="connsiteX1448" fmla="*/ 2753622 w 4618181"/>
              <a:gd name="connsiteY1448" fmla="*/ 431818 h 4444293"/>
              <a:gd name="connsiteX1449" fmla="*/ 2757994 w 4618181"/>
              <a:gd name="connsiteY1449" fmla="*/ 439476 h 4444293"/>
              <a:gd name="connsiteX1450" fmla="*/ 2770859 w 4618181"/>
              <a:gd name="connsiteY1450" fmla="*/ 443058 h 4444293"/>
              <a:gd name="connsiteX1451" fmla="*/ 2780602 w 4618181"/>
              <a:gd name="connsiteY1451" fmla="*/ 429718 h 4444293"/>
              <a:gd name="connsiteX1452" fmla="*/ 2777979 w 4618181"/>
              <a:gd name="connsiteY1452" fmla="*/ 416255 h 4444293"/>
              <a:gd name="connsiteX1453" fmla="*/ 2768611 w 4618181"/>
              <a:gd name="connsiteY1453" fmla="*/ 406991 h 4444293"/>
              <a:gd name="connsiteX1454" fmla="*/ 2757619 w 4618181"/>
              <a:gd name="connsiteY1454" fmla="*/ 414526 h 4444293"/>
              <a:gd name="connsiteX1455" fmla="*/ 2757994 w 4618181"/>
              <a:gd name="connsiteY1455" fmla="*/ 423295 h 4444293"/>
              <a:gd name="connsiteX1456" fmla="*/ 2753622 w 4618181"/>
              <a:gd name="connsiteY1456" fmla="*/ 431818 h 4444293"/>
              <a:gd name="connsiteX1457" fmla="*/ 2753622 w 4618181"/>
              <a:gd name="connsiteY1457" fmla="*/ 431818 h 4444293"/>
              <a:gd name="connsiteX1458" fmla="*/ 3115843 w 4618181"/>
              <a:gd name="connsiteY1458" fmla="*/ 848197 h 4444293"/>
              <a:gd name="connsiteX1459" fmla="*/ 3117466 w 4618181"/>
              <a:gd name="connsiteY1459" fmla="*/ 856349 h 4444293"/>
              <a:gd name="connsiteX1460" fmla="*/ 3129832 w 4618181"/>
              <a:gd name="connsiteY1460" fmla="*/ 859437 h 4444293"/>
              <a:gd name="connsiteX1461" fmla="*/ 3131581 w 4618181"/>
              <a:gd name="connsiteY1461" fmla="*/ 870553 h 4444293"/>
              <a:gd name="connsiteX1462" fmla="*/ 3152314 w 4618181"/>
              <a:gd name="connsiteY1462" fmla="*/ 882535 h 4444293"/>
              <a:gd name="connsiteX1463" fmla="*/ 3170925 w 4618181"/>
              <a:gd name="connsiteY1463" fmla="*/ 875494 h 4444293"/>
              <a:gd name="connsiteX1464" fmla="*/ 3177545 w 4618181"/>
              <a:gd name="connsiteY1464" fmla="*/ 867342 h 4444293"/>
              <a:gd name="connsiteX1465" fmla="*/ 3169801 w 4618181"/>
              <a:gd name="connsiteY1465" fmla="*/ 850543 h 4444293"/>
              <a:gd name="connsiteX1466" fmla="*/ 3155062 w 4618181"/>
              <a:gd name="connsiteY1466" fmla="*/ 847209 h 4444293"/>
              <a:gd name="connsiteX1467" fmla="*/ 3140948 w 4618181"/>
              <a:gd name="connsiteY1467" fmla="*/ 851779 h 4444293"/>
              <a:gd name="connsiteX1468" fmla="*/ 3127833 w 4618181"/>
              <a:gd name="connsiteY1468" fmla="*/ 847703 h 4444293"/>
              <a:gd name="connsiteX1469" fmla="*/ 3115593 w 4618181"/>
              <a:gd name="connsiteY1469" fmla="*/ 848197 h 4444293"/>
              <a:gd name="connsiteX1470" fmla="*/ 3115593 w 4618181"/>
              <a:gd name="connsiteY1470" fmla="*/ 848197 h 4444293"/>
              <a:gd name="connsiteX1471" fmla="*/ 246310 w 4618181"/>
              <a:gd name="connsiteY1471" fmla="*/ 2223691 h 4444293"/>
              <a:gd name="connsiteX1472" fmla="*/ 240439 w 4618181"/>
              <a:gd name="connsiteY1472" fmla="*/ 2239995 h 4444293"/>
              <a:gd name="connsiteX1473" fmla="*/ 259050 w 4618181"/>
              <a:gd name="connsiteY1473" fmla="*/ 2248765 h 4444293"/>
              <a:gd name="connsiteX1474" fmla="*/ 264546 w 4618181"/>
              <a:gd name="connsiteY1474" fmla="*/ 2239378 h 4444293"/>
              <a:gd name="connsiteX1475" fmla="*/ 246310 w 4618181"/>
              <a:gd name="connsiteY1475" fmla="*/ 2223691 h 444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Lst>
            <a:rect l="l" t="t" r="r" b="b"/>
            <a:pathLst>
              <a:path w="4618181" h="4444293">
                <a:moveTo>
                  <a:pt x="4553357" y="2782732"/>
                </a:moveTo>
                <a:lnTo>
                  <a:pt x="4382989" y="2667367"/>
                </a:lnTo>
                <a:lnTo>
                  <a:pt x="4375120" y="2654274"/>
                </a:lnTo>
                <a:lnTo>
                  <a:pt x="4389609" y="2650074"/>
                </a:lnTo>
                <a:lnTo>
                  <a:pt x="4404098" y="2632782"/>
                </a:lnTo>
                <a:lnTo>
                  <a:pt x="4404098" y="2616724"/>
                </a:lnTo>
                <a:cubicBezTo>
                  <a:pt x="4404098" y="2616724"/>
                  <a:pt x="4393481" y="2610919"/>
                  <a:pt x="4393481" y="2610919"/>
                </a:cubicBezTo>
                <a:lnTo>
                  <a:pt x="4370248" y="2619071"/>
                </a:lnTo>
                <a:lnTo>
                  <a:pt x="4350639" y="2625124"/>
                </a:lnTo>
                <a:lnTo>
                  <a:pt x="4337149" y="2640193"/>
                </a:lnTo>
                <a:lnTo>
                  <a:pt x="4322785" y="2645998"/>
                </a:lnTo>
                <a:lnTo>
                  <a:pt x="4303300" y="2666502"/>
                </a:lnTo>
                <a:lnTo>
                  <a:pt x="4302176" y="2679966"/>
                </a:lnTo>
                <a:lnTo>
                  <a:pt x="4288811" y="2691700"/>
                </a:lnTo>
                <a:lnTo>
                  <a:pt x="4281817" y="2707757"/>
                </a:lnTo>
                <a:lnTo>
                  <a:pt x="4265080" y="2719985"/>
                </a:lnTo>
                <a:lnTo>
                  <a:pt x="4238475" y="2724679"/>
                </a:lnTo>
                <a:lnTo>
                  <a:pt x="4221488" y="2731596"/>
                </a:lnTo>
                <a:lnTo>
                  <a:pt x="4225985" y="2752100"/>
                </a:lnTo>
                <a:lnTo>
                  <a:pt x="4214993" y="2760499"/>
                </a:lnTo>
                <a:lnTo>
                  <a:pt x="4205875" y="2754941"/>
                </a:lnTo>
                <a:lnTo>
                  <a:pt x="4168779" y="2747653"/>
                </a:lnTo>
                <a:lnTo>
                  <a:pt x="4148170" y="2754076"/>
                </a:lnTo>
                <a:lnTo>
                  <a:pt x="4138053" y="2767293"/>
                </a:lnTo>
                <a:lnTo>
                  <a:pt x="4125562" y="2768775"/>
                </a:lnTo>
                <a:lnTo>
                  <a:pt x="4112573" y="2753212"/>
                </a:lnTo>
                <a:lnTo>
                  <a:pt x="4111948" y="2729620"/>
                </a:lnTo>
                <a:lnTo>
                  <a:pt x="4122815" y="2719244"/>
                </a:lnTo>
                <a:lnTo>
                  <a:pt x="4129684" y="2701211"/>
                </a:lnTo>
                <a:lnTo>
                  <a:pt x="4119193" y="2696023"/>
                </a:lnTo>
                <a:lnTo>
                  <a:pt x="4106077" y="2707757"/>
                </a:lnTo>
                <a:lnTo>
                  <a:pt x="4094212" y="2708251"/>
                </a:lnTo>
                <a:lnTo>
                  <a:pt x="4059114" y="2693305"/>
                </a:lnTo>
                <a:lnTo>
                  <a:pt x="4039129" y="2698370"/>
                </a:lnTo>
                <a:lnTo>
                  <a:pt x="4044500" y="2708375"/>
                </a:lnTo>
                <a:lnTo>
                  <a:pt x="4054992" y="2712451"/>
                </a:lnTo>
                <a:lnTo>
                  <a:pt x="4042377" y="2727149"/>
                </a:lnTo>
                <a:lnTo>
                  <a:pt x="4031510" y="2728632"/>
                </a:lnTo>
                <a:lnTo>
                  <a:pt x="4018645" y="2706522"/>
                </a:lnTo>
                <a:lnTo>
                  <a:pt x="4013774" y="2677495"/>
                </a:lnTo>
                <a:lnTo>
                  <a:pt x="3981299" y="2656250"/>
                </a:lnTo>
                <a:lnTo>
                  <a:pt x="3975554" y="2660450"/>
                </a:lnTo>
                <a:lnTo>
                  <a:pt x="3983298" y="2678483"/>
                </a:lnTo>
                <a:lnTo>
                  <a:pt x="3981549" y="2692688"/>
                </a:lnTo>
                <a:lnTo>
                  <a:pt x="3970307" y="2693182"/>
                </a:lnTo>
                <a:lnTo>
                  <a:pt x="3963563" y="2675025"/>
                </a:lnTo>
                <a:lnTo>
                  <a:pt x="3952196" y="2680460"/>
                </a:lnTo>
                <a:lnTo>
                  <a:pt x="3949698" y="2697999"/>
                </a:lnTo>
                <a:lnTo>
                  <a:pt x="3939581" y="2702075"/>
                </a:lnTo>
                <a:lnTo>
                  <a:pt x="3924842" y="2691206"/>
                </a:lnTo>
                <a:lnTo>
                  <a:pt x="3905233" y="2704175"/>
                </a:lnTo>
                <a:lnTo>
                  <a:pt x="3893992" y="2696764"/>
                </a:lnTo>
                <a:lnTo>
                  <a:pt x="3884999" y="2680089"/>
                </a:lnTo>
                <a:lnTo>
                  <a:pt x="3899112" y="2675519"/>
                </a:lnTo>
                <a:lnTo>
                  <a:pt x="3899737" y="2668602"/>
                </a:lnTo>
                <a:lnTo>
                  <a:pt x="3895365" y="2651680"/>
                </a:lnTo>
                <a:lnTo>
                  <a:pt x="3899362" y="2635746"/>
                </a:lnTo>
                <a:lnTo>
                  <a:pt x="3896864" y="2625618"/>
                </a:lnTo>
                <a:lnTo>
                  <a:pt x="3884249" y="2619565"/>
                </a:lnTo>
                <a:lnTo>
                  <a:pt x="3871009" y="2604373"/>
                </a:lnTo>
                <a:lnTo>
                  <a:pt x="3863515" y="2585968"/>
                </a:lnTo>
                <a:lnTo>
                  <a:pt x="3856021" y="2580781"/>
                </a:lnTo>
                <a:lnTo>
                  <a:pt x="3847402" y="2558795"/>
                </a:lnTo>
                <a:lnTo>
                  <a:pt x="3828542" y="2557930"/>
                </a:lnTo>
                <a:lnTo>
                  <a:pt x="3808682" y="2567317"/>
                </a:lnTo>
                <a:lnTo>
                  <a:pt x="3786824" y="2568552"/>
                </a:lnTo>
                <a:lnTo>
                  <a:pt x="3764217" y="2554842"/>
                </a:lnTo>
                <a:lnTo>
                  <a:pt x="3739236" y="2558548"/>
                </a:lnTo>
                <a:lnTo>
                  <a:pt x="3716379" y="2550395"/>
                </a:lnTo>
                <a:lnTo>
                  <a:pt x="3702764" y="2555583"/>
                </a:lnTo>
                <a:lnTo>
                  <a:pt x="3691398" y="2554101"/>
                </a:lnTo>
                <a:lnTo>
                  <a:pt x="3675285" y="2563982"/>
                </a:lnTo>
                <a:lnTo>
                  <a:pt x="3670789" y="2581892"/>
                </a:lnTo>
                <a:lnTo>
                  <a:pt x="3646308" y="2584239"/>
                </a:lnTo>
                <a:lnTo>
                  <a:pt x="3636690" y="2589921"/>
                </a:lnTo>
                <a:lnTo>
                  <a:pt x="3645933" y="2603261"/>
                </a:lnTo>
                <a:lnTo>
                  <a:pt x="3647182" y="2616354"/>
                </a:lnTo>
                <a:lnTo>
                  <a:pt x="3622951" y="2622653"/>
                </a:lnTo>
                <a:lnTo>
                  <a:pt x="3610960" y="2619936"/>
                </a:lnTo>
                <a:lnTo>
                  <a:pt x="3599094" y="2636858"/>
                </a:lnTo>
                <a:lnTo>
                  <a:pt x="3577486" y="2641675"/>
                </a:lnTo>
                <a:lnTo>
                  <a:pt x="3569117" y="2647974"/>
                </a:lnTo>
                <a:lnTo>
                  <a:pt x="3560499" y="2648345"/>
                </a:lnTo>
                <a:lnTo>
                  <a:pt x="3522653" y="2676137"/>
                </a:lnTo>
                <a:lnTo>
                  <a:pt x="3502419" y="2683547"/>
                </a:lnTo>
                <a:lnTo>
                  <a:pt x="3485682" y="2694047"/>
                </a:lnTo>
                <a:lnTo>
                  <a:pt x="3472317" y="2691947"/>
                </a:lnTo>
                <a:lnTo>
                  <a:pt x="3462075" y="2683177"/>
                </a:lnTo>
                <a:lnTo>
                  <a:pt x="3450584" y="2693429"/>
                </a:lnTo>
                <a:lnTo>
                  <a:pt x="3448461" y="2705287"/>
                </a:lnTo>
                <a:lnTo>
                  <a:pt x="3428601" y="2706151"/>
                </a:lnTo>
                <a:lnTo>
                  <a:pt x="3418484" y="2715786"/>
                </a:lnTo>
                <a:lnTo>
                  <a:pt x="3419983" y="2734684"/>
                </a:lnTo>
                <a:lnTo>
                  <a:pt x="3412988" y="2741601"/>
                </a:lnTo>
                <a:lnTo>
                  <a:pt x="3400248" y="2736907"/>
                </a:lnTo>
                <a:lnTo>
                  <a:pt x="3387133" y="2738760"/>
                </a:lnTo>
                <a:lnTo>
                  <a:pt x="3373019" y="2749136"/>
                </a:lnTo>
                <a:lnTo>
                  <a:pt x="3350536" y="2750741"/>
                </a:lnTo>
                <a:lnTo>
                  <a:pt x="3326680" y="2766799"/>
                </a:lnTo>
                <a:lnTo>
                  <a:pt x="3322433" y="2774827"/>
                </a:lnTo>
                <a:lnTo>
                  <a:pt x="3298077" y="2777792"/>
                </a:lnTo>
                <a:lnTo>
                  <a:pt x="3275344" y="2789896"/>
                </a:lnTo>
                <a:lnTo>
                  <a:pt x="3254361" y="2792737"/>
                </a:lnTo>
                <a:lnTo>
                  <a:pt x="3223010" y="2803854"/>
                </a:lnTo>
                <a:lnTo>
                  <a:pt x="3221636" y="2817070"/>
                </a:lnTo>
                <a:lnTo>
                  <a:pt x="3213642" y="2829175"/>
                </a:lnTo>
                <a:lnTo>
                  <a:pt x="3202276" y="2813365"/>
                </a:lnTo>
                <a:lnTo>
                  <a:pt x="3185789" y="2813365"/>
                </a:lnTo>
                <a:cubicBezTo>
                  <a:pt x="3185789" y="2813365"/>
                  <a:pt x="3170301" y="2823864"/>
                  <a:pt x="3170301" y="2823864"/>
                </a:cubicBezTo>
                <a:lnTo>
                  <a:pt x="3170800" y="2834980"/>
                </a:lnTo>
                <a:lnTo>
                  <a:pt x="3163931" y="2844491"/>
                </a:lnTo>
                <a:lnTo>
                  <a:pt x="3146944" y="2833375"/>
                </a:lnTo>
                <a:lnTo>
                  <a:pt x="3125835" y="2836957"/>
                </a:lnTo>
                <a:lnTo>
                  <a:pt x="3119465" y="2827446"/>
                </a:lnTo>
                <a:lnTo>
                  <a:pt x="3106225" y="2827446"/>
                </a:lnTo>
                <a:cubicBezTo>
                  <a:pt x="3106225" y="2827446"/>
                  <a:pt x="3097482" y="2838809"/>
                  <a:pt x="3097482" y="2838809"/>
                </a:cubicBezTo>
                <a:lnTo>
                  <a:pt x="3077747" y="2840909"/>
                </a:lnTo>
                <a:lnTo>
                  <a:pt x="3071377" y="2847085"/>
                </a:lnTo>
                <a:lnTo>
                  <a:pt x="3082244" y="2868207"/>
                </a:lnTo>
                <a:lnTo>
                  <a:pt x="3074000" y="2877717"/>
                </a:lnTo>
                <a:lnTo>
                  <a:pt x="3090737" y="2881547"/>
                </a:lnTo>
                <a:lnTo>
                  <a:pt x="3113719" y="2877347"/>
                </a:lnTo>
                <a:lnTo>
                  <a:pt x="3121838" y="2896616"/>
                </a:lnTo>
                <a:lnTo>
                  <a:pt x="3097482" y="2898345"/>
                </a:lnTo>
                <a:lnTo>
                  <a:pt x="3089863" y="2905879"/>
                </a:lnTo>
                <a:lnTo>
                  <a:pt x="3092361" y="2917614"/>
                </a:lnTo>
                <a:lnTo>
                  <a:pt x="3115468" y="2917367"/>
                </a:lnTo>
                <a:lnTo>
                  <a:pt x="3134328" y="2924407"/>
                </a:lnTo>
                <a:lnTo>
                  <a:pt x="3145195" y="2915390"/>
                </a:lnTo>
                <a:lnTo>
                  <a:pt x="3159684" y="2914155"/>
                </a:lnTo>
                <a:lnTo>
                  <a:pt x="3174797" y="2927866"/>
                </a:lnTo>
                <a:lnTo>
                  <a:pt x="3192783" y="2932312"/>
                </a:lnTo>
                <a:lnTo>
                  <a:pt x="3192783" y="2950593"/>
                </a:lnTo>
                <a:cubicBezTo>
                  <a:pt x="3192783" y="2950593"/>
                  <a:pt x="3182666" y="2958251"/>
                  <a:pt x="3182666" y="2958251"/>
                </a:cubicBezTo>
                <a:lnTo>
                  <a:pt x="3167178" y="2953681"/>
                </a:lnTo>
                <a:lnTo>
                  <a:pt x="3128958" y="2959239"/>
                </a:lnTo>
                <a:lnTo>
                  <a:pt x="3108723" y="2979126"/>
                </a:lnTo>
                <a:lnTo>
                  <a:pt x="3089488" y="3009387"/>
                </a:lnTo>
                <a:lnTo>
                  <a:pt x="3091611" y="3028903"/>
                </a:lnTo>
                <a:lnTo>
                  <a:pt x="3105601" y="3030262"/>
                </a:lnTo>
                <a:lnTo>
                  <a:pt x="3111096" y="3051013"/>
                </a:lnTo>
                <a:lnTo>
                  <a:pt x="3097982" y="3067935"/>
                </a:lnTo>
                <a:lnTo>
                  <a:pt x="3095483" y="3087080"/>
                </a:lnTo>
                <a:lnTo>
                  <a:pt x="3079121" y="3089798"/>
                </a:lnTo>
                <a:lnTo>
                  <a:pt x="3076873" y="3099061"/>
                </a:lnTo>
                <a:lnTo>
                  <a:pt x="3083368" y="3109931"/>
                </a:lnTo>
                <a:lnTo>
                  <a:pt x="3085241" y="3121665"/>
                </a:lnTo>
                <a:lnTo>
                  <a:pt x="3107099" y="3120677"/>
                </a:lnTo>
                <a:lnTo>
                  <a:pt x="3120214" y="3131917"/>
                </a:lnTo>
                <a:lnTo>
                  <a:pt x="3140948" y="3135623"/>
                </a:lnTo>
                <a:lnTo>
                  <a:pt x="3144695" y="3145257"/>
                </a:lnTo>
                <a:lnTo>
                  <a:pt x="3162432" y="3158226"/>
                </a:lnTo>
                <a:lnTo>
                  <a:pt x="3189536" y="3157732"/>
                </a:lnTo>
                <a:lnTo>
                  <a:pt x="3198404" y="3163908"/>
                </a:lnTo>
                <a:lnTo>
                  <a:pt x="3206148" y="3234931"/>
                </a:lnTo>
                <a:lnTo>
                  <a:pt x="3198279" y="3250371"/>
                </a:lnTo>
                <a:lnTo>
                  <a:pt x="3167678" y="3262105"/>
                </a:lnTo>
                <a:lnTo>
                  <a:pt x="3141823" y="3260623"/>
                </a:lnTo>
                <a:lnTo>
                  <a:pt x="3112720" y="3244936"/>
                </a:lnTo>
                <a:lnTo>
                  <a:pt x="3103852" y="3253829"/>
                </a:lnTo>
                <a:lnTo>
                  <a:pt x="3103352" y="3271492"/>
                </a:lnTo>
                <a:lnTo>
                  <a:pt x="3094984" y="3290885"/>
                </a:lnTo>
                <a:lnTo>
                  <a:pt x="3074624" y="3295702"/>
                </a:lnTo>
                <a:lnTo>
                  <a:pt x="3041525" y="3279398"/>
                </a:lnTo>
                <a:lnTo>
                  <a:pt x="3013796" y="3281868"/>
                </a:lnTo>
                <a:lnTo>
                  <a:pt x="3000931" y="3275198"/>
                </a:lnTo>
                <a:lnTo>
                  <a:pt x="2993187" y="3280756"/>
                </a:lnTo>
                <a:lnTo>
                  <a:pt x="2976450" y="3276186"/>
                </a:lnTo>
                <a:lnTo>
                  <a:pt x="2957715" y="3256052"/>
                </a:lnTo>
                <a:lnTo>
                  <a:pt x="2971204" y="3248271"/>
                </a:lnTo>
                <a:lnTo>
                  <a:pt x="2976700" y="3235548"/>
                </a:lnTo>
                <a:lnTo>
                  <a:pt x="2963211" y="3229620"/>
                </a:lnTo>
                <a:lnTo>
                  <a:pt x="2940853" y="3218750"/>
                </a:lnTo>
                <a:lnTo>
                  <a:pt x="2931485" y="3231596"/>
                </a:lnTo>
                <a:lnTo>
                  <a:pt x="2910876" y="3230484"/>
                </a:lnTo>
                <a:lnTo>
                  <a:pt x="2896512" y="3235672"/>
                </a:lnTo>
                <a:lnTo>
                  <a:pt x="2900759" y="3257782"/>
                </a:lnTo>
                <a:lnTo>
                  <a:pt x="2875029" y="3261487"/>
                </a:lnTo>
                <a:lnTo>
                  <a:pt x="2869408" y="3251853"/>
                </a:lnTo>
                <a:lnTo>
                  <a:pt x="2841929" y="3228755"/>
                </a:lnTo>
                <a:lnTo>
                  <a:pt x="2820945" y="3232955"/>
                </a:lnTo>
                <a:lnTo>
                  <a:pt x="2813701" y="3248271"/>
                </a:lnTo>
                <a:lnTo>
                  <a:pt x="2802585" y="3234931"/>
                </a:lnTo>
                <a:lnTo>
                  <a:pt x="2788221" y="3240119"/>
                </a:lnTo>
                <a:lnTo>
                  <a:pt x="2787596" y="3257164"/>
                </a:lnTo>
                <a:lnTo>
                  <a:pt x="2768611" y="3260005"/>
                </a:lnTo>
                <a:lnTo>
                  <a:pt x="2768111" y="3294096"/>
                </a:lnTo>
                <a:lnTo>
                  <a:pt x="2746378" y="3312006"/>
                </a:lnTo>
                <a:lnTo>
                  <a:pt x="2731515" y="3306818"/>
                </a:lnTo>
                <a:lnTo>
                  <a:pt x="2720273" y="3290267"/>
                </a:lnTo>
                <a:lnTo>
                  <a:pt x="2685051" y="3286561"/>
                </a:lnTo>
                <a:lnTo>
                  <a:pt x="2671686" y="3269516"/>
                </a:lnTo>
                <a:lnTo>
                  <a:pt x="2654324" y="3280756"/>
                </a:lnTo>
                <a:lnTo>
                  <a:pt x="2657322" y="3303483"/>
                </a:lnTo>
                <a:lnTo>
                  <a:pt x="2646206" y="3321640"/>
                </a:lnTo>
                <a:lnTo>
                  <a:pt x="2635464" y="3318799"/>
                </a:lnTo>
                <a:lnTo>
                  <a:pt x="2633216" y="3297925"/>
                </a:lnTo>
                <a:lnTo>
                  <a:pt x="2625472" y="3285820"/>
                </a:lnTo>
                <a:lnTo>
                  <a:pt x="2610858" y="3285079"/>
                </a:lnTo>
                <a:lnTo>
                  <a:pt x="2584253" y="3267293"/>
                </a:lnTo>
                <a:lnTo>
                  <a:pt x="2568890" y="3249012"/>
                </a:lnTo>
                <a:lnTo>
                  <a:pt x="2549031" y="3249877"/>
                </a:lnTo>
                <a:lnTo>
                  <a:pt x="2529546" y="3227149"/>
                </a:lnTo>
                <a:lnTo>
                  <a:pt x="2518929" y="3226902"/>
                </a:lnTo>
                <a:lnTo>
                  <a:pt x="2509061" y="3213562"/>
                </a:lnTo>
                <a:lnTo>
                  <a:pt x="2493823" y="3213562"/>
                </a:lnTo>
                <a:cubicBezTo>
                  <a:pt x="2493823" y="3213562"/>
                  <a:pt x="2461223" y="3225420"/>
                  <a:pt x="2461223" y="3225420"/>
                </a:cubicBezTo>
                <a:lnTo>
                  <a:pt x="2440115" y="3212574"/>
                </a:lnTo>
                <a:lnTo>
                  <a:pt x="2429123" y="3188859"/>
                </a:lnTo>
                <a:lnTo>
                  <a:pt x="2412636" y="3190218"/>
                </a:lnTo>
                <a:lnTo>
                  <a:pt x="2394025" y="3204052"/>
                </a:lnTo>
                <a:lnTo>
                  <a:pt x="2376289" y="3206769"/>
                </a:lnTo>
                <a:lnTo>
                  <a:pt x="2374166" y="3218009"/>
                </a:lnTo>
                <a:lnTo>
                  <a:pt x="2362800" y="3230978"/>
                </a:lnTo>
                <a:lnTo>
                  <a:pt x="2361426" y="3215292"/>
                </a:lnTo>
                <a:lnTo>
                  <a:pt x="2349185" y="3223691"/>
                </a:lnTo>
                <a:lnTo>
                  <a:pt x="2345063" y="3237648"/>
                </a:lnTo>
                <a:lnTo>
                  <a:pt x="2328326" y="3248148"/>
                </a:lnTo>
                <a:lnTo>
                  <a:pt x="2318709" y="3239378"/>
                </a:lnTo>
                <a:lnTo>
                  <a:pt x="2330574" y="3223815"/>
                </a:lnTo>
                <a:lnTo>
                  <a:pt x="2332698" y="3211957"/>
                </a:lnTo>
                <a:lnTo>
                  <a:pt x="2310465" y="3203804"/>
                </a:lnTo>
                <a:lnTo>
                  <a:pt x="2282736" y="3189229"/>
                </a:lnTo>
                <a:lnTo>
                  <a:pt x="2278615" y="3201211"/>
                </a:lnTo>
                <a:lnTo>
                  <a:pt x="2283985" y="3217391"/>
                </a:lnTo>
                <a:lnTo>
                  <a:pt x="2282112" y="3233819"/>
                </a:lnTo>
                <a:lnTo>
                  <a:pt x="2262752" y="3229373"/>
                </a:lnTo>
                <a:lnTo>
                  <a:pt x="2249387" y="3240366"/>
                </a:lnTo>
                <a:lnTo>
                  <a:pt x="2241768" y="3264946"/>
                </a:lnTo>
                <a:lnTo>
                  <a:pt x="2229278" y="3266181"/>
                </a:lnTo>
                <a:lnTo>
                  <a:pt x="2202923" y="3284338"/>
                </a:lnTo>
                <a:lnTo>
                  <a:pt x="2197802" y="3305460"/>
                </a:lnTo>
                <a:lnTo>
                  <a:pt x="2211791" y="3321270"/>
                </a:lnTo>
                <a:lnTo>
                  <a:pt x="2212790" y="3342885"/>
                </a:lnTo>
                <a:lnTo>
                  <a:pt x="2183063" y="3344121"/>
                </a:lnTo>
                <a:lnTo>
                  <a:pt x="2154835" y="3348567"/>
                </a:lnTo>
                <a:lnTo>
                  <a:pt x="2179066" y="3420208"/>
                </a:lnTo>
                <a:lnTo>
                  <a:pt x="2168200" y="3429842"/>
                </a:lnTo>
                <a:lnTo>
                  <a:pt x="2172696" y="3457139"/>
                </a:lnTo>
                <a:lnTo>
                  <a:pt x="2144343" y="3460968"/>
                </a:lnTo>
                <a:lnTo>
                  <a:pt x="2115865" y="3445158"/>
                </a:lnTo>
                <a:lnTo>
                  <a:pt x="2109245" y="3429101"/>
                </a:lnTo>
                <a:lnTo>
                  <a:pt x="2058410" y="3387352"/>
                </a:lnTo>
                <a:lnTo>
                  <a:pt x="2045919" y="3404891"/>
                </a:lnTo>
                <a:lnTo>
                  <a:pt x="2046918" y="3427742"/>
                </a:lnTo>
                <a:lnTo>
                  <a:pt x="2023811" y="3458869"/>
                </a:lnTo>
                <a:lnTo>
                  <a:pt x="2006325" y="3468133"/>
                </a:lnTo>
                <a:lnTo>
                  <a:pt x="2012945" y="3512352"/>
                </a:lnTo>
                <a:lnTo>
                  <a:pt x="2027434" y="3525445"/>
                </a:lnTo>
                <a:lnTo>
                  <a:pt x="2021938" y="3582016"/>
                </a:lnTo>
                <a:lnTo>
                  <a:pt x="2009447" y="3614007"/>
                </a:lnTo>
                <a:lnTo>
                  <a:pt x="2047793" y="3626729"/>
                </a:lnTo>
                <a:lnTo>
                  <a:pt x="2064780" y="3651556"/>
                </a:lnTo>
                <a:lnTo>
                  <a:pt x="2059409" y="3665514"/>
                </a:lnTo>
                <a:lnTo>
                  <a:pt x="2090260" y="3689106"/>
                </a:lnTo>
                <a:lnTo>
                  <a:pt x="2096880" y="3675025"/>
                </a:lnTo>
                <a:lnTo>
                  <a:pt x="2157083" y="3688859"/>
                </a:lnTo>
                <a:lnTo>
                  <a:pt x="2201050" y="3726285"/>
                </a:lnTo>
                <a:lnTo>
                  <a:pt x="2240769" y="3786191"/>
                </a:lnTo>
                <a:lnTo>
                  <a:pt x="2205796" y="3787673"/>
                </a:lnTo>
                <a:lnTo>
                  <a:pt x="2204422" y="3802742"/>
                </a:lnTo>
                <a:lnTo>
                  <a:pt x="2239145" y="3823493"/>
                </a:lnTo>
                <a:lnTo>
                  <a:pt x="2262627" y="3814600"/>
                </a:lnTo>
                <a:lnTo>
                  <a:pt x="2285734" y="3827940"/>
                </a:lnTo>
                <a:lnTo>
                  <a:pt x="2285734" y="3828187"/>
                </a:lnTo>
                <a:cubicBezTo>
                  <a:pt x="2285734" y="3828187"/>
                  <a:pt x="2284985" y="3828187"/>
                  <a:pt x="2284985" y="3828187"/>
                </a:cubicBezTo>
                <a:lnTo>
                  <a:pt x="2284360" y="3835474"/>
                </a:lnTo>
                <a:lnTo>
                  <a:pt x="2283736" y="3845109"/>
                </a:lnTo>
                <a:lnTo>
                  <a:pt x="2269996" y="3848320"/>
                </a:lnTo>
                <a:lnTo>
                  <a:pt x="2278240" y="3854867"/>
                </a:lnTo>
                <a:lnTo>
                  <a:pt x="2278989" y="3864995"/>
                </a:lnTo>
                <a:lnTo>
                  <a:pt x="2269122" y="3866107"/>
                </a:lnTo>
                <a:lnTo>
                  <a:pt x="2277990" y="3871295"/>
                </a:lnTo>
                <a:lnTo>
                  <a:pt x="2278490" y="3882164"/>
                </a:lnTo>
                <a:lnTo>
                  <a:pt x="2263751" y="3879200"/>
                </a:lnTo>
                <a:lnTo>
                  <a:pt x="2257256" y="3881794"/>
                </a:lnTo>
                <a:lnTo>
                  <a:pt x="2240144" y="3877965"/>
                </a:lnTo>
                <a:lnTo>
                  <a:pt x="2228278" y="3881053"/>
                </a:lnTo>
                <a:lnTo>
                  <a:pt x="2255382" y="3895010"/>
                </a:lnTo>
                <a:lnTo>
                  <a:pt x="2259504" y="3905015"/>
                </a:lnTo>
                <a:lnTo>
                  <a:pt x="2253134" y="3911191"/>
                </a:lnTo>
                <a:lnTo>
                  <a:pt x="2244266" y="3903039"/>
                </a:lnTo>
                <a:cubicBezTo>
                  <a:pt x="2244266" y="3903039"/>
                  <a:pt x="2232525" y="3907115"/>
                  <a:pt x="2230152" y="3907238"/>
                </a:cubicBezTo>
                <a:cubicBezTo>
                  <a:pt x="2227779" y="3907362"/>
                  <a:pt x="2221783" y="3904027"/>
                  <a:pt x="2221783" y="3904027"/>
                </a:cubicBezTo>
                <a:lnTo>
                  <a:pt x="2213165" y="3905015"/>
                </a:lnTo>
                <a:lnTo>
                  <a:pt x="2226655" y="3909338"/>
                </a:lnTo>
                <a:lnTo>
                  <a:pt x="2229652" y="3916749"/>
                </a:lnTo>
                <a:lnTo>
                  <a:pt x="2217412" y="3926507"/>
                </a:lnTo>
                <a:lnTo>
                  <a:pt x="2205171" y="3927001"/>
                </a:lnTo>
                <a:lnTo>
                  <a:pt x="2196553" y="3934289"/>
                </a:lnTo>
                <a:lnTo>
                  <a:pt x="2188559" y="3927124"/>
                </a:lnTo>
                <a:lnTo>
                  <a:pt x="2185062" y="3937747"/>
                </a:lnTo>
                <a:lnTo>
                  <a:pt x="2177942" y="3942070"/>
                </a:lnTo>
                <a:lnTo>
                  <a:pt x="2168699" y="3935277"/>
                </a:lnTo>
                <a:lnTo>
                  <a:pt x="2159332" y="3932436"/>
                </a:lnTo>
                <a:lnTo>
                  <a:pt x="2159332" y="3943923"/>
                </a:lnTo>
                <a:cubicBezTo>
                  <a:pt x="2159332" y="3943923"/>
                  <a:pt x="2151588" y="3958498"/>
                  <a:pt x="2151588" y="3958498"/>
                </a:cubicBezTo>
                <a:lnTo>
                  <a:pt x="2148465" y="3979002"/>
                </a:lnTo>
                <a:lnTo>
                  <a:pt x="2138847" y="3985919"/>
                </a:lnTo>
                <a:lnTo>
                  <a:pt x="2133727" y="4005188"/>
                </a:lnTo>
                <a:lnTo>
                  <a:pt x="2127107" y="4019886"/>
                </a:lnTo>
                <a:lnTo>
                  <a:pt x="2128605" y="4053236"/>
                </a:lnTo>
                <a:lnTo>
                  <a:pt x="2118988" y="4060894"/>
                </a:lnTo>
                <a:lnTo>
                  <a:pt x="2113742" y="4077446"/>
                </a:lnTo>
                <a:lnTo>
                  <a:pt x="2123734" y="4108449"/>
                </a:lnTo>
                <a:lnTo>
                  <a:pt x="2138973" y="4109807"/>
                </a:lnTo>
                <a:lnTo>
                  <a:pt x="2150089" y="4106102"/>
                </a:lnTo>
                <a:lnTo>
                  <a:pt x="2162579" y="4119936"/>
                </a:lnTo>
                <a:lnTo>
                  <a:pt x="2180066" y="4124382"/>
                </a:lnTo>
                <a:lnTo>
                  <a:pt x="2181315" y="4154397"/>
                </a:lnTo>
                <a:lnTo>
                  <a:pt x="2203048" y="4166502"/>
                </a:lnTo>
                <a:lnTo>
                  <a:pt x="2211916" y="4157609"/>
                </a:lnTo>
                <a:lnTo>
                  <a:pt x="2222533" y="4156497"/>
                </a:lnTo>
                <a:lnTo>
                  <a:pt x="2215913" y="4171814"/>
                </a:lnTo>
                <a:lnTo>
                  <a:pt x="2212041" y="4188982"/>
                </a:lnTo>
                <a:lnTo>
                  <a:pt x="2202673" y="4185400"/>
                </a:lnTo>
                <a:lnTo>
                  <a:pt x="2201424" y="4201211"/>
                </a:lnTo>
                <a:lnTo>
                  <a:pt x="2213915" y="4200717"/>
                </a:lnTo>
                <a:lnTo>
                  <a:pt x="2217037" y="4210351"/>
                </a:lnTo>
                <a:lnTo>
                  <a:pt x="2222783" y="4222579"/>
                </a:lnTo>
                <a:lnTo>
                  <a:pt x="2225905" y="4248642"/>
                </a:lnTo>
                <a:lnTo>
                  <a:pt x="2240394" y="4263711"/>
                </a:lnTo>
                <a:lnTo>
                  <a:pt x="2247514" y="4289526"/>
                </a:lnTo>
                <a:lnTo>
                  <a:pt x="2283736" y="4329916"/>
                </a:lnTo>
                <a:lnTo>
                  <a:pt x="2334322" y="4367095"/>
                </a:lnTo>
                <a:lnTo>
                  <a:pt x="2342815" y="4372530"/>
                </a:lnTo>
                <a:lnTo>
                  <a:pt x="2342066" y="4374259"/>
                </a:lnTo>
                <a:lnTo>
                  <a:pt x="2312713" y="4412673"/>
                </a:lnTo>
                <a:lnTo>
                  <a:pt x="2286858" y="4428236"/>
                </a:lnTo>
                <a:lnTo>
                  <a:pt x="2279614" y="4444294"/>
                </a:lnTo>
                <a:lnTo>
                  <a:pt x="2237147" y="4442194"/>
                </a:lnTo>
                <a:lnTo>
                  <a:pt x="2224282" y="4420455"/>
                </a:lnTo>
                <a:lnTo>
                  <a:pt x="2180440" y="4388217"/>
                </a:lnTo>
                <a:lnTo>
                  <a:pt x="2153961" y="4386735"/>
                </a:lnTo>
                <a:lnTo>
                  <a:pt x="2146092" y="4419837"/>
                </a:lnTo>
                <a:lnTo>
                  <a:pt x="2134726" y="4410203"/>
                </a:lnTo>
                <a:lnTo>
                  <a:pt x="2126482" y="4399210"/>
                </a:lnTo>
                <a:lnTo>
                  <a:pt x="2108746" y="4383152"/>
                </a:lnTo>
                <a:lnTo>
                  <a:pt x="2105124" y="4370924"/>
                </a:lnTo>
                <a:lnTo>
                  <a:pt x="2080767" y="4352149"/>
                </a:lnTo>
                <a:lnTo>
                  <a:pt x="2073023" y="4354620"/>
                </a:lnTo>
                <a:lnTo>
                  <a:pt x="2061407" y="4351656"/>
                </a:lnTo>
                <a:lnTo>
                  <a:pt x="2052914" y="4350420"/>
                </a:lnTo>
                <a:lnTo>
                  <a:pt x="2046169" y="4342268"/>
                </a:lnTo>
                <a:lnTo>
                  <a:pt x="2026309" y="4332263"/>
                </a:lnTo>
                <a:lnTo>
                  <a:pt x="2030057" y="4306819"/>
                </a:lnTo>
                <a:lnTo>
                  <a:pt x="2013070" y="4304348"/>
                </a:lnTo>
                <a:lnTo>
                  <a:pt x="2002078" y="4302495"/>
                </a:lnTo>
                <a:lnTo>
                  <a:pt x="1987714" y="4295455"/>
                </a:lnTo>
                <a:lnTo>
                  <a:pt x="1986590" y="4293231"/>
                </a:lnTo>
                <a:lnTo>
                  <a:pt x="1972351" y="4291379"/>
                </a:lnTo>
                <a:lnTo>
                  <a:pt x="1959736" y="4285697"/>
                </a:lnTo>
                <a:lnTo>
                  <a:pt x="1957488" y="4301013"/>
                </a:lnTo>
                <a:lnTo>
                  <a:pt x="1954240" y="4297802"/>
                </a:lnTo>
                <a:lnTo>
                  <a:pt x="1937253" y="4293602"/>
                </a:lnTo>
                <a:lnTo>
                  <a:pt x="1915645" y="4299531"/>
                </a:lnTo>
                <a:lnTo>
                  <a:pt x="1914896" y="4304595"/>
                </a:lnTo>
                <a:lnTo>
                  <a:pt x="1909899" y="4309783"/>
                </a:lnTo>
                <a:lnTo>
                  <a:pt x="1900157" y="4310277"/>
                </a:lnTo>
                <a:lnTo>
                  <a:pt x="1897159" y="4316947"/>
                </a:lnTo>
                <a:lnTo>
                  <a:pt x="1892788" y="4318182"/>
                </a:lnTo>
                <a:lnTo>
                  <a:pt x="1885044" y="4315465"/>
                </a:lnTo>
                <a:lnTo>
                  <a:pt x="1878798" y="4314353"/>
                </a:lnTo>
                <a:lnTo>
                  <a:pt x="1875676" y="4309783"/>
                </a:lnTo>
                <a:lnTo>
                  <a:pt x="1880422" y="4303607"/>
                </a:lnTo>
                <a:lnTo>
                  <a:pt x="1880922" y="4298543"/>
                </a:lnTo>
                <a:lnTo>
                  <a:pt x="1869306" y="4298049"/>
                </a:lnTo>
                <a:lnTo>
                  <a:pt x="1857565" y="4293108"/>
                </a:lnTo>
                <a:lnTo>
                  <a:pt x="1834957" y="4288044"/>
                </a:lnTo>
                <a:lnTo>
                  <a:pt x="1819594" y="4281868"/>
                </a:lnTo>
                <a:lnTo>
                  <a:pt x="1811725" y="4271740"/>
                </a:lnTo>
                <a:lnTo>
                  <a:pt x="1797236" y="4266428"/>
                </a:lnTo>
                <a:lnTo>
                  <a:pt x="1782248" y="4273345"/>
                </a:lnTo>
                <a:lnTo>
                  <a:pt x="1764137" y="4264946"/>
                </a:lnTo>
                <a:lnTo>
                  <a:pt x="1750273" y="4268775"/>
                </a:lnTo>
                <a:lnTo>
                  <a:pt x="1743778" y="4272481"/>
                </a:lnTo>
                <a:lnTo>
                  <a:pt x="1738282" y="4273222"/>
                </a:lnTo>
                <a:lnTo>
                  <a:pt x="1730538" y="4271245"/>
                </a:lnTo>
                <a:lnTo>
                  <a:pt x="1726416" y="4273839"/>
                </a:lnTo>
                <a:lnTo>
                  <a:pt x="1720421" y="4273469"/>
                </a:lnTo>
                <a:lnTo>
                  <a:pt x="1715050" y="4271245"/>
                </a:lnTo>
                <a:lnTo>
                  <a:pt x="1705557" y="4273592"/>
                </a:lnTo>
                <a:lnTo>
                  <a:pt x="1700311" y="4268898"/>
                </a:lnTo>
                <a:lnTo>
                  <a:pt x="1694441" y="4268034"/>
                </a:lnTo>
                <a:lnTo>
                  <a:pt x="1689944" y="4262105"/>
                </a:lnTo>
                <a:lnTo>
                  <a:pt x="1682825" y="4264452"/>
                </a:lnTo>
                <a:lnTo>
                  <a:pt x="1674706" y="4260994"/>
                </a:lnTo>
                <a:lnTo>
                  <a:pt x="1660717" y="4260994"/>
                </a:lnTo>
                <a:cubicBezTo>
                  <a:pt x="1660717" y="4260994"/>
                  <a:pt x="1647352" y="4254323"/>
                  <a:pt x="1647352" y="4254323"/>
                </a:cubicBezTo>
                <a:lnTo>
                  <a:pt x="1630116" y="4247653"/>
                </a:lnTo>
                <a:lnTo>
                  <a:pt x="1625369" y="4252841"/>
                </a:lnTo>
                <a:lnTo>
                  <a:pt x="1616251" y="4251482"/>
                </a:lnTo>
                <a:lnTo>
                  <a:pt x="1598640" y="4246912"/>
                </a:lnTo>
                <a:lnTo>
                  <a:pt x="1589147" y="4250000"/>
                </a:lnTo>
                <a:lnTo>
                  <a:pt x="1586399" y="4251482"/>
                </a:lnTo>
                <a:lnTo>
                  <a:pt x="1587149" y="4258647"/>
                </a:lnTo>
                <a:lnTo>
                  <a:pt x="1581778" y="4264699"/>
                </a:lnTo>
                <a:lnTo>
                  <a:pt x="1548054" y="4245183"/>
                </a:lnTo>
                <a:lnTo>
                  <a:pt x="1546305" y="4237278"/>
                </a:lnTo>
                <a:lnTo>
                  <a:pt x="1538811" y="4240736"/>
                </a:lnTo>
                <a:lnTo>
                  <a:pt x="1513830" y="4228632"/>
                </a:lnTo>
                <a:lnTo>
                  <a:pt x="1507835" y="4217886"/>
                </a:lnTo>
                <a:lnTo>
                  <a:pt x="1490973" y="4213069"/>
                </a:lnTo>
                <a:lnTo>
                  <a:pt x="1478233" y="4191576"/>
                </a:lnTo>
                <a:lnTo>
                  <a:pt x="1417405" y="4151556"/>
                </a:lnTo>
                <a:lnTo>
                  <a:pt x="1392799" y="4146369"/>
                </a:lnTo>
                <a:lnTo>
                  <a:pt x="1356452" y="4126606"/>
                </a:lnTo>
                <a:lnTo>
                  <a:pt x="1322603" y="4130806"/>
                </a:lnTo>
                <a:lnTo>
                  <a:pt x="1301619" y="4111043"/>
                </a:lnTo>
                <a:lnTo>
                  <a:pt x="1299621" y="4097332"/>
                </a:lnTo>
                <a:lnTo>
                  <a:pt x="1273766" y="4077816"/>
                </a:lnTo>
                <a:lnTo>
                  <a:pt x="1263399" y="4078928"/>
                </a:lnTo>
                <a:lnTo>
                  <a:pt x="1241791" y="4077075"/>
                </a:lnTo>
                <a:lnTo>
                  <a:pt x="1253781" y="4066206"/>
                </a:lnTo>
                <a:lnTo>
                  <a:pt x="1267396" y="4059412"/>
                </a:lnTo>
                <a:lnTo>
                  <a:pt x="1259902" y="4046690"/>
                </a:lnTo>
                <a:lnTo>
                  <a:pt x="1260276" y="4038414"/>
                </a:lnTo>
                <a:lnTo>
                  <a:pt x="1280636" y="4042367"/>
                </a:lnTo>
                <a:lnTo>
                  <a:pt x="1295624" y="4052742"/>
                </a:lnTo>
                <a:lnTo>
                  <a:pt x="1299621" y="4049778"/>
                </a:lnTo>
                <a:lnTo>
                  <a:pt x="1317732" y="4051754"/>
                </a:lnTo>
                <a:lnTo>
                  <a:pt x="1320730" y="4025445"/>
                </a:lnTo>
                <a:lnTo>
                  <a:pt x="1311487" y="4019640"/>
                </a:lnTo>
                <a:lnTo>
                  <a:pt x="1310737" y="4001112"/>
                </a:lnTo>
                <a:lnTo>
                  <a:pt x="1329348" y="3981102"/>
                </a:lnTo>
                <a:lnTo>
                  <a:pt x="1329098" y="3974185"/>
                </a:lnTo>
                <a:lnTo>
                  <a:pt x="1336343" y="3967021"/>
                </a:lnTo>
                <a:lnTo>
                  <a:pt x="1348958" y="3968503"/>
                </a:lnTo>
                <a:lnTo>
                  <a:pt x="1356077" y="3957263"/>
                </a:lnTo>
                <a:lnTo>
                  <a:pt x="1367693" y="3954052"/>
                </a:lnTo>
                <a:lnTo>
                  <a:pt x="1367319" y="3946517"/>
                </a:lnTo>
                <a:lnTo>
                  <a:pt x="1348333" y="3941823"/>
                </a:lnTo>
                <a:lnTo>
                  <a:pt x="1343087" y="3932436"/>
                </a:lnTo>
                <a:lnTo>
                  <a:pt x="1333720" y="3941082"/>
                </a:lnTo>
                <a:lnTo>
                  <a:pt x="1319980" y="3928607"/>
                </a:lnTo>
                <a:lnTo>
                  <a:pt x="1306366" y="3902421"/>
                </a:lnTo>
                <a:lnTo>
                  <a:pt x="1337342" y="3896986"/>
                </a:lnTo>
                <a:lnTo>
                  <a:pt x="1359699" y="3900198"/>
                </a:lnTo>
                <a:lnTo>
                  <a:pt x="1370941" y="3886611"/>
                </a:lnTo>
                <a:lnTo>
                  <a:pt x="1359075" y="3887105"/>
                </a:lnTo>
                <a:lnTo>
                  <a:pt x="1349707" y="3878582"/>
                </a:lnTo>
                <a:lnTo>
                  <a:pt x="1369192" y="3864007"/>
                </a:lnTo>
                <a:lnTo>
                  <a:pt x="1415906" y="3836586"/>
                </a:lnTo>
                <a:lnTo>
                  <a:pt x="1420153" y="3822629"/>
                </a:lnTo>
                <a:lnTo>
                  <a:pt x="1414157" y="3813241"/>
                </a:lnTo>
                <a:lnTo>
                  <a:pt x="1390051" y="3817688"/>
                </a:lnTo>
                <a:lnTo>
                  <a:pt x="1370566" y="3832263"/>
                </a:lnTo>
                <a:lnTo>
                  <a:pt x="1351706" y="3829669"/>
                </a:lnTo>
                <a:lnTo>
                  <a:pt x="1348083" y="3831151"/>
                </a:lnTo>
                <a:lnTo>
                  <a:pt x="1347709" y="3830287"/>
                </a:lnTo>
                <a:lnTo>
                  <a:pt x="1351081" y="3789155"/>
                </a:lnTo>
                <a:lnTo>
                  <a:pt x="1362822" y="3783474"/>
                </a:lnTo>
                <a:lnTo>
                  <a:pt x="1381308" y="3751235"/>
                </a:lnTo>
                <a:lnTo>
                  <a:pt x="1425524" y="3746665"/>
                </a:lnTo>
                <a:lnTo>
                  <a:pt x="1441511" y="3733572"/>
                </a:lnTo>
                <a:lnTo>
                  <a:pt x="1437140" y="3710845"/>
                </a:lnTo>
                <a:lnTo>
                  <a:pt x="1446882" y="3677001"/>
                </a:lnTo>
                <a:lnTo>
                  <a:pt x="1441761" y="3651062"/>
                </a:lnTo>
                <a:lnTo>
                  <a:pt x="1414532" y="3633893"/>
                </a:lnTo>
                <a:lnTo>
                  <a:pt x="1418779" y="3594368"/>
                </a:lnTo>
                <a:lnTo>
                  <a:pt x="1437764" y="3589674"/>
                </a:lnTo>
                <a:lnTo>
                  <a:pt x="1452128" y="3568800"/>
                </a:lnTo>
                <a:lnTo>
                  <a:pt x="1450379" y="3544590"/>
                </a:lnTo>
                <a:lnTo>
                  <a:pt x="1437514" y="3537920"/>
                </a:lnTo>
                <a:lnTo>
                  <a:pt x="1428646" y="3517293"/>
                </a:lnTo>
                <a:lnTo>
                  <a:pt x="1415406" y="3531621"/>
                </a:lnTo>
                <a:lnTo>
                  <a:pt x="1387428" y="3527545"/>
                </a:lnTo>
                <a:lnTo>
                  <a:pt x="1363072" y="3514205"/>
                </a:lnTo>
                <a:lnTo>
                  <a:pt x="1343462" y="3518281"/>
                </a:lnTo>
                <a:lnTo>
                  <a:pt x="1325851" y="3508523"/>
                </a:lnTo>
                <a:lnTo>
                  <a:pt x="1301370" y="3508893"/>
                </a:lnTo>
                <a:lnTo>
                  <a:pt x="1268020" y="3503088"/>
                </a:lnTo>
                <a:lnTo>
                  <a:pt x="1256030" y="3516057"/>
                </a:lnTo>
                <a:lnTo>
                  <a:pt x="1246662" y="3498765"/>
                </a:lnTo>
                <a:lnTo>
                  <a:pt x="1217559" y="3482337"/>
                </a:lnTo>
                <a:lnTo>
                  <a:pt x="1195077" y="3438735"/>
                </a:lnTo>
                <a:lnTo>
                  <a:pt x="1180713" y="3441329"/>
                </a:lnTo>
                <a:lnTo>
                  <a:pt x="1150611" y="3466156"/>
                </a:lnTo>
                <a:lnTo>
                  <a:pt x="1130626" y="3463068"/>
                </a:lnTo>
                <a:lnTo>
                  <a:pt x="1109768" y="3469862"/>
                </a:lnTo>
                <a:lnTo>
                  <a:pt x="1083413" y="3457263"/>
                </a:lnTo>
                <a:lnTo>
                  <a:pt x="1067675" y="3476285"/>
                </a:lnTo>
                <a:lnTo>
                  <a:pt x="1024334" y="3438241"/>
                </a:lnTo>
                <a:lnTo>
                  <a:pt x="1013217" y="3409214"/>
                </a:lnTo>
                <a:lnTo>
                  <a:pt x="1012093" y="3384388"/>
                </a:lnTo>
                <a:lnTo>
                  <a:pt x="994731" y="3382535"/>
                </a:lnTo>
                <a:lnTo>
                  <a:pt x="991234" y="3363636"/>
                </a:lnTo>
                <a:lnTo>
                  <a:pt x="972124" y="3348691"/>
                </a:lnTo>
                <a:lnTo>
                  <a:pt x="921538" y="3358078"/>
                </a:lnTo>
                <a:lnTo>
                  <a:pt x="895058" y="3326458"/>
                </a:lnTo>
                <a:lnTo>
                  <a:pt x="904676" y="3305706"/>
                </a:lnTo>
                <a:lnTo>
                  <a:pt x="884816" y="3290885"/>
                </a:lnTo>
                <a:lnTo>
                  <a:pt x="869079" y="3249630"/>
                </a:lnTo>
                <a:lnTo>
                  <a:pt x="847970" y="3249259"/>
                </a:lnTo>
                <a:lnTo>
                  <a:pt x="825362" y="3262599"/>
                </a:lnTo>
                <a:lnTo>
                  <a:pt x="778399" y="3264575"/>
                </a:lnTo>
                <a:lnTo>
                  <a:pt x="732184" y="3251482"/>
                </a:lnTo>
                <a:lnTo>
                  <a:pt x="718820" y="3264452"/>
                </a:lnTo>
                <a:lnTo>
                  <a:pt x="721692" y="3283350"/>
                </a:lnTo>
                <a:lnTo>
                  <a:pt x="700834" y="3288785"/>
                </a:lnTo>
                <a:lnTo>
                  <a:pt x="685970" y="3286067"/>
                </a:lnTo>
                <a:lnTo>
                  <a:pt x="684971" y="3263093"/>
                </a:lnTo>
                <a:lnTo>
                  <a:pt x="662738" y="3240489"/>
                </a:lnTo>
                <a:lnTo>
                  <a:pt x="664237" y="3215539"/>
                </a:lnTo>
                <a:lnTo>
                  <a:pt x="644377" y="3187500"/>
                </a:lnTo>
                <a:lnTo>
                  <a:pt x="642129" y="3165267"/>
                </a:lnTo>
                <a:lnTo>
                  <a:pt x="649373" y="3150568"/>
                </a:lnTo>
                <a:lnTo>
                  <a:pt x="669982" y="3167984"/>
                </a:lnTo>
                <a:lnTo>
                  <a:pt x="717321" y="3159462"/>
                </a:lnTo>
                <a:lnTo>
                  <a:pt x="734557" y="3128582"/>
                </a:lnTo>
                <a:lnTo>
                  <a:pt x="744800" y="3118948"/>
                </a:lnTo>
                <a:lnTo>
                  <a:pt x="720318" y="3104249"/>
                </a:lnTo>
                <a:lnTo>
                  <a:pt x="716946" y="3087327"/>
                </a:lnTo>
                <a:lnTo>
                  <a:pt x="681224" y="3058671"/>
                </a:lnTo>
                <a:lnTo>
                  <a:pt x="650373" y="3052125"/>
                </a:lnTo>
                <a:lnTo>
                  <a:pt x="641130" y="3022357"/>
                </a:lnTo>
                <a:lnTo>
                  <a:pt x="622019" y="3010005"/>
                </a:lnTo>
                <a:lnTo>
                  <a:pt x="596789" y="2978261"/>
                </a:lnTo>
                <a:lnTo>
                  <a:pt x="585173" y="2953804"/>
                </a:lnTo>
                <a:lnTo>
                  <a:pt x="563065" y="2932436"/>
                </a:lnTo>
                <a:lnTo>
                  <a:pt x="561816" y="2905015"/>
                </a:lnTo>
                <a:lnTo>
                  <a:pt x="545079" y="2887352"/>
                </a:lnTo>
                <a:lnTo>
                  <a:pt x="550700" y="2863513"/>
                </a:lnTo>
                <a:lnTo>
                  <a:pt x="544579" y="2842762"/>
                </a:lnTo>
                <a:lnTo>
                  <a:pt x="504235" y="2830040"/>
                </a:lnTo>
                <a:lnTo>
                  <a:pt x="490996" y="2830657"/>
                </a:lnTo>
                <a:lnTo>
                  <a:pt x="479754" y="2818059"/>
                </a:lnTo>
                <a:lnTo>
                  <a:pt x="453650" y="2827075"/>
                </a:lnTo>
                <a:lnTo>
                  <a:pt x="430667" y="2846467"/>
                </a:lnTo>
                <a:lnTo>
                  <a:pt x="412182" y="2817070"/>
                </a:lnTo>
                <a:lnTo>
                  <a:pt x="392197" y="2815341"/>
                </a:lnTo>
                <a:lnTo>
                  <a:pt x="370214" y="2826705"/>
                </a:lnTo>
                <a:lnTo>
                  <a:pt x="350354" y="2798666"/>
                </a:lnTo>
                <a:lnTo>
                  <a:pt x="330994" y="2811265"/>
                </a:lnTo>
                <a:lnTo>
                  <a:pt x="314632" y="2801507"/>
                </a:lnTo>
                <a:lnTo>
                  <a:pt x="307388" y="2803483"/>
                </a:lnTo>
                <a:lnTo>
                  <a:pt x="303141" y="2778039"/>
                </a:lnTo>
                <a:lnTo>
                  <a:pt x="289901" y="2761611"/>
                </a:lnTo>
                <a:lnTo>
                  <a:pt x="278785" y="2735919"/>
                </a:lnTo>
                <a:lnTo>
                  <a:pt x="272415" y="2727643"/>
                </a:lnTo>
                <a:lnTo>
                  <a:pt x="259549" y="2705904"/>
                </a:lnTo>
                <a:lnTo>
                  <a:pt x="261673" y="2694047"/>
                </a:lnTo>
                <a:lnTo>
                  <a:pt x="255802" y="2679224"/>
                </a:lnTo>
                <a:lnTo>
                  <a:pt x="247559" y="2672307"/>
                </a:lnTo>
                <a:lnTo>
                  <a:pt x="251181" y="2663661"/>
                </a:lnTo>
                <a:lnTo>
                  <a:pt x="247933" y="2648098"/>
                </a:lnTo>
                <a:lnTo>
                  <a:pt x="229573" y="2646245"/>
                </a:lnTo>
                <a:lnTo>
                  <a:pt x="242313" y="2625371"/>
                </a:lnTo>
                <a:lnTo>
                  <a:pt x="238940" y="2608449"/>
                </a:lnTo>
                <a:lnTo>
                  <a:pt x="252930" y="2595356"/>
                </a:lnTo>
                <a:lnTo>
                  <a:pt x="252180" y="2577075"/>
                </a:lnTo>
                <a:lnTo>
                  <a:pt x="206590" y="2503088"/>
                </a:lnTo>
                <a:lnTo>
                  <a:pt x="210213" y="2434906"/>
                </a:lnTo>
                <a:lnTo>
                  <a:pt x="220580" y="2427125"/>
                </a:lnTo>
                <a:lnTo>
                  <a:pt x="225701" y="2400939"/>
                </a:lnTo>
                <a:lnTo>
                  <a:pt x="239315" y="2382288"/>
                </a:lnTo>
                <a:lnTo>
                  <a:pt x="241438" y="2376482"/>
                </a:lnTo>
                <a:lnTo>
                  <a:pt x="240189" y="2373641"/>
                </a:lnTo>
                <a:lnTo>
                  <a:pt x="231196" y="2359931"/>
                </a:lnTo>
                <a:lnTo>
                  <a:pt x="230822" y="2358202"/>
                </a:lnTo>
                <a:lnTo>
                  <a:pt x="235693" y="2338192"/>
                </a:lnTo>
                <a:lnTo>
                  <a:pt x="226825" y="2324852"/>
                </a:lnTo>
                <a:lnTo>
                  <a:pt x="226325" y="2314476"/>
                </a:lnTo>
                <a:lnTo>
                  <a:pt x="234569" y="2311389"/>
                </a:lnTo>
                <a:lnTo>
                  <a:pt x="242812" y="2326211"/>
                </a:lnTo>
                <a:lnTo>
                  <a:pt x="259300" y="2320035"/>
                </a:lnTo>
                <a:lnTo>
                  <a:pt x="257176" y="2302248"/>
                </a:lnTo>
                <a:lnTo>
                  <a:pt x="267169" y="2293602"/>
                </a:lnTo>
                <a:lnTo>
                  <a:pt x="285654" y="2303854"/>
                </a:lnTo>
                <a:lnTo>
                  <a:pt x="307138" y="2286438"/>
                </a:lnTo>
                <a:lnTo>
                  <a:pt x="311260" y="2270504"/>
                </a:lnTo>
                <a:lnTo>
                  <a:pt x="322251" y="2265934"/>
                </a:lnTo>
                <a:lnTo>
                  <a:pt x="349730" y="2273716"/>
                </a:lnTo>
                <a:lnTo>
                  <a:pt x="360222" y="2259511"/>
                </a:lnTo>
                <a:lnTo>
                  <a:pt x="343360" y="2237525"/>
                </a:lnTo>
                <a:lnTo>
                  <a:pt x="328871" y="2238142"/>
                </a:lnTo>
                <a:lnTo>
                  <a:pt x="320627" y="2241971"/>
                </a:lnTo>
                <a:lnTo>
                  <a:pt x="299768" y="2242836"/>
                </a:lnTo>
                <a:lnTo>
                  <a:pt x="287153" y="2226161"/>
                </a:lnTo>
                <a:lnTo>
                  <a:pt x="265545" y="2225667"/>
                </a:lnTo>
                <a:lnTo>
                  <a:pt x="243062" y="2203310"/>
                </a:lnTo>
                <a:lnTo>
                  <a:pt x="245935" y="2191453"/>
                </a:lnTo>
                <a:lnTo>
                  <a:pt x="266794" y="2207016"/>
                </a:lnTo>
                <a:lnTo>
                  <a:pt x="266169" y="2191206"/>
                </a:lnTo>
                <a:lnTo>
                  <a:pt x="259425" y="2179842"/>
                </a:lnTo>
                <a:lnTo>
                  <a:pt x="272040" y="2168231"/>
                </a:lnTo>
                <a:lnTo>
                  <a:pt x="252055" y="2172554"/>
                </a:lnTo>
                <a:cubicBezTo>
                  <a:pt x="252055" y="2172554"/>
                  <a:pt x="231071" y="2185771"/>
                  <a:pt x="226950" y="2187377"/>
                </a:cubicBezTo>
                <a:cubicBezTo>
                  <a:pt x="225826" y="2187871"/>
                  <a:pt x="224327" y="2189847"/>
                  <a:pt x="222828" y="2192441"/>
                </a:cubicBezTo>
                <a:lnTo>
                  <a:pt x="222578" y="2192441"/>
                </a:lnTo>
                <a:cubicBezTo>
                  <a:pt x="222578" y="2192441"/>
                  <a:pt x="218206" y="2167614"/>
                  <a:pt x="218206" y="2167614"/>
                </a:cubicBezTo>
                <a:lnTo>
                  <a:pt x="258800" y="2125988"/>
                </a:lnTo>
                <a:lnTo>
                  <a:pt x="280159" y="2114625"/>
                </a:lnTo>
                <a:lnTo>
                  <a:pt x="302766" y="2070529"/>
                </a:lnTo>
                <a:lnTo>
                  <a:pt x="326872" y="2031497"/>
                </a:lnTo>
                <a:lnTo>
                  <a:pt x="344109" y="1985548"/>
                </a:lnTo>
                <a:lnTo>
                  <a:pt x="378333" y="1921937"/>
                </a:lnTo>
                <a:lnTo>
                  <a:pt x="401939" y="1856102"/>
                </a:lnTo>
                <a:lnTo>
                  <a:pt x="394820" y="1828928"/>
                </a:lnTo>
                <a:lnTo>
                  <a:pt x="353227" y="1785573"/>
                </a:lnTo>
                <a:lnTo>
                  <a:pt x="329121" y="1778780"/>
                </a:lnTo>
                <a:lnTo>
                  <a:pt x="284155" y="1721714"/>
                </a:lnTo>
                <a:lnTo>
                  <a:pt x="290276" y="1694664"/>
                </a:lnTo>
                <a:lnTo>
                  <a:pt x="306388" y="1670331"/>
                </a:lnTo>
                <a:lnTo>
                  <a:pt x="303266" y="1643651"/>
                </a:lnTo>
                <a:lnTo>
                  <a:pt x="274663" y="1625865"/>
                </a:lnTo>
                <a:lnTo>
                  <a:pt x="263796" y="1605361"/>
                </a:lnTo>
                <a:lnTo>
                  <a:pt x="261048" y="1572134"/>
                </a:lnTo>
                <a:lnTo>
                  <a:pt x="267918" y="1563365"/>
                </a:lnTo>
                <a:lnTo>
                  <a:pt x="259300" y="1546690"/>
                </a:lnTo>
                <a:lnTo>
                  <a:pt x="236692" y="1543725"/>
                </a:lnTo>
                <a:lnTo>
                  <a:pt x="224077" y="1529150"/>
                </a:lnTo>
                <a:lnTo>
                  <a:pt x="222828" y="1499135"/>
                </a:lnTo>
                <a:lnTo>
                  <a:pt x="234694" y="1482213"/>
                </a:lnTo>
                <a:lnTo>
                  <a:pt x="216583" y="1478384"/>
                </a:lnTo>
                <a:lnTo>
                  <a:pt x="215209" y="1462698"/>
                </a:lnTo>
                <a:lnTo>
                  <a:pt x="216583" y="1403780"/>
                </a:lnTo>
                <a:lnTo>
                  <a:pt x="232945" y="1399210"/>
                </a:lnTo>
                <a:lnTo>
                  <a:pt x="187855" y="1306818"/>
                </a:lnTo>
                <a:lnTo>
                  <a:pt x="147136" y="1239872"/>
                </a:lnTo>
                <a:lnTo>
                  <a:pt x="138143" y="1214674"/>
                </a:lnTo>
                <a:lnTo>
                  <a:pt x="115286" y="1192070"/>
                </a:lnTo>
                <a:lnTo>
                  <a:pt x="128651" y="1148221"/>
                </a:lnTo>
                <a:lnTo>
                  <a:pt x="145887" y="1118083"/>
                </a:lnTo>
                <a:lnTo>
                  <a:pt x="153381" y="1090909"/>
                </a:lnTo>
                <a:lnTo>
                  <a:pt x="141641" y="1080904"/>
                </a:lnTo>
                <a:lnTo>
                  <a:pt x="98799" y="1056571"/>
                </a:lnTo>
                <a:lnTo>
                  <a:pt x="90805" y="1039896"/>
                </a:lnTo>
                <a:lnTo>
                  <a:pt x="75941" y="1019639"/>
                </a:lnTo>
                <a:lnTo>
                  <a:pt x="50211" y="1006917"/>
                </a:lnTo>
                <a:lnTo>
                  <a:pt x="37596" y="1005558"/>
                </a:lnTo>
                <a:lnTo>
                  <a:pt x="19985" y="965045"/>
                </a:lnTo>
                <a:lnTo>
                  <a:pt x="6745" y="950593"/>
                </a:lnTo>
                <a:lnTo>
                  <a:pt x="11991" y="919590"/>
                </a:lnTo>
                <a:lnTo>
                  <a:pt x="14988" y="895257"/>
                </a:lnTo>
                <a:lnTo>
                  <a:pt x="0" y="891057"/>
                </a:lnTo>
                <a:lnTo>
                  <a:pt x="14489" y="880311"/>
                </a:lnTo>
                <a:lnTo>
                  <a:pt x="38220" y="869812"/>
                </a:lnTo>
                <a:lnTo>
                  <a:pt x="38220" y="869071"/>
                </a:lnTo>
                <a:cubicBezTo>
                  <a:pt x="38220" y="869071"/>
                  <a:pt x="48962" y="866724"/>
                  <a:pt x="48962" y="866724"/>
                </a:cubicBezTo>
                <a:lnTo>
                  <a:pt x="48213" y="834857"/>
                </a:lnTo>
                <a:lnTo>
                  <a:pt x="71695" y="810524"/>
                </a:lnTo>
                <a:lnTo>
                  <a:pt x="93428" y="806695"/>
                </a:lnTo>
                <a:lnTo>
                  <a:pt x="106792" y="787055"/>
                </a:lnTo>
                <a:lnTo>
                  <a:pt x="103670" y="761240"/>
                </a:lnTo>
                <a:lnTo>
                  <a:pt x="118908" y="759264"/>
                </a:lnTo>
                <a:lnTo>
                  <a:pt x="138143" y="765934"/>
                </a:lnTo>
                <a:lnTo>
                  <a:pt x="148760" y="751359"/>
                </a:lnTo>
                <a:lnTo>
                  <a:pt x="147136" y="732831"/>
                </a:lnTo>
                <a:lnTo>
                  <a:pt x="147511" y="732213"/>
                </a:lnTo>
                <a:lnTo>
                  <a:pt x="167371" y="733819"/>
                </a:lnTo>
                <a:lnTo>
                  <a:pt x="175365" y="740366"/>
                </a:lnTo>
                <a:lnTo>
                  <a:pt x="175739" y="758152"/>
                </a:lnTo>
                <a:lnTo>
                  <a:pt x="184108" y="769145"/>
                </a:lnTo>
                <a:lnTo>
                  <a:pt x="185482" y="746418"/>
                </a:lnTo>
                <a:lnTo>
                  <a:pt x="192226" y="734190"/>
                </a:lnTo>
                <a:lnTo>
                  <a:pt x="204342" y="735054"/>
                </a:lnTo>
                <a:lnTo>
                  <a:pt x="212086" y="730608"/>
                </a:lnTo>
                <a:lnTo>
                  <a:pt x="196098" y="720603"/>
                </a:lnTo>
                <a:lnTo>
                  <a:pt x="196098" y="713809"/>
                </a:lnTo>
                <a:cubicBezTo>
                  <a:pt x="196098" y="713809"/>
                  <a:pt x="206590" y="715415"/>
                  <a:pt x="206590" y="715415"/>
                </a:cubicBezTo>
                <a:lnTo>
                  <a:pt x="217457" y="712574"/>
                </a:lnTo>
                <a:lnTo>
                  <a:pt x="217207" y="705781"/>
                </a:lnTo>
                <a:lnTo>
                  <a:pt x="211587" y="704298"/>
                </a:lnTo>
                <a:lnTo>
                  <a:pt x="204967" y="694294"/>
                </a:lnTo>
                <a:lnTo>
                  <a:pt x="208589" y="688365"/>
                </a:lnTo>
                <a:lnTo>
                  <a:pt x="225950" y="689353"/>
                </a:lnTo>
                <a:lnTo>
                  <a:pt x="244686" y="697134"/>
                </a:lnTo>
                <a:lnTo>
                  <a:pt x="254928" y="710104"/>
                </a:lnTo>
                <a:lnTo>
                  <a:pt x="265045" y="717885"/>
                </a:lnTo>
                <a:lnTo>
                  <a:pt x="272040" y="710721"/>
                </a:lnTo>
                <a:lnTo>
                  <a:pt x="286154" y="715909"/>
                </a:lnTo>
                <a:lnTo>
                  <a:pt x="290900" y="721838"/>
                </a:lnTo>
                <a:lnTo>
                  <a:pt x="302266" y="728137"/>
                </a:lnTo>
                <a:lnTo>
                  <a:pt x="304015" y="737648"/>
                </a:lnTo>
                <a:lnTo>
                  <a:pt x="288652" y="750618"/>
                </a:lnTo>
                <a:lnTo>
                  <a:pt x="274538" y="745059"/>
                </a:lnTo>
                <a:lnTo>
                  <a:pt x="253179" y="748765"/>
                </a:lnTo>
                <a:lnTo>
                  <a:pt x="238691" y="735301"/>
                </a:lnTo>
                <a:lnTo>
                  <a:pt x="237192" y="724061"/>
                </a:lnTo>
                <a:lnTo>
                  <a:pt x="228074" y="737154"/>
                </a:lnTo>
                <a:lnTo>
                  <a:pt x="228573" y="757041"/>
                </a:lnTo>
                <a:lnTo>
                  <a:pt x="234444" y="772851"/>
                </a:lnTo>
                <a:lnTo>
                  <a:pt x="246310" y="760376"/>
                </a:lnTo>
                <a:lnTo>
                  <a:pt x="253804" y="765193"/>
                </a:lnTo>
                <a:lnTo>
                  <a:pt x="258925" y="781003"/>
                </a:lnTo>
                <a:lnTo>
                  <a:pt x="272914" y="768034"/>
                </a:lnTo>
                <a:lnTo>
                  <a:pt x="288402" y="772480"/>
                </a:lnTo>
                <a:lnTo>
                  <a:pt x="290650" y="785697"/>
                </a:lnTo>
                <a:lnTo>
                  <a:pt x="295397" y="784091"/>
                </a:lnTo>
                <a:lnTo>
                  <a:pt x="303016" y="772851"/>
                </a:lnTo>
                <a:lnTo>
                  <a:pt x="308137" y="778162"/>
                </a:lnTo>
                <a:lnTo>
                  <a:pt x="306388" y="785079"/>
                </a:lnTo>
                <a:lnTo>
                  <a:pt x="306888" y="796690"/>
                </a:lnTo>
                <a:lnTo>
                  <a:pt x="321252" y="776803"/>
                </a:lnTo>
                <a:lnTo>
                  <a:pt x="329246" y="768157"/>
                </a:lnTo>
                <a:lnTo>
                  <a:pt x="336990" y="771986"/>
                </a:lnTo>
                <a:lnTo>
                  <a:pt x="332493" y="779027"/>
                </a:lnTo>
                <a:lnTo>
                  <a:pt x="329495" y="789526"/>
                </a:lnTo>
                <a:lnTo>
                  <a:pt x="343360" y="788908"/>
                </a:lnTo>
                <a:lnTo>
                  <a:pt x="349980" y="796196"/>
                </a:lnTo>
                <a:lnTo>
                  <a:pt x="339113" y="803483"/>
                </a:lnTo>
                <a:lnTo>
                  <a:pt x="328746" y="821146"/>
                </a:lnTo>
                <a:lnTo>
                  <a:pt x="348106" y="818305"/>
                </a:lnTo>
                <a:lnTo>
                  <a:pt x="358973" y="795825"/>
                </a:lnTo>
                <a:lnTo>
                  <a:pt x="354976" y="784338"/>
                </a:lnTo>
                <a:lnTo>
                  <a:pt x="361596" y="777174"/>
                </a:lnTo>
                <a:lnTo>
                  <a:pt x="380331" y="774333"/>
                </a:lnTo>
                <a:lnTo>
                  <a:pt x="393196" y="782732"/>
                </a:lnTo>
                <a:lnTo>
                  <a:pt x="395569" y="774333"/>
                </a:lnTo>
                <a:lnTo>
                  <a:pt x="385327" y="761734"/>
                </a:lnTo>
                <a:lnTo>
                  <a:pt x="385827" y="756917"/>
                </a:lnTo>
                <a:lnTo>
                  <a:pt x="403563" y="763711"/>
                </a:lnTo>
                <a:lnTo>
                  <a:pt x="416054" y="779027"/>
                </a:lnTo>
                <a:lnTo>
                  <a:pt x="442408" y="779274"/>
                </a:lnTo>
                <a:lnTo>
                  <a:pt x="460769" y="785326"/>
                </a:lnTo>
                <a:lnTo>
                  <a:pt x="474259" y="777174"/>
                </a:lnTo>
                <a:lnTo>
                  <a:pt x="471761" y="768404"/>
                </a:lnTo>
                <a:lnTo>
                  <a:pt x="494118" y="772233"/>
                </a:lnTo>
                <a:lnTo>
                  <a:pt x="513978" y="783103"/>
                </a:lnTo>
                <a:lnTo>
                  <a:pt x="516476" y="775445"/>
                </a:lnTo>
                <a:lnTo>
                  <a:pt x="538334" y="783473"/>
                </a:lnTo>
                <a:lnTo>
                  <a:pt x="634135" y="828928"/>
                </a:lnTo>
                <a:lnTo>
                  <a:pt x="699085" y="867342"/>
                </a:lnTo>
                <a:lnTo>
                  <a:pt x="712949" y="881793"/>
                </a:lnTo>
                <a:lnTo>
                  <a:pt x="730561" y="886611"/>
                </a:lnTo>
                <a:lnTo>
                  <a:pt x="753418" y="917243"/>
                </a:lnTo>
                <a:lnTo>
                  <a:pt x="767407" y="920084"/>
                </a:lnTo>
                <a:lnTo>
                  <a:pt x="763535" y="909956"/>
                </a:lnTo>
                <a:lnTo>
                  <a:pt x="763160" y="902421"/>
                </a:lnTo>
                <a:lnTo>
                  <a:pt x="772278" y="902050"/>
                </a:lnTo>
                <a:lnTo>
                  <a:pt x="799632" y="924901"/>
                </a:lnTo>
                <a:lnTo>
                  <a:pt x="814246" y="925642"/>
                </a:lnTo>
                <a:lnTo>
                  <a:pt x="837978" y="945282"/>
                </a:lnTo>
                <a:lnTo>
                  <a:pt x="850968" y="939229"/>
                </a:lnTo>
                <a:lnTo>
                  <a:pt x="835479" y="918602"/>
                </a:lnTo>
                <a:lnTo>
                  <a:pt x="830983" y="909832"/>
                </a:lnTo>
                <a:lnTo>
                  <a:pt x="840725" y="909462"/>
                </a:lnTo>
                <a:lnTo>
                  <a:pt x="860960" y="927866"/>
                </a:lnTo>
                <a:lnTo>
                  <a:pt x="860335" y="945035"/>
                </a:lnTo>
                <a:lnTo>
                  <a:pt x="898181" y="968874"/>
                </a:lnTo>
                <a:lnTo>
                  <a:pt x="896682" y="980608"/>
                </a:lnTo>
                <a:lnTo>
                  <a:pt x="917916" y="989377"/>
                </a:lnTo>
                <a:lnTo>
                  <a:pt x="921663" y="980978"/>
                </a:lnTo>
                <a:lnTo>
                  <a:pt x="937775" y="983696"/>
                </a:lnTo>
                <a:lnTo>
                  <a:pt x="958135" y="1002841"/>
                </a:lnTo>
                <a:lnTo>
                  <a:pt x="965379" y="1025198"/>
                </a:lnTo>
                <a:lnTo>
                  <a:pt x="976870" y="1031621"/>
                </a:lnTo>
                <a:lnTo>
                  <a:pt x="992358" y="1053607"/>
                </a:lnTo>
                <a:lnTo>
                  <a:pt x="999228" y="1051260"/>
                </a:lnTo>
                <a:lnTo>
                  <a:pt x="1006472" y="1057806"/>
                </a:lnTo>
                <a:lnTo>
                  <a:pt x="1008096" y="1080410"/>
                </a:lnTo>
                <a:lnTo>
                  <a:pt x="1009720" y="1101655"/>
                </a:lnTo>
                <a:lnTo>
                  <a:pt x="1006722" y="1128582"/>
                </a:lnTo>
                <a:lnTo>
                  <a:pt x="1001102" y="1142540"/>
                </a:lnTo>
                <a:lnTo>
                  <a:pt x="1001601" y="1154891"/>
                </a:lnTo>
                <a:lnTo>
                  <a:pt x="982616" y="1181077"/>
                </a:lnTo>
                <a:lnTo>
                  <a:pt x="979618" y="1193552"/>
                </a:lnTo>
                <a:lnTo>
                  <a:pt x="946893" y="1241724"/>
                </a:lnTo>
                <a:lnTo>
                  <a:pt x="922412" y="1255805"/>
                </a:lnTo>
                <a:lnTo>
                  <a:pt x="892810" y="1262599"/>
                </a:lnTo>
                <a:lnTo>
                  <a:pt x="880070" y="1273468"/>
                </a:lnTo>
                <a:lnTo>
                  <a:pt x="852966" y="1274580"/>
                </a:lnTo>
                <a:lnTo>
                  <a:pt x="847720" y="1282362"/>
                </a:lnTo>
                <a:lnTo>
                  <a:pt x="806252" y="1288908"/>
                </a:lnTo>
                <a:lnTo>
                  <a:pt x="753168" y="1288291"/>
                </a:lnTo>
                <a:lnTo>
                  <a:pt x="722692" y="1281003"/>
                </a:lnTo>
                <a:lnTo>
                  <a:pt x="700209" y="1266551"/>
                </a:lnTo>
                <a:lnTo>
                  <a:pt x="687219" y="1276680"/>
                </a:lnTo>
                <a:lnTo>
                  <a:pt x="671731" y="1272851"/>
                </a:lnTo>
                <a:lnTo>
                  <a:pt x="646501" y="1273715"/>
                </a:lnTo>
                <a:lnTo>
                  <a:pt x="642629" y="1264946"/>
                </a:lnTo>
                <a:lnTo>
                  <a:pt x="627140" y="1260746"/>
                </a:lnTo>
                <a:lnTo>
                  <a:pt x="613651" y="1270875"/>
                </a:lnTo>
                <a:lnTo>
                  <a:pt x="589794" y="1249877"/>
                </a:lnTo>
                <a:lnTo>
                  <a:pt x="590044" y="1238883"/>
                </a:lnTo>
                <a:lnTo>
                  <a:pt x="572183" y="1242342"/>
                </a:lnTo>
                <a:lnTo>
                  <a:pt x="556070" y="1240983"/>
                </a:lnTo>
                <a:lnTo>
                  <a:pt x="563565" y="1236537"/>
                </a:lnTo>
                <a:lnTo>
                  <a:pt x="534337" y="1237154"/>
                </a:lnTo>
                <a:lnTo>
                  <a:pt x="526343" y="1246418"/>
                </a:lnTo>
                <a:lnTo>
                  <a:pt x="508232" y="1246418"/>
                </a:lnTo>
                <a:cubicBezTo>
                  <a:pt x="508232" y="1246418"/>
                  <a:pt x="507733" y="1236166"/>
                  <a:pt x="507733" y="1236166"/>
                </a:cubicBezTo>
                <a:lnTo>
                  <a:pt x="500613" y="1230978"/>
                </a:lnTo>
                <a:lnTo>
                  <a:pt x="511355" y="1222950"/>
                </a:lnTo>
                <a:lnTo>
                  <a:pt x="498989" y="1210474"/>
                </a:lnTo>
                <a:lnTo>
                  <a:pt x="495867" y="1218132"/>
                </a:lnTo>
                <a:lnTo>
                  <a:pt x="466015" y="1219368"/>
                </a:lnTo>
                <a:lnTo>
                  <a:pt x="446780" y="1207139"/>
                </a:lnTo>
                <a:lnTo>
                  <a:pt x="443532" y="1213439"/>
                </a:lnTo>
                <a:lnTo>
                  <a:pt x="430917" y="1212574"/>
                </a:lnTo>
                <a:lnTo>
                  <a:pt x="389949" y="1182065"/>
                </a:lnTo>
                <a:lnTo>
                  <a:pt x="385702" y="1165020"/>
                </a:lnTo>
                <a:lnTo>
                  <a:pt x="362095" y="1163908"/>
                </a:lnTo>
                <a:lnTo>
                  <a:pt x="356974" y="1158597"/>
                </a:lnTo>
                <a:lnTo>
                  <a:pt x="340362" y="1159956"/>
                </a:lnTo>
                <a:lnTo>
                  <a:pt x="336490" y="1165637"/>
                </a:lnTo>
                <a:lnTo>
                  <a:pt x="356475" y="1177866"/>
                </a:lnTo>
                <a:lnTo>
                  <a:pt x="361721" y="1203681"/>
                </a:lnTo>
                <a:lnTo>
                  <a:pt x="383828" y="1216527"/>
                </a:lnTo>
                <a:lnTo>
                  <a:pt x="389324" y="1229990"/>
                </a:lnTo>
                <a:lnTo>
                  <a:pt x="416678" y="1235054"/>
                </a:lnTo>
                <a:lnTo>
                  <a:pt x="422424" y="1240983"/>
                </a:lnTo>
                <a:lnTo>
                  <a:pt x="404812" y="1250618"/>
                </a:lnTo>
                <a:lnTo>
                  <a:pt x="396943" y="1261981"/>
                </a:lnTo>
                <a:lnTo>
                  <a:pt x="401315" y="1266551"/>
                </a:lnTo>
                <a:lnTo>
                  <a:pt x="430792" y="1257782"/>
                </a:lnTo>
                <a:lnTo>
                  <a:pt x="442908" y="1249012"/>
                </a:lnTo>
                <a:lnTo>
                  <a:pt x="455773" y="1257411"/>
                </a:lnTo>
                <a:lnTo>
                  <a:pt x="442783" y="1263463"/>
                </a:lnTo>
                <a:lnTo>
                  <a:pt x="443033" y="1268898"/>
                </a:lnTo>
                <a:lnTo>
                  <a:pt x="463267" y="1270133"/>
                </a:lnTo>
                <a:lnTo>
                  <a:pt x="459020" y="1284091"/>
                </a:lnTo>
                <a:lnTo>
                  <a:pt x="441159" y="1287673"/>
                </a:lnTo>
                <a:lnTo>
                  <a:pt x="433915" y="1298296"/>
                </a:lnTo>
                <a:lnTo>
                  <a:pt x="455523" y="1300766"/>
                </a:lnTo>
                <a:lnTo>
                  <a:pt x="462892" y="1294961"/>
                </a:lnTo>
                <a:lnTo>
                  <a:pt x="477381" y="1294343"/>
                </a:lnTo>
                <a:lnTo>
                  <a:pt x="486874" y="1303607"/>
                </a:lnTo>
                <a:lnTo>
                  <a:pt x="497616" y="1294961"/>
                </a:lnTo>
                <a:lnTo>
                  <a:pt x="539958" y="1310277"/>
                </a:lnTo>
                <a:lnTo>
                  <a:pt x="561191" y="1336833"/>
                </a:lnTo>
                <a:lnTo>
                  <a:pt x="571059" y="1338439"/>
                </a:lnTo>
                <a:lnTo>
                  <a:pt x="565313" y="1349679"/>
                </a:lnTo>
                <a:lnTo>
                  <a:pt x="564439" y="1362154"/>
                </a:lnTo>
                <a:lnTo>
                  <a:pt x="570809" y="1363883"/>
                </a:lnTo>
                <a:lnTo>
                  <a:pt x="572932" y="1381670"/>
                </a:lnTo>
                <a:lnTo>
                  <a:pt x="571434" y="1410573"/>
                </a:lnTo>
                <a:lnTo>
                  <a:pt x="557819" y="1416008"/>
                </a:lnTo>
                <a:lnTo>
                  <a:pt x="555071" y="1431942"/>
                </a:lnTo>
                <a:lnTo>
                  <a:pt x="569810" y="1435400"/>
                </a:lnTo>
                <a:lnTo>
                  <a:pt x="572183" y="1455904"/>
                </a:lnTo>
                <a:lnTo>
                  <a:pt x="598163" y="1478879"/>
                </a:lnTo>
                <a:lnTo>
                  <a:pt x="598163" y="1493948"/>
                </a:lnTo>
                <a:cubicBezTo>
                  <a:pt x="598163" y="1493948"/>
                  <a:pt x="616773" y="1506176"/>
                  <a:pt x="616773" y="1506176"/>
                </a:cubicBezTo>
                <a:lnTo>
                  <a:pt x="617523" y="1523345"/>
                </a:lnTo>
                <a:lnTo>
                  <a:pt x="622019" y="1544343"/>
                </a:lnTo>
                <a:lnTo>
                  <a:pt x="615025" y="1559042"/>
                </a:lnTo>
                <a:lnTo>
                  <a:pt x="624143" y="1567564"/>
                </a:lnTo>
                <a:lnTo>
                  <a:pt x="633011" y="1581892"/>
                </a:lnTo>
                <a:lnTo>
                  <a:pt x="670232" y="1593627"/>
                </a:lnTo>
                <a:lnTo>
                  <a:pt x="686595" y="1579175"/>
                </a:lnTo>
                <a:lnTo>
                  <a:pt x="693839" y="1579916"/>
                </a:lnTo>
                <a:lnTo>
                  <a:pt x="706954" y="1596097"/>
                </a:lnTo>
                <a:lnTo>
                  <a:pt x="723316" y="1605361"/>
                </a:lnTo>
                <a:lnTo>
                  <a:pt x="726314" y="1627470"/>
                </a:lnTo>
                <a:lnTo>
                  <a:pt x="734932" y="1633646"/>
                </a:lnTo>
                <a:lnTo>
                  <a:pt x="763660" y="1632782"/>
                </a:lnTo>
                <a:lnTo>
                  <a:pt x="775901" y="1642169"/>
                </a:lnTo>
                <a:lnTo>
                  <a:pt x="802255" y="1641798"/>
                </a:lnTo>
                <a:lnTo>
                  <a:pt x="819117" y="1656127"/>
                </a:lnTo>
                <a:lnTo>
                  <a:pt x="829234" y="1656374"/>
                </a:lnTo>
                <a:lnTo>
                  <a:pt x="847970" y="1634264"/>
                </a:lnTo>
                <a:lnTo>
                  <a:pt x="863208" y="1632288"/>
                </a:lnTo>
                <a:lnTo>
                  <a:pt x="874075" y="1626976"/>
                </a:lnTo>
                <a:lnTo>
                  <a:pt x="874075" y="1598567"/>
                </a:lnTo>
                <a:cubicBezTo>
                  <a:pt x="874075" y="1598567"/>
                  <a:pt x="859836" y="1587204"/>
                  <a:pt x="859836" y="1587204"/>
                </a:cubicBezTo>
                <a:lnTo>
                  <a:pt x="865706" y="1578063"/>
                </a:lnTo>
                <a:lnTo>
                  <a:pt x="864332" y="1571270"/>
                </a:lnTo>
                <a:lnTo>
                  <a:pt x="843848" y="1564476"/>
                </a:lnTo>
                <a:lnTo>
                  <a:pt x="841225" y="1550148"/>
                </a:lnTo>
                <a:lnTo>
                  <a:pt x="827111" y="1561018"/>
                </a:lnTo>
                <a:lnTo>
                  <a:pt x="816619" y="1560771"/>
                </a:lnTo>
                <a:lnTo>
                  <a:pt x="799632" y="1569046"/>
                </a:lnTo>
                <a:lnTo>
                  <a:pt x="777025" y="1559042"/>
                </a:lnTo>
                <a:lnTo>
                  <a:pt x="760163" y="1538414"/>
                </a:lnTo>
                <a:lnTo>
                  <a:pt x="734682" y="1527792"/>
                </a:lnTo>
                <a:lnTo>
                  <a:pt x="728937" y="1508152"/>
                </a:lnTo>
                <a:lnTo>
                  <a:pt x="714698" y="1484066"/>
                </a:lnTo>
                <a:lnTo>
                  <a:pt x="732809" y="1484684"/>
                </a:lnTo>
                <a:lnTo>
                  <a:pt x="744050" y="1472456"/>
                </a:lnTo>
                <a:lnTo>
                  <a:pt x="737305" y="1463192"/>
                </a:lnTo>
                <a:lnTo>
                  <a:pt x="741052" y="1452693"/>
                </a:lnTo>
                <a:lnTo>
                  <a:pt x="735057" y="1441329"/>
                </a:lnTo>
                <a:lnTo>
                  <a:pt x="738679" y="1429471"/>
                </a:lnTo>
                <a:lnTo>
                  <a:pt x="759538" y="1427866"/>
                </a:lnTo>
                <a:lnTo>
                  <a:pt x="780897" y="1440711"/>
                </a:lnTo>
                <a:lnTo>
                  <a:pt x="806752" y="1444417"/>
                </a:lnTo>
                <a:lnTo>
                  <a:pt x="820116" y="1463068"/>
                </a:lnTo>
                <a:lnTo>
                  <a:pt x="837353" y="1476038"/>
                </a:lnTo>
                <a:lnTo>
                  <a:pt x="869328" y="1476038"/>
                </a:lnTo>
                <a:cubicBezTo>
                  <a:pt x="869328" y="1476038"/>
                  <a:pt x="876073" y="1487401"/>
                  <a:pt x="876073" y="1487401"/>
                </a:cubicBezTo>
                <a:lnTo>
                  <a:pt x="896307" y="1488636"/>
                </a:lnTo>
                <a:lnTo>
                  <a:pt x="955762" y="1513587"/>
                </a:lnTo>
                <a:lnTo>
                  <a:pt x="981117" y="1535944"/>
                </a:lnTo>
                <a:lnTo>
                  <a:pt x="990110" y="1520504"/>
                </a:lnTo>
                <a:lnTo>
                  <a:pt x="1005473" y="1506794"/>
                </a:lnTo>
                <a:lnTo>
                  <a:pt x="1003974" y="1487648"/>
                </a:lnTo>
                <a:lnTo>
                  <a:pt x="1017714" y="1486413"/>
                </a:lnTo>
                <a:lnTo>
                  <a:pt x="1030953" y="1470109"/>
                </a:lnTo>
                <a:lnTo>
                  <a:pt x="1005098" y="1435524"/>
                </a:lnTo>
                <a:lnTo>
                  <a:pt x="963131" y="1396122"/>
                </a:lnTo>
                <a:lnTo>
                  <a:pt x="952264" y="1369812"/>
                </a:lnTo>
                <a:lnTo>
                  <a:pt x="953638" y="1354002"/>
                </a:lnTo>
                <a:lnTo>
                  <a:pt x="977745" y="1333004"/>
                </a:lnTo>
                <a:lnTo>
                  <a:pt x="996605" y="1305336"/>
                </a:lnTo>
                <a:lnTo>
                  <a:pt x="1001226" y="1281744"/>
                </a:lnTo>
                <a:lnTo>
                  <a:pt x="1015840" y="1266675"/>
                </a:lnTo>
                <a:lnTo>
                  <a:pt x="1037199" y="1261611"/>
                </a:lnTo>
                <a:lnTo>
                  <a:pt x="1066051" y="1236290"/>
                </a:lnTo>
                <a:lnTo>
                  <a:pt x="1084912" y="1191453"/>
                </a:lnTo>
                <a:lnTo>
                  <a:pt x="1097027" y="1181324"/>
                </a:lnTo>
                <a:lnTo>
                  <a:pt x="1120010" y="1183795"/>
                </a:lnTo>
                <a:lnTo>
                  <a:pt x="1138620" y="1197381"/>
                </a:lnTo>
                <a:lnTo>
                  <a:pt x="1164850" y="1192811"/>
                </a:lnTo>
                <a:lnTo>
                  <a:pt x="1193453" y="1195035"/>
                </a:lnTo>
                <a:lnTo>
                  <a:pt x="1203695" y="1207016"/>
                </a:lnTo>
                <a:lnTo>
                  <a:pt x="1201821" y="1226285"/>
                </a:lnTo>
                <a:lnTo>
                  <a:pt x="1223055" y="1204793"/>
                </a:lnTo>
                <a:lnTo>
                  <a:pt x="1246662" y="1220973"/>
                </a:lnTo>
                <a:lnTo>
                  <a:pt x="1254656" y="1243330"/>
                </a:lnTo>
                <a:lnTo>
                  <a:pt x="1266896" y="1253088"/>
                </a:lnTo>
                <a:lnTo>
                  <a:pt x="1262774" y="1220232"/>
                </a:lnTo>
                <a:lnTo>
                  <a:pt x="1249285" y="1196764"/>
                </a:lnTo>
                <a:lnTo>
                  <a:pt x="1256529" y="1186141"/>
                </a:lnTo>
                <a:lnTo>
                  <a:pt x="1253906" y="1144392"/>
                </a:lnTo>
                <a:lnTo>
                  <a:pt x="1259652" y="1131052"/>
                </a:lnTo>
                <a:lnTo>
                  <a:pt x="1251033" y="1125247"/>
                </a:lnTo>
                <a:lnTo>
                  <a:pt x="1249909" y="1114995"/>
                </a:lnTo>
                <a:lnTo>
                  <a:pt x="1253032" y="1105978"/>
                </a:lnTo>
                <a:lnTo>
                  <a:pt x="1249035" y="1093750"/>
                </a:lnTo>
                <a:lnTo>
                  <a:pt x="1252158" y="1084610"/>
                </a:lnTo>
                <a:lnTo>
                  <a:pt x="1238293" y="1070776"/>
                </a:lnTo>
                <a:lnTo>
                  <a:pt x="1217684" y="1060030"/>
                </a:lnTo>
                <a:lnTo>
                  <a:pt x="1190705" y="1062624"/>
                </a:lnTo>
                <a:lnTo>
                  <a:pt x="1182087" y="1040267"/>
                </a:lnTo>
                <a:lnTo>
                  <a:pt x="1188082" y="1016675"/>
                </a:lnTo>
                <a:lnTo>
                  <a:pt x="1186333" y="975544"/>
                </a:lnTo>
                <a:lnTo>
                  <a:pt x="1192953" y="969738"/>
                </a:lnTo>
                <a:lnTo>
                  <a:pt x="1188207" y="956892"/>
                </a:lnTo>
                <a:lnTo>
                  <a:pt x="1188207" y="939723"/>
                </a:lnTo>
                <a:cubicBezTo>
                  <a:pt x="1188207" y="939723"/>
                  <a:pt x="1195576" y="933177"/>
                  <a:pt x="1195576" y="933177"/>
                </a:cubicBezTo>
                <a:lnTo>
                  <a:pt x="1185334" y="921196"/>
                </a:lnTo>
                <a:lnTo>
                  <a:pt x="1184460" y="900568"/>
                </a:lnTo>
                <a:lnTo>
                  <a:pt x="1168972" y="862772"/>
                </a:lnTo>
                <a:lnTo>
                  <a:pt x="1141743" y="845356"/>
                </a:lnTo>
                <a:lnTo>
                  <a:pt x="1095029" y="810894"/>
                </a:lnTo>
                <a:lnTo>
                  <a:pt x="1093905" y="801260"/>
                </a:lnTo>
                <a:lnTo>
                  <a:pt x="1114639" y="800395"/>
                </a:lnTo>
                <a:lnTo>
                  <a:pt x="1153234" y="823493"/>
                </a:lnTo>
                <a:lnTo>
                  <a:pt x="1175342" y="821887"/>
                </a:lnTo>
                <a:lnTo>
                  <a:pt x="1189581" y="813735"/>
                </a:lnTo>
                <a:lnTo>
                  <a:pt x="1223430" y="809536"/>
                </a:lnTo>
                <a:lnTo>
                  <a:pt x="1272892" y="812253"/>
                </a:lnTo>
                <a:lnTo>
                  <a:pt x="1296373" y="825716"/>
                </a:lnTo>
                <a:lnTo>
                  <a:pt x="1296373" y="842268"/>
                </a:lnTo>
                <a:cubicBezTo>
                  <a:pt x="1296373" y="842268"/>
                  <a:pt x="1316733" y="864007"/>
                  <a:pt x="1316733" y="864007"/>
                </a:cubicBezTo>
                <a:lnTo>
                  <a:pt x="1337717" y="865860"/>
                </a:lnTo>
                <a:lnTo>
                  <a:pt x="1341838" y="880064"/>
                </a:lnTo>
                <a:lnTo>
                  <a:pt x="1368942" y="911191"/>
                </a:lnTo>
                <a:lnTo>
                  <a:pt x="1366070" y="925025"/>
                </a:lnTo>
                <a:lnTo>
                  <a:pt x="1333470" y="925766"/>
                </a:lnTo>
                <a:lnTo>
                  <a:pt x="1325726" y="938488"/>
                </a:lnTo>
                <a:lnTo>
                  <a:pt x="1297248" y="940341"/>
                </a:lnTo>
                <a:lnTo>
                  <a:pt x="1288629" y="950346"/>
                </a:lnTo>
                <a:lnTo>
                  <a:pt x="1291877" y="960474"/>
                </a:lnTo>
                <a:lnTo>
                  <a:pt x="1284757" y="973814"/>
                </a:lnTo>
                <a:lnTo>
                  <a:pt x="1274765" y="968750"/>
                </a:lnTo>
                <a:lnTo>
                  <a:pt x="1270393" y="979249"/>
                </a:lnTo>
                <a:lnTo>
                  <a:pt x="1270144" y="1006052"/>
                </a:lnTo>
                <a:lnTo>
                  <a:pt x="1283633" y="1012352"/>
                </a:lnTo>
                <a:lnTo>
                  <a:pt x="1323103" y="1042243"/>
                </a:lnTo>
                <a:lnTo>
                  <a:pt x="1361948" y="1087945"/>
                </a:lnTo>
                <a:lnTo>
                  <a:pt x="1378560" y="1087204"/>
                </a:lnTo>
                <a:lnTo>
                  <a:pt x="1402167" y="1069047"/>
                </a:lnTo>
                <a:lnTo>
                  <a:pt x="1414157" y="1088439"/>
                </a:lnTo>
                <a:lnTo>
                  <a:pt x="1422026" y="1077075"/>
                </a:lnTo>
                <a:lnTo>
                  <a:pt x="1441511" y="1076211"/>
                </a:lnTo>
                <a:lnTo>
                  <a:pt x="1445883" y="1066453"/>
                </a:lnTo>
                <a:lnTo>
                  <a:pt x="1477858" y="1050642"/>
                </a:lnTo>
                <a:lnTo>
                  <a:pt x="1483229" y="1031127"/>
                </a:lnTo>
                <a:lnTo>
                  <a:pt x="1473736" y="1004076"/>
                </a:lnTo>
                <a:lnTo>
                  <a:pt x="1484603" y="982955"/>
                </a:lnTo>
                <a:lnTo>
                  <a:pt x="1483229" y="966527"/>
                </a:lnTo>
                <a:lnTo>
                  <a:pt x="1468615" y="949975"/>
                </a:lnTo>
                <a:lnTo>
                  <a:pt x="1477983" y="942688"/>
                </a:lnTo>
                <a:lnTo>
                  <a:pt x="1527070" y="934412"/>
                </a:lnTo>
                <a:lnTo>
                  <a:pt x="1534190" y="923790"/>
                </a:lnTo>
                <a:lnTo>
                  <a:pt x="1564541" y="933547"/>
                </a:lnTo>
                <a:lnTo>
                  <a:pt x="1559795" y="919961"/>
                </a:lnTo>
                <a:lnTo>
                  <a:pt x="1534814" y="903162"/>
                </a:lnTo>
                <a:lnTo>
                  <a:pt x="1526446" y="885623"/>
                </a:lnTo>
                <a:lnTo>
                  <a:pt x="1535439" y="885252"/>
                </a:lnTo>
                <a:lnTo>
                  <a:pt x="1549928" y="897727"/>
                </a:lnTo>
                <a:lnTo>
                  <a:pt x="1564791" y="888834"/>
                </a:lnTo>
                <a:lnTo>
                  <a:pt x="1597016" y="846220"/>
                </a:lnTo>
                <a:lnTo>
                  <a:pt x="1607383" y="843009"/>
                </a:lnTo>
                <a:lnTo>
                  <a:pt x="1642856" y="796196"/>
                </a:lnTo>
                <a:lnTo>
                  <a:pt x="1642356" y="785944"/>
                </a:lnTo>
                <a:lnTo>
                  <a:pt x="1653098" y="779768"/>
                </a:lnTo>
                <a:lnTo>
                  <a:pt x="1673332" y="782609"/>
                </a:lnTo>
                <a:lnTo>
                  <a:pt x="1697813" y="769886"/>
                </a:lnTo>
                <a:lnTo>
                  <a:pt x="1701810" y="758029"/>
                </a:lnTo>
                <a:lnTo>
                  <a:pt x="1737033" y="745553"/>
                </a:lnTo>
                <a:lnTo>
                  <a:pt x="1739656" y="759140"/>
                </a:lnTo>
                <a:lnTo>
                  <a:pt x="1746276" y="759511"/>
                </a:lnTo>
                <a:lnTo>
                  <a:pt x="1750398" y="773345"/>
                </a:lnTo>
                <a:lnTo>
                  <a:pt x="1744277" y="784214"/>
                </a:lnTo>
                <a:lnTo>
                  <a:pt x="1754520" y="790637"/>
                </a:lnTo>
                <a:lnTo>
                  <a:pt x="1774754" y="769269"/>
                </a:lnTo>
                <a:lnTo>
                  <a:pt x="1776253" y="756176"/>
                </a:lnTo>
                <a:lnTo>
                  <a:pt x="1765386" y="751853"/>
                </a:lnTo>
                <a:lnTo>
                  <a:pt x="1751147" y="738636"/>
                </a:lnTo>
                <a:lnTo>
                  <a:pt x="1749648" y="730484"/>
                </a:lnTo>
                <a:lnTo>
                  <a:pt x="1782123" y="696023"/>
                </a:lnTo>
                <a:lnTo>
                  <a:pt x="1787744" y="695652"/>
                </a:lnTo>
                <a:lnTo>
                  <a:pt x="1791241" y="706892"/>
                </a:lnTo>
                <a:lnTo>
                  <a:pt x="1784996" y="710721"/>
                </a:lnTo>
                <a:lnTo>
                  <a:pt x="1779250" y="719491"/>
                </a:lnTo>
                <a:lnTo>
                  <a:pt x="1797111" y="737154"/>
                </a:lnTo>
                <a:lnTo>
                  <a:pt x="1808103" y="733449"/>
                </a:lnTo>
                <a:lnTo>
                  <a:pt x="1817721" y="719738"/>
                </a:lnTo>
                <a:lnTo>
                  <a:pt x="1810476" y="709239"/>
                </a:lnTo>
                <a:lnTo>
                  <a:pt x="1804231" y="692688"/>
                </a:lnTo>
                <a:lnTo>
                  <a:pt x="1797361" y="684783"/>
                </a:lnTo>
                <a:lnTo>
                  <a:pt x="1811350" y="672554"/>
                </a:lnTo>
                <a:lnTo>
                  <a:pt x="1858939" y="649951"/>
                </a:lnTo>
                <a:lnTo>
                  <a:pt x="1891539" y="643775"/>
                </a:lnTo>
                <a:lnTo>
                  <a:pt x="1895286" y="650815"/>
                </a:lnTo>
                <a:lnTo>
                  <a:pt x="1877299" y="660820"/>
                </a:lnTo>
                <a:lnTo>
                  <a:pt x="1863560" y="662426"/>
                </a:lnTo>
                <a:lnTo>
                  <a:pt x="1830336" y="679595"/>
                </a:lnTo>
                <a:lnTo>
                  <a:pt x="1836956" y="687871"/>
                </a:lnTo>
                <a:lnTo>
                  <a:pt x="1849571" y="690094"/>
                </a:lnTo>
                <a:lnTo>
                  <a:pt x="1859688" y="684165"/>
                </a:lnTo>
                <a:lnTo>
                  <a:pt x="1881671" y="702816"/>
                </a:lnTo>
                <a:lnTo>
                  <a:pt x="1870180" y="709857"/>
                </a:lnTo>
                <a:lnTo>
                  <a:pt x="1866308" y="717144"/>
                </a:lnTo>
                <a:lnTo>
                  <a:pt x="1879548" y="735796"/>
                </a:lnTo>
                <a:lnTo>
                  <a:pt x="1872553" y="749135"/>
                </a:lnTo>
                <a:lnTo>
                  <a:pt x="1854192" y="750618"/>
                </a:lnTo>
                <a:lnTo>
                  <a:pt x="1836331" y="769269"/>
                </a:lnTo>
                <a:lnTo>
                  <a:pt x="1840828" y="783844"/>
                </a:lnTo>
                <a:lnTo>
                  <a:pt x="1856191" y="786314"/>
                </a:lnTo>
                <a:lnTo>
                  <a:pt x="1868182" y="782362"/>
                </a:lnTo>
                <a:lnTo>
                  <a:pt x="1880297" y="782362"/>
                </a:lnTo>
                <a:cubicBezTo>
                  <a:pt x="1880297" y="782362"/>
                  <a:pt x="1892663" y="773468"/>
                  <a:pt x="1892663" y="773468"/>
                </a:cubicBezTo>
                <a:lnTo>
                  <a:pt x="1912023" y="779891"/>
                </a:lnTo>
                <a:lnTo>
                  <a:pt x="1913022" y="801383"/>
                </a:lnTo>
                <a:lnTo>
                  <a:pt x="1921016" y="778780"/>
                </a:lnTo>
                <a:lnTo>
                  <a:pt x="1939127" y="756052"/>
                </a:lnTo>
                <a:lnTo>
                  <a:pt x="1947995" y="754323"/>
                </a:lnTo>
                <a:lnTo>
                  <a:pt x="1956488" y="766304"/>
                </a:lnTo>
                <a:lnTo>
                  <a:pt x="1971852" y="776680"/>
                </a:lnTo>
                <a:lnTo>
                  <a:pt x="1977347" y="768898"/>
                </a:lnTo>
                <a:lnTo>
                  <a:pt x="1973101" y="758399"/>
                </a:lnTo>
                <a:lnTo>
                  <a:pt x="1977097" y="746912"/>
                </a:lnTo>
                <a:lnTo>
                  <a:pt x="1963233" y="737895"/>
                </a:lnTo>
                <a:lnTo>
                  <a:pt x="1962484" y="729743"/>
                </a:lnTo>
                <a:lnTo>
                  <a:pt x="1977347" y="712327"/>
                </a:lnTo>
                <a:lnTo>
                  <a:pt x="1995833" y="708498"/>
                </a:lnTo>
                <a:lnTo>
                  <a:pt x="2000579" y="698740"/>
                </a:lnTo>
                <a:lnTo>
                  <a:pt x="2024061" y="682683"/>
                </a:lnTo>
                <a:lnTo>
                  <a:pt x="2035178" y="690464"/>
                </a:lnTo>
                <a:lnTo>
                  <a:pt x="2047418" y="690711"/>
                </a:lnTo>
                <a:lnTo>
                  <a:pt x="2055537" y="685894"/>
                </a:lnTo>
                <a:lnTo>
                  <a:pt x="2069276" y="690464"/>
                </a:lnTo>
                <a:lnTo>
                  <a:pt x="2109121" y="688735"/>
                </a:lnTo>
                <a:lnTo>
                  <a:pt x="2122860" y="677866"/>
                </a:lnTo>
                <a:lnTo>
                  <a:pt x="2122360" y="666255"/>
                </a:lnTo>
                <a:lnTo>
                  <a:pt x="2131603" y="655262"/>
                </a:lnTo>
                <a:lnTo>
                  <a:pt x="2154336" y="652174"/>
                </a:lnTo>
                <a:lnTo>
                  <a:pt x="2155585" y="642169"/>
                </a:lnTo>
                <a:lnTo>
                  <a:pt x="2171947" y="626729"/>
                </a:lnTo>
                <a:lnTo>
                  <a:pt x="2186061" y="623024"/>
                </a:lnTo>
                <a:lnTo>
                  <a:pt x="2209168" y="598320"/>
                </a:lnTo>
                <a:lnTo>
                  <a:pt x="2218786" y="597209"/>
                </a:lnTo>
                <a:lnTo>
                  <a:pt x="2232275" y="589427"/>
                </a:lnTo>
                <a:lnTo>
                  <a:pt x="2236022" y="595479"/>
                </a:lnTo>
                <a:lnTo>
                  <a:pt x="2222783" y="611784"/>
                </a:lnTo>
                <a:lnTo>
                  <a:pt x="2237271" y="616601"/>
                </a:lnTo>
                <a:lnTo>
                  <a:pt x="2256382" y="633646"/>
                </a:lnTo>
                <a:lnTo>
                  <a:pt x="2257131" y="643528"/>
                </a:lnTo>
                <a:lnTo>
                  <a:pt x="2242892" y="657856"/>
                </a:lnTo>
                <a:lnTo>
                  <a:pt x="2252260" y="675642"/>
                </a:lnTo>
                <a:lnTo>
                  <a:pt x="2249012" y="689847"/>
                </a:lnTo>
                <a:lnTo>
                  <a:pt x="2260379" y="702693"/>
                </a:lnTo>
                <a:lnTo>
                  <a:pt x="2306843" y="702693"/>
                </a:lnTo>
                <a:cubicBezTo>
                  <a:pt x="2306843" y="702693"/>
                  <a:pt x="2316086" y="691700"/>
                  <a:pt x="2316086" y="691700"/>
                </a:cubicBezTo>
                <a:lnTo>
                  <a:pt x="2315836" y="680707"/>
                </a:lnTo>
                <a:lnTo>
                  <a:pt x="2308591" y="674531"/>
                </a:lnTo>
                <a:lnTo>
                  <a:pt x="2288232" y="652421"/>
                </a:lnTo>
                <a:lnTo>
                  <a:pt x="2289106" y="642169"/>
                </a:lnTo>
                <a:lnTo>
                  <a:pt x="2301722" y="631546"/>
                </a:lnTo>
                <a:lnTo>
                  <a:pt x="2327202" y="641428"/>
                </a:lnTo>
                <a:lnTo>
                  <a:pt x="2344064" y="629076"/>
                </a:lnTo>
                <a:lnTo>
                  <a:pt x="2350309" y="598567"/>
                </a:lnTo>
                <a:lnTo>
                  <a:pt x="2364173" y="596591"/>
                </a:lnTo>
                <a:lnTo>
                  <a:pt x="2372792" y="603755"/>
                </a:lnTo>
                <a:lnTo>
                  <a:pt x="2397273" y="606843"/>
                </a:lnTo>
                <a:lnTo>
                  <a:pt x="2371168" y="581151"/>
                </a:lnTo>
                <a:lnTo>
                  <a:pt x="2350184" y="576581"/>
                </a:lnTo>
                <a:lnTo>
                  <a:pt x="2347311" y="560153"/>
                </a:lnTo>
                <a:lnTo>
                  <a:pt x="2330824" y="531250"/>
                </a:lnTo>
                <a:lnTo>
                  <a:pt x="2319583" y="530385"/>
                </a:lnTo>
                <a:lnTo>
                  <a:pt x="2316835" y="546319"/>
                </a:lnTo>
                <a:lnTo>
                  <a:pt x="2307218" y="531621"/>
                </a:lnTo>
                <a:lnTo>
                  <a:pt x="2296101" y="499135"/>
                </a:lnTo>
                <a:lnTo>
                  <a:pt x="2283361" y="492836"/>
                </a:lnTo>
                <a:lnTo>
                  <a:pt x="2269247" y="472826"/>
                </a:lnTo>
                <a:lnTo>
                  <a:pt x="2268872" y="465292"/>
                </a:lnTo>
                <a:lnTo>
                  <a:pt x="2287982" y="457633"/>
                </a:lnTo>
                <a:lnTo>
                  <a:pt x="2287358" y="442564"/>
                </a:lnTo>
                <a:lnTo>
                  <a:pt x="2277490" y="423790"/>
                </a:lnTo>
                <a:lnTo>
                  <a:pt x="2288107" y="413044"/>
                </a:lnTo>
                <a:lnTo>
                  <a:pt x="2303595" y="415761"/>
                </a:lnTo>
                <a:lnTo>
                  <a:pt x="2310964" y="411314"/>
                </a:lnTo>
                <a:lnTo>
                  <a:pt x="2326702" y="420949"/>
                </a:lnTo>
                <a:lnTo>
                  <a:pt x="2344564" y="417367"/>
                </a:lnTo>
                <a:lnTo>
                  <a:pt x="2362175" y="422184"/>
                </a:lnTo>
                <a:lnTo>
                  <a:pt x="2431122" y="409585"/>
                </a:lnTo>
                <a:lnTo>
                  <a:pt x="2519428" y="410573"/>
                </a:lnTo>
                <a:lnTo>
                  <a:pt x="2546532" y="427248"/>
                </a:lnTo>
                <a:lnTo>
                  <a:pt x="2605737" y="446023"/>
                </a:lnTo>
                <a:lnTo>
                  <a:pt x="2611108" y="458127"/>
                </a:lnTo>
                <a:lnTo>
                  <a:pt x="2605362" y="468009"/>
                </a:lnTo>
                <a:lnTo>
                  <a:pt x="2615229" y="487525"/>
                </a:lnTo>
                <a:lnTo>
                  <a:pt x="2631842" y="471714"/>
                </a:lnTo>
                <a:lnTo>
                  <a:pt x="2657822" y="460968"/>
                </a:lnTo>
                <a:lnTo>
                  <a:pt x="2673684" y="474061"/>
                </a:lnTo>
                <a:lnTo>
                  <a:pt x="2687673" y="474802"/>
                </a:lnTo>
                <a:lnTo>
                  <a:pt x="2691920" y="491724"/>
                </a:lnTo>
                <a:lnTo>
                  <a:pt x="2722646" y="494565"/>
                </a:lnTo>
                <a:lnTo>
                  <a:pt x="2774481" y="521245"/>
                </a:lnTo>
                <a:lnTo>
                  <a:pt x="2823194" y="523221"/>
                </a:lnTo>
                <a:lnTo>
                  <a:pt x="2843303" y="538167"/>
                </a:lnTo>
                <a:lnTo>
                  <a:pt x="2856168" y="562994"/>
                </a:lnTo>
                <a:lnTo>
                  <a:pt x="2884771" y="567317"/>
                </a:lnTo>
                <a:lnTo>
                  <a:pt x="2910626" y="584733"/>
                </a:lnTo>
                <a:lnTo>
                  <a:pt x="2933858" y="624259"/>
                </a:lnTo>
                <a:lnTo>
                  <a:pt x="2953468" y="627594"/>
                </a:lnTo>
                <a:lnTo>
                  <a:pt x="2954342" y="615860"/>
                </a:lnTo>
                <a:lnTo>
                  <a:pt x="2948347" y="590662"/>
                </a:lnTo>
                <a:lnTo>
                  <a:pt x="2959464" y="589550"/>
                </a:lnTo>
                <a:lnTo>
                  <a:pt x="2963211" y="579793"/>
                </a:lnTo>
                <a:lnTo>
                  <a:pt x="2949846" y="561141"/>
                </a:lnTo>
                <a:lnTo>
                  <a:pt x="2954842" y="548543"/>
                </a:lnTo>
                <a:lnTo>
                  <a:pt x="2952094" y="499876"/>
                </a:lnTo>
                <a:lnTo>
                  <a:pt x="2968207" y="486166"/>
                </a:lnTo>
                <a:lnTo>
                  <a:pt x="2951595" y="488266"/>
                </a:lnTo>
                <a:lnTo>
                  <a:pt x="2948472" y="480855"/>
                </a:lnTo>
                <a:lnTo>
                  <a:pt x="2931110" y="481596"/>
                </a:lnTo>
                <a:lnTo>
                  <a:pt x="2917621" y="491107"/>
                </a:lnTo>
                <a:lnTo>
                  <a:pt x="2898635" y="486413"/>
                </a:lnTo>
                <a:lnTo>
                  <a:pt x="2859291" y="444170"/>
                </a:lnTo>
                <a:lnTo>
                  <a:pt x="2848799" y="442564"/>
                </a:lnTo>
                <a:lnTo>
                  <a:pt x="2834185" y="426013"/>
                </a:lnTo>
                <a:lnTo>
                  <a:pt x="2832811" y="393775"/>
                </a:lnTo>
                <a:lnTo>
                  <a:pt x="2822694" y="385252"/>
                </a:lnTo>
                <a:lnTo>
                  <a:pt x="2806332" y="409956"/>
                </a:lnTo>
                <a:lnTo>
                  <a:pt x="2786347" y="397727"/>
                </a:lnTo>
                <a:lnTo>
                  <a:pt x="2764864" y="397974"/>
                </a:lnTo>
                <a:lnTo>
                  <a:pt x="2747752" y="387722"/>
                </a:lnTo>
                <a:lnTo>
                  <a:pt x="2739383" y="402544"/>
                </a:lnTo>
                <a:lnTo>
                  <a:pt x="2731764" y="371912"/>
                </a:lnTo>
                <a:lnTo>
                  <a:pt x="2717401" y="360178"/>
                </a:lnTo>
                <a:lnTo>
                  <a:pt x="2700414" y="321764"/>
                </a:lnTo>
                <a:lnTo>
                  <a:pt x="2699789" y="308053"/>
                </a:lnTo>
                <a:lnTo>
                  <a:pt x="2712654" y="317194"/>
                </a:lnTo>
                <a:lnTo>
                  <a:pt x="2726643" y="303483"/>
                </a:lnTo>
                <a:lnTo>
                  <a:pt x="2725769" y="282856"/>
                </a:lnTo>
                <a:lnTo>
                  <a:pt x="2697166" y="264205"/>
                </a:lnTo>
                <a:lnTo>
                  <a:pt x="2694168" y="241724"/>
                </a:lnTo>
                <a:lnTo>
                  <a:pt x="2706659" y="224061"/>
                </a:lnTo>
                <a:lnTo>
                  <a:pt x="2720023" y="226902"/>
                </a:lnTo>
                <a:lnTo>
                  <a:pt x="2702662" y="212451"/>
                </a:lnTo>
                <a:lnTo>
                  <a:pt x="2681803" y="211957"/>
                </a:lnTo>
                <a:lnTo>
                  <a:pt x="2667189" y="179595"/>
                </a:lnTo>
                <a:lnTo>
                  <a:pt x="2654199" y="168478"/>
                </a:lnTo>
                <a:lnTo>
                  <a:pt x="2642833" y="176507"/>
                </a:lnTo>
                <a:lnTo>
                  <a:pt x="2619726" y="156868"/>
                </a:lnTo>
                <a:lnTo>
                  <a:pt x="2621225" y="126606"/>
                </a:lnTo>
                <a:lnTo>
                  <a:pt x="2630967" y="110425"/>
                </a:lnTo>
                <a:lnTo>
                  <a:pt x="2618352" y="93132"/>
                </a:lnTo>
                <a:lnTo>
                  <a:pt x="2614230" y="78187"/>
                </a:lnTo>
                <a:lnTo>
                  <a:pt x="2626346" y="69417"/>
                </a:lnTo>
                <a:lnTo>
                  <a:pt x="2656073" y="18651"/>
                </a:lnTo>
                <a:lnTo>
                  <a:pt x="2675558" y="4076"/>
                </a:lnTo>
                <a:lnTo>
                  <a:pt x="2977699" y="4076"/>
                </a:lnTo>
                <a:lnTo>
                  <a:pt x="2977699" y="16675"/>
                </a:lnTo>
                <a:lnTo>
                  <a:pt x="2999433" y="21986"/>
                </a:lnTo>
                <a:lnTo>
                  <a:pt x="2999682" y="26803"/>
                </a:lnTo>
                <a:lnTo>
                  <a:pt x="3013422" y="20751"/>
                </a:lnTo>
                <a:lnTo>
                  <a:pt x="3023414" y="27915"/>
                </a:lnTo>
                <a:lnTo>
                  <a:pt x="3032532" y="61882"/>
                </a:lnTo>
                <a:lnTo>
                  <a:pt x="3055389" y="76087"/>
                </a:lnTo>
                <a:lnTo>
                  <a:pt x="3068005" y="94121"/>
                </a:lnTo>
                <a:lnTo>
                  <a:pt x="3077372" y="149333"/>
                </a:lnTo>
                <a:lnTo>
                  <a:pt x="3093235" y="164526"/>
                </a:lnTo>
                <a:lnTo>
                  <a:pt x="3093235" y="176877"/>
                </a:lnTo>
                <a:cubicBezTo>
                  <a:pt x="3093235" y="176877"/>
                  <a:pt x="3088114" y="190094"/>
                  <a:pt x="3088114" y="190094"/>
                </a:cubicBezTo>
                <a:lnTo>
                  <a:pt x="3108473" y="210598"/>
                </a:lnTo>
                <a:lnTo>
                  <a:pt x="3109722" y="238019"/>
                </a:lnTo>
                <a:lnTo>
                  <a:pt x="3139949" y="277915"/>
                </a:lnTo>
                <a:lnTo>
                  <a:pt x="3134079" y="302248"/>
                </a:lnTo>
                <a:lnTo>
                  <a:pt x="3146069" y="321640"/>
                </a:lnTo>
                <a:lnTo>
                  <a:pt x="3165929" y="332510"/>
                </a:lnTo>
                <a:lnTo>
                  <a:pt x="3156936" y="348691"/>
                </a:lnTo>
                <a:lnTo>
                  <a:pt x="3167803" y="357831"/>
                </a:lnTo>
                <a:lnTo>
                  <a:pt x="3177170" y="395875"/>
                </a:lnTo>
                <a:lnTo>
                  <a:pt x="3215890" y="440959"/>
                </a:lnTo>
                <a:lnTo>
                  <a:pt x="3245492" y="449358"/>
                </a:lnTo>
                <a:lnTo>
                  <a:pt x="3258607" y="463933"/>
                </a:lnTo>
                <a:lnTo>
                  <a:pt x="3271847" y="466156"/>
                </a:lnTo>
                <a:lnTo>
                  <a:pt x="3300700" y="491724"/>
                </a:lnTo>
                <a:lnTo>
                  <a:pt x="3301324" y="506176"/>
                </a:lnTo>
                <a:lnTo>
                  <a:pt x="3292206" y="503088"/>
                </a:lnTo>
                <a:lnTo>
                  <a:pt x="3292206" y="522974"/>
                </a:lnTo>
                <a:cubicBezTo>
                  <a:pt x="3292206" y="522974"/>
                  <a:pt x="3288584" y="547925"/>
                  <a:pt x="3288584" y="547925"/>
                </a:cubicBezTo>
                <a:lnTo>
                  <a:pt x="3301949" y="581769"/>
                </a:lnTo>
                <a:lnTo>
                  <a:pt x="3323557" y="601408"/>
                </a:lnTo>
                <a:lnTo>
                  <a:pt x="3327554" y="629447"/>
                </a:lnTo>
                <a:lnTo>
                  <a:pt x="3311567" y="644516"/>
                </a:lnTo>
                <a:lnTo>
                  <a:pt x="3313315" y="653409"/>
                </a:lnTo>
                <a:lnTo>
                  <a:pt x="3301449" y="668972"/>
                </a:lnTo>
                <a:lnTo>
                  <a:pt x="3309568" y="678977"/>
                </a:lnTo>
                <a:lnTo>
                  <a:pt x="3310567" y="718132"/>
                </a:lnTo>
                <a:lnTo>
                  <a:pt x="3290957" y="729249"/>
                </a:lnTo>
                <a:lnTo>
                  <a:pt x="3295454" y="736660"/>
                </a:lnTo>
                <a:lnTo>
                  <a:pt x="3309193" y="732584"/>
                </a:lnTo>
                <a:lnTo>
                  <a:pt x="3312316" y="742712"/>
                </a:lnTo>
                <a:lnTo>
                  <a:pt x="3291332" y="755929"/>
                </a:lnTo>
                <a:lnTo>
                  <a:pt x="3291582" y="793725"/>
                </a:lnTo>
                <a:lnTo>
                  <a:pt x="3283713" y="805707"/>
                </a:lnTo>
                <a:lnTo>
                  <a:pt x="3260356" y="795702"/>
                </a:lnTo>
                <a:lnTo>
                  <a:pt x="3260856" y="808053"/>
                </a:lnTo>
                <a:lnTo>
                  <a:pt x="3280465" y="827816"/>
                </a:lnTo>
                <a:lnTo>
                  <a:pt x="3283213" y="841403"/>
                </a:lnTo>
                <a:lnTo>
                  <a:pt x="3264103" y="851161"/>
                </a:lnTo>
                <a:lnTo>
                  <a:pt x="3250988" y="869565"/>
                </a:lnTo>
                <a:lnTo>
                  <a:pt x="3217015" y="873024"/>
                </a:lnTo>
                <a:lnTo>
                  <a:pt x="3199153" y="859313"/>
                </a:lnTo>
                <a:lnTo>
                  <a:pt x="3226257" y="843009"/>
                </a:lnTo>
                <a:lnTo>
                  <a:pt x="3226257" y="829298"/>
                </a:lnTo>
                <a:cubicBezTo>
                  <a:pt x="3226257" y="829298"/>
                  <a:pt x="3206897" y="830163"/>
                  <a:pt x="3206897" y="830163"/>
                </a:cubicBezTo>
                <a:lnTo>
                  <a:pt x="3202526" y="842021"/>
                </a:lnTo>
                <a:lnTo>
                  <a:pt x="3189411" y="843997"/>
                </a:lnTo>
                <a:lnTo>
                  <a:pt x="3146819" y="822381"/>
                </a:lnTo>
                <a:lnTo>
                  <a:pt x="3138325" y="834486"/>
                </a:lnTo>
                <a:lnTo>
                  <a:pt x="3086615" y="843503"/>
                </a:lnTo>
                <a:lnTo>
                  <a:pt x="3059636" y="846714"/>
                </a:lnTo>
                <a:lnTo>
                  <a:pt x="3047520" y="871294"/>
                </a:lnTo>
                <a:lnTo>
                  <a:pt x="3060136" y="872777"/>
                </a:lnTo>
                <a:lnTo>
                  <a:pt x="3066631" y="879323"/>
                </a:lnTo>
                <a:lnTo>
                  <a:pt x="3076373" y="861660"/>
                </a:lnTo>
                <a:lnTo>
                  <a:pt x="3104601" y="854990"/>
                </a:lnTo>
                <a:lnTo>
                  <a:pt x="3113719" y="872406"/>
                </a:lnTo>
                <a:lnTo>
                  <a:pt x="3138950" y="894022"/>
                </a:lnTo>
                <a:lnTo>
                  <a:pt x="3207397" y="902050"/>
                </a:lnTo>
                <a:lnTo>
                  <a:pt x="3236874" y="908967"/>
                </a:lnTo>
                <a:lnTo>
                  <a:pt x="3270598" y="902050"/>
                </a:lnTo>
                <a:lnTo>
                  <a:pt x="3302573" y="900074"/>
                </a:lnTo>
                <a:lnTo>
                  <a:pt x="3309193" y="909462"/>
                </a:lnTo>
                <a:lnTo>
                  <a:pt x="3344916" y="915514"/>
                </a:lnTo>
                <a:lnTo>
                  <a:pt x="3372020" y="898592"/>
                </a:lnTo>
                <a:lnTo>
                  <a:pt x="3370521" y="880805"/>
                </a:lnTo>
                <a:lnTo>
                  <a:pt x="3358780" y="868207"/>
                </a:lnTo>
                <a:lnTo>
                  <a:pt x="3357781" y="845603"/>
                </a:lnTo>
                <a:lnTo>
                  <a:pt x="3368897" y="829298"/>
                </a:lnTo>
                <a:lnTo>
                  <a:pt x="3385884" y="820282"/>
                </a:lnTo>
                <a:lnTo>
                  <a:pt x="3386633" y="807189"/>
                </a:lnTo>
                <a:lnTo>
                  <a:pt x="3411239" y="780756"/>
                </a:lnTo>
                <a:lnTo>
                  <a:pt x="3412613" y="764205"/>
                </a:lnTo>
                <a:lnTo>
                  <a:pt x="3426728" y="720973"/>
                </a:lnTo>
                <a:lnTo>
                  <a:pt x="3409615" y="694911"/>
                </a:lnTo>
                <a:lnTo>
                  <a:pt x="3413113" y="664526"/>
                </a:lnTo>
                <a:lnTo>
                  <a:pt x="3439343" y="613883"/>
                </a:lnTo>
                <a:lnTo>
                  <a:pt x="3441466" y="597332"/>
                </a:lnTo>
                <a:lnTo>
                  <a:pt x="3410865" y="531991"/>
                </a:lnTo>
                <a:lnTo>
                  <a:pt x="3371770" y="511611"/>
                </a:lnTo>
                <a:lnTo>
                  <a:pt x="3359904" y="496294"/>
                </a:lnTo>
                <a:lnTo>
                  <a:pt x="3354908" y="444293"/>
                </a:lnTo>
                <a:lnTo>
                  <a:pt x="3382387" y="421072"/>
                </a:lnTo>
                <a:lnTo>
                  <a:pt x="3396126" y="399210"/>
                </a:lnTo>
                <a:lnTo>
                  <a:pt x="3420232" y="394763"/>
                </a:lnTo>
                <a:lnTo>
                  <a:pt x="3456205" y="357460"/>
                </a:lnTo>
                <a:lnTo>
                  <a:pt x="3481060" y="354990"/>
                </a:lnTo>
                <a:lnTo>
                  <a:pt x="3511412" y="381917"/>
                </a:lnTo>
                <a:lnTo>
                  <a:pt x="3512536" y="406621"/>
                </a:lnTo>
                <a:lnTo>
                  <a:pt x="3543013" y="419713"/>
                </a:lnTo>
                <a:lnTo>
                  <a:pt x="3551256" y="433053"/>
                </a:lnTo>
                <a:lnTo>
                  <a:pt x="3559500" y="432683"/>
                </a:lnTo>
                <a:lnTo>
                  <a:pt x="3583606" y="459857"/>
                </a:lnTo>
                <a:lnTo>
                  <a:pt x="3581108" y="481966"/>
                </a:lnTo>
                <a:lnTo>
                  <a:pt x="3597470" y="491601"/>
                </a:lnTo>
                <a:lnTo>
                  <a:pt x="3603216" y="511981"/>
                </a:lnTo>
                <a:lnTo>
                  <a:pt x="3621452" y="532485"/>
                </a:lnTo>
                <a:lnTo>
                  <a:pt x="3625948" y="554965"/>
                </a:lnTo>
                <a:lnTo>
                  <a:pt x="3617330" y="563612"/>
                </a:lnTo>
                <a:lnTo>
                  <a:pt x="3632069" y="583622"/>
                </a:lnTo>
                <a:lnTo>
                  <a:pt x="3654302" y="584116"/>
                </a:lnTo>
                <a:lnTo>
                  <a:pt x="3679407" y="600296"/>
                </a:lnTo>
                <a:lnTo>
                  <a:pt x="3704138" y="593750"/>
                </a:lnTo>
                <a:lnTo>
                  <a:pt x="3719127" y="588315"/>
                </a:lnTo>
                <a:lnTo>
                  <a:pt x="3746730" y="584363"/>
                </a:lnTo>
                <a:lnTo>
                  <a:pt x="3752601" y="573864"/>
                </a:lnTo>
                <a:lnTo>
                  <a:pt x="3762718" y="567194"/>
                </a:lnTo>
                <a:lnTo>
                  <a:pt x="3749978" y="562871"/>
                </a:lnTo>
                <a:lnTo>
                  <a:pt x="3732116" y="568429"/>
                </a:lnTo>
                <a:lnTo>
                  <a:pt x="3725247" y="554965"/>
                </a:lnTo>
                <a:lnTo>
                  <a:pt x="3712382" y="578804"/>
                </a:lnTo>
                <a:lnTo>
                  <a:pt x="3686027" y="579916"/>
                </a:lnTo>
                <a:lnTo>
                  <a:pt x="3673537" y="563982"/>
                </a:lnTo>
                <a:lnTo>
                  <a:pt x="3652803" y="565588"/>
                </a:lnTo>
                <a:lnTo>
                  <a:pt x="3641062" y="549654"/>
                </a:lnTo>
                <a:lnTo>
                  <a:pt x="3646682" y="534214"/>
                </a:lnTo>
                <a:lnTo>
                  <a:pt x="3635316" y="527915"/>
                </a:lnTo>
                <a:lnTo>
                  <a:pt x="3620952" y="502347"/>
                </a:lnTo>
                <a:lnTo>
                  <a:pt x="3621702" y="472085"/>
                </a:lnTo>
                <a:lnTo>
                  <a:pt x="3639563" y="466527"/>
                </a:lnTo>
                <a:lnTo>
                  <a:pt x="3653552" y="453557"/>
                </a:lnTo>
                <a:lnTo>
                  <a:pt x="3639938" y="443799"/>
                </a:lnTo>
                <a:lnTo>
                  <a:pt x="3635192" y="429595"/>
                </a:lnTo>
                <a:lnTo>
                  <a:pt x="3629446" y="426383"/>
                </a:lnTo>
                <a:lnTo>
                  <a:pt x="3622576" y="412179"/>
                </a:lnTo>
                <a:lnTo>
                  <a:pt x="3594098" y="397604"/>
                </a:lnTo>
                <a:lnTo>
                  <a:pt x="3592100" y="383276"/>
                </a:lnTo>
                <a:lnTo>
                  <a:pt x="3570117" y="356719"/>
                </a:lnTo>
                <a:lnTo>
                  <a:pt x="3539016" y="358696"/>
                </a:lnTo>
                <a:lnTo>
                  <a:pt x="3494550" y="342762"/>
                </a:lnTo>
                <a:lnTo>
                  <a:pt x="3482559" y="322628"/>
                </a:lnTo>
                <a:lnTo>
                  <a:pt x="3463449" y="330287"/>
                </a:lnTo>
                <a:lnTo>
                  <a:pt x="3429350" y="312500"/>
                </a:lnTo>
                <a:lnTo>
                  <a:pt x="3413612" y="318676"/>
                </a:lnTo>
                <a:lnTo>
                  <a:pt x="3390381" y="312747"/>
                </a:lnTo>
                <a:lnTo>
                  <a:pt x="3369147" y="336339"/>
                </a:lnTo>
                <a:lnTo>
                  <a:pt x="3364026" y="361290"/>
                </a:lnTo>
                <a:lnTo>
                  <a:pt x="3352035" y="372159"/>
                </a:lnTo>
                <a:lnTo>
                  <a:pt x="3318936" y="363266"/>
                </a:lnTo>
                <a:lnTo>
                  <a:pt x="3292581" y="380929"/>
                </a:lnTo>
                <a:lnTo>
                  <a:pt x="3266601" y="374506"/>
                </a:lnTo>
                <a:lnTo>
                  <a:pt x="3256359" y="362525"/>
                </a:lnTo>
                <a:lnTo>
                  <a:pt x="3258108" y="339056"/>
                </a:lnTo>
                <a:lnTo>
                  <a:pt x="3254486" y="319911"/>
                </a:lnTo>
                <a:lnTo>
                  <a:pt x="3218264" y="285697"/>
                </a:lnTo>
                <a:lnTo>
                  <a:pt x="3206273" y="264946"/>
                </a:lnTo>
                <a:lnTo>
                  <a:pt x="3208021" y="224308"/>
                </a:lnTo>
                <a:lnTo>
                  <a:pt x="3185789" y="192935"/>
                </a:lnTo>
                <a:lnTo>
                  <a:pt x="3189661" y="170084"/>
                </a:lnTo>
                <a:lnTo>
                  <a:pt x="3192658" y="110795"/>
                </a:lnTo>
                <a:lnTo>
                  <a:pt x="3174422" y="74481"/>
                </a:lnTo>
                <a:lnTo>
                  <a:pt x="3153439" y="54101"/>
                </a:lnTo>
                <a:lnTo>
                  <a:pt x="3129832" y="55089"/>
                </a:lnTo>
                <a:lnTo>
                  <a:pt x="3119590" y="30138"/>
                </a:lnTo>
                <a:lnTo>
                  <a:pt x="3113844" y="124"/>
                </a:lnTo>
                <a:lnTo>
                  <a:pt x="3817675" y="124"/>
                </a:lnTo>
                <a:lnTo>
                  <a:pt x="3822671" y="8399"/>
                </a:lnTo>
                <a:lnTo>
                  <a:pt x="3810556" y="17169"/>
                </a:lnTo>
                <a:lnTo>
                  <a:pt x="3811430" y="38414"/>
                </a:lnTo>
                <a:lnTo>
                  <a:pt x="3803437" y="45578"/>
                </a:lnTo>
                <a:lnTo>
                  <a:pt x="3837535" y="65835"/>
                </a:lnTo>
                <a:lnTo>
                  <a:pt x="3866762" y="62747"/>
                </a:lnTo>
                <a:lnTo>
                  <a:pt x="3895490" y="68429"/>
                </a:lnTo>
                <a:lnTo>
                  <a:pt x="3913851" y="91033"/>
                </a:lnTo>
                <a:lnTo>
                  <a:pt x="3913351" y="110301"/>
                </a:lnTo>
                <a:lnTo>
                  <a:pt x="3934086" y="124506"/>
                </a:lnTo>
                <a:lnTo>
                  <a:pt x="3971557" y="123641"/>
                </a:lnTo>
                <a:lnTo>
                  <a:pt x="4009902" y="159832"/>
                </a:lnTo>
                <a:lnTo>
                  <a:pt x="4005905" y="146986"/>
                </a:lnTo>
                <a:lnTo>
                  <a:pt x="4005530" y="121542"/>
                </a:lnTo>
                <a:lnTo>
                  <a:pt x="4032010" y="91527"/>
                </a:lnTo>
                <a:lnTo>
                  <a:pt x="4052119" y="90044"/>
                </a:lnTo>
                <a:lnTo>
                  <a:pt x="4093087" y="119195"/>
                </a:lnTo>
                <a:lnTo>
                  <a:pt x="4120816" y="117959"/>
                </a:lnTo>
                <a:lnTo>
                  <a:pt x="4136179" y="135128"/>
                </a:lnTo>
                <a:lnTo>
                  <a:pt x="4146671" y="168355"/>
                </a:lnTo>
                <a:lnTo>
                  <a:pt x="4140926" y="132164"/>
                </a:lnTo>
                <a:lnTo>
                  <a:pt x="4128810" y="109313"/>
                </a:lnTo>
                <a:lnTo>
                  <a:pt x="4112073" y="109313"/>
                </a:lnTo>
                <a:cubicBezTo>
                  <a:pt x="4112073" y="109313"/>
                  <a:pt x="4086718" y="101532"/>
                  <a:pt x="4086718" y="101532"/>
                </a:cubicBezTo>
                <a:lnTo>
                  <a:pt x="4050995" y="80410"/>
                </a:lnTo>
                <a:lnTo>
                  <a:pt x="4021393" y="87204"/>
                </a:lnTo>
                <a:lnTo>
                  <a:pt x="3992665" y="111784"/>
                </a:lnTo>
                <a:lnTo>
                  <a:pt x="3978551" y="107584"/>
                </a:lnTo>
                <a:lnTo>
                  <a:pt x="3975179" y="111166"/>
                </a:lnTo>
                <a:lnTo>
                  <a:pt x="3942704" y="99432"/>
                </a:lnTo>
                <a:lnTo>
                  <a:pt x="3907106" y="64600"/>
                </a:lnTo>
                <a:lnTo>
                  <a:pt x="3888496" y="52248"/>
                </a:lnTo>
                <a:lnTo>
                  <a:pt x="3857145" y="50889"/>
                </a:lnTo>
                <a:lnTo>
                  <a:pt x="3838659" y="24827"/>
                </a:lnTo>
                <a:lnTo>
                  <a:pt x="3853398" y="29644"/>
                </a:lnTo>
                <a:lnTo>
                  <a:pt x="3864389" y="27050"/>
                </a:lnTo>
                <a:lnTo>
                  <a:pt x="3874631" y="0"/>
                </a:lnTo>
                <a:lnTo>
                  <a:pt x="4618182" y="0"/>
                </a:lnTo>
                <a:lnTo>
                  <a:pt x="4618182" y="2851038"/>
                </a:lnTo>
                <a:lnTo>
                  <a:pt x="4554731" y="2781621"/>
                </a:lnTo>
                <a:moveTo>
                  <a:pt x="3743732" y="16675"/>
                </a:moveTo>
                <a:lnTo>
                  <a:pt x="3755473" y="14822"/>
                </a:lnTo>
                <a:moveTo>
                  <a:pt x="667609" y="1475914"/>
                </a:moveTo>
                <a:lnTo>
                  <a:pt x="658366" y="1460968"/>
                </a:lnTo>
                <a:lnTo>
                  <a:pt x="664362" y="1453187"/>
                </a:lnTo>
                <a:lnTo>
                  <a:pt x="661739" y="1442441"/>
                </a:lnTo>
                <a:lnTo>
                  <a:pt x="649748" y="1440341"/>
                </a:lnTo>
                <a:lnTo>
                  <a:pt x="638756" y="1453187"/>
                </a:lnTo>
                <a:lnTo>
                  <a:pt x="639756" y="1465662"/>
                </a:lnTo>
                <a:lnTo>
                  <a:pt x="653995" y="1477520"/>
                </a:lnTo>
                <a:lnTo>
                  <a:pt x="658491" y="1485178"/>
                </a:lnTo>
                <a:lnTo>
                  <a:pt x="665985" y="1484560"/>
                </a:lnTo>
                <a:lnTo>
                  <a:pt x="667734" y="1475914"/>
                </a:lnTo>
                <a:lnTo>
                  <a:pt x="667734" y="1475914"/>
                </a:lnTo>
                <a:close/>
                <a:moveTo>
                  <a:pt x="1129877" y="1157238"/>
                </a:moveTo>
                <a:lnTo>
                  <a:pt x="1138745" y="1155509"/>
                </a:lnTo>
                <a:lnTo>
                  <a:pt x="1136997" y="1146122"/>
                </a:lnTo>
                <a:lnTo>
                  <a:pt x="1126630" y="1135005"/>
                </a:lnTo>
                <a:lnTo>
                  <a:pt x="1117512" y="1136981"/>
                </a:lnTo>
                <a:lnTo>
                  <a:pt x="1117512" y="1146492"/>
                </a:lnTo>
                <a:cubicBezTo>
                  <a:pt x="1117512" y="1146492"/>
                  <a:pt x="1130002" y="1157115"/>
                  <a:pt x="1130002" y="1157115"/>
                </a:cubicBezTo>
                <a:lnTo>
                  <a:pt x="1130002" y="1157115"/>
                </a:lnTo>
                <a:close/>
                <a:moveTo>
                  <a:pt x="1647852" y="774827"/>
                </a:moveTo>
                <a:lnTo>
                  <a:pt x="1654097" y="774580"/>
                </a:lnTo>
                <a:lnTo>
                  <a:pt x="1658594" y="768775"/>
                </a:lnTo>
                <a:lnTo>
                  <a:pt x="1678953" y="763958"/>
                </a:lnTo>
                <a:lnTo>
                  <a:pt x="1688321" y="756917"/>
                </a:lnTo>
                <a:lnTo>
                  <a:pt x="1665089" y="755558"/>
                </a:lnTo>
                <a:lnTo>
                  <a:pt x="1648476" y="764822"/>
                </a:lnTo>
                <a:lnTo>
                  <a:pt x="1647977" y="774704"/>
                </a:lnTo>
                <a:lnTo>
                  <a:pt x="1647977" y="774704"/>
                </a:lnTo>
                <a:close/>
                <a:moveTo>
                  <a:pt x="1912148" y="758029"/>
                </a:moveTo>
                <a:lnTo>
                  <a:pt x="1918518" y="764946"/>
                </a:lnTo>
                <a:lnTo>
                  <a:pt x="1930633" y="747406"/>
                </a:lnTo>
                <a:lnTo>
                  <a:pt x="1929384" y="734313"/>
                </a:lnTo>
                <a:lnTo>
                  <a:pt x="1917518" y="737154"/>
                </a:lnTo>
                <a:lnTo>
                  <a:pt x="1910774" y="749259"/>
                </a:lnTo>
                <a:lnTo>
                  <a:pt x="1912148" y="758029"/>
                </a:lnTo>
                <a:lnTo>
                  <a:pt x="1912148" y="758029"/>
                </a:lnTo>
                <a:close/>
                <a:moveTo>
                  <a:pt x="1876925" y="763463"/>
                </a:moveTo>
                <a:lnTo>
                  <a:pt x="1890290" y="764575"/>
                </a:lnTo>
                <a:lnTo>
                  <a:pt x="1898159" y="753706"/>
                </a:lnTo>
                <a:lnTo>
                  <a:pt x="1891539" y="744812"/>
                </a:lnTo>
                <a:lnTo>
                  <a:pt x="1882795" y="748765"/>
                </a:lnTo>
                <a:lnTo>
                  <a:pt x="1877050" y="763463"/>
                </a:lnTo>
                <a:lnTo>
                  <a:pt x="1877050" y="763463"/>
                </a:lnTo>
                <a:close/>
                <a:moveTo>
                  <a:pt x="2091509" y="662673"/>
                </a:moveTo>
                <a:lnTo>
                  <a:pt x="2099253" y="664649"/>
                </a:lnTo>
                <a:lnTo>
                  <a:pt x="2108871" y="656744"/>
                </a:lnTo>
                <a:lnTo>
                  <a:pt x="2134351" y="647480"/>
                </a:lnTo>
                <a:lnTo>
                  <a:pt x="2140596" y="638340"/>
                </a:lnTo>
                <a:lnTo>
                  <a:pt x="2123859" y="634511"/>
                </a:lnTo>
                <a:lnTo>
                  <a:pt x="2100252" y="647727"/>
                </a:lnTo>
                <a:lnTo>
                  <a:pt x="2091634" y="662920"/>
                </a:lnTo>
                <a:lnTo>
                  <a:pt x="2091634" y="662920"/>
                </a:lnTo>
                <a:close/>
                <a:moveTo>
                  <a:pt x="3826668" y="2841"/>
                </a:moveTo>
                <a:lnTo>
                  <a:pt x="3832539" y="9140"/>
                </a:lnTo>
                <a:moveTo>
                  <a:pt x="2236272" y="575593"/>
                </a:moveTo>
                <a:cubicBezTo>
                  <a:pt x="2235523" y="574975"/>
                  <a:pt x="2246889" y="561388"/>
                  <a:pt x="2246889" y="561388"/>
                </a:cubicBezTo>
                <a:lnTo>
                  <a:pt x="2232400" y="564600"/>
                </a:lnTo>
                <a:lnTo>
                  <a:pt x="2236147" y="575593"/>
                </a:lnTo>
                <a:lnTo>
                  <a:pt x="2236147" y="575593"/>
                </a:lnTo>
                <a:close/>
                <a:moveTo>
                  <a:pt x="2753622" y="431818"/>
                </a:moveTo>
                <a:cubicBezTo>
                  <a:pt x="2753622" y="431818"/>
                  <a:pt x="2757994" y="439476"/>
                  <a:pt x="2757994" y="439476"/>
                </a:cubicBezTo>
                <a:lnTo>
                  <a:pt x="2770859" y="443058"/>
                </a:lnTo>
                <a:lnTo>
                  <a:pt x="2780602" y="429718"/>
                </a:lnTo>
                <a:lnTo>
                  <a:pt x="2777979" y="416255"/>
                </a:lnTo>
                <a:lnTo>
                  <a:pt x="2768611" y="406991"/>
                </a:lnTo>
                <a:lnTo>
                  <a:pt x="2757619" y="414526"/>
                </a:lnTo>
                <a:lnTo>
                  <a:pt x="2757994" y="423295"/>
                </a:lnTo>
                <a:lnTo>
                  <a:pt x="2753622" y="431818"/>
                </a:lnTo>
                <a:lnTo>
                  <a:pt x="2753622" y="431818"/>
                </a:lnTo>
                <a:close/>
                <a:moveTo>
                  <a:pt x="3115843" y="848197"/>
                </a:moveTo>
                <a:lnTo>
                  <a:pt x="3117466" y="856349"/>
                </a:lnTo>
                <a:lnTo>
                  <a:pt x="3129832" y="859437"/>
                </a:lnTo>
                <a:lnTo>
                  <a:pt x="3131581" y="870553"/>
                </a:lnTo>
                <a:lnTo>
                  <a:pt x="3152314" y="882535"/>
                </a:lnTo>
                <a:lnTo>
                  <a:pt x="3170925" y="875494"/>
                </a:lnTo>
                <a:lnTo>
                  <a:pt x="3177545" y="867342"/>
                </a:lnTo>
                <a:lnTo>
                  <a:pt x="3169801" y="850543"/>
                </a:lnTo>
                <a:lnTo>
                  <a:pt x="3155062" y="847209"/>
                </a:lnTo>
                <a:lnTo>
                  <a:pt x="3140948" y="851779"/>
                </a:lnTo>
                <a:lnTo>
                  <a:pt x="3127833" y="847703"/>
                </a:lnTo>
                <a:lnTo>
                  <a:pt x="3115593" y="848197"/>
                </a:lnTo>
                <a:lnTo>
                  <a:pt x="3115593" y="848197"/>
                </a:lnTo>
                <a:close/>
                <a:moveTo>
                  <a:pt x="246310" y="2223691"/>
                </a:moveTo>
                <a:cubicBezTo>
                  <a:pt x="245685" y="2223691"/>
                  <a:pt x="240439" y="2239995"/>
                  <a:pt x="240439" y="2239995"/>
                </a:cubicBezTo>
                <a:lnTo>
                  <a:pt x="259050" y="2248765"/>
                </a:lnTo>
                <a:lnTo>
                  <a:pt x="264546" y="2239378"/>
                </a:lnTo>
                <a:lnTo>
                  <a:pt x="246310" y="2223691"/>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4" name="Graphic 111">
            <a:extLst>
              <a:ext uri="{FF2B5EF4-FFF2-40B4-BE49-F238E27FC236}">
                <a16:creationId xmlns:a16="http://schemas.microsoft.com/office/drawing/2014/main" id="{A978C32B-3F26-616A-BB96-A0967207DC64}"/>
              </a:ext>
            </a:extLst>
          </p:cNvPr>
          <p:cNvSpPr/>
          <p:nvPr/>
        </p:nvSpPr>
        <p:spPr>
          <a:xfrm rot="1141104">
            <a:off x="10076217" y="3363496"/>
            <a:ext cx="2611870" cy="1846433"/>
          </a:xfrm>
          <a:custGeom>
            <a:avLst/>
            <a:gdLst>
              <a:gd name="connsiteX0" fmla="*/ 2611870 w 2611870"/>
              <a:gd name="connsiteY0" fmla="*/ 1507664 h 1846433"/>
              <a:gd name="connsiteX1" fmla="*/ 2592755 w 2611870"/>
              <a:gd name="connsiteY1" fmla="*/ 1497409 h 1846433"/>
              <a:gd name="connsiteX2" fmla="*/ 2573141 w 2611870"/>
              <a:gd name="connsiteY2" fmla="*/ 1487155 h 1846433"/>
              <a:gd name="connsiteX3" fmla="*/ 2544031 w 2611870"/>
              <a:gd name="connsiteY3" fmla="*/ 1489131 h 1846433"/>
              <a:gd name="connsiteX4" fmla="*/ 2534411 w 2611870"/>
              <a:gd name="connsiteY4" fmla="*/ 1494073 h 1846433"/>
              <a:gd name="connsiteX5" fmla="*/ 2512423 w 2611870"/>
              <a:gd name="connsiteY5" fmla="*/ 1493703 h 1846433"/>
              <a:gd name="connsiteX6" fmla="*/ 2495057 w 2611870"/>
              <a:gd name="connsiteY6" fmla="*/ 1491108 h 1846433"/>
              <a:gd name="connsiteX7" fmla="*/ 2484812 w 2611870"/>
              <a:gd name="connsiteY7" fmla="*/ 1497533 h 1846433"/>
              <a:gd name="connsiteX8" fmla="*/ 2487686 w 2611870"/>
              <a:gd name="connsiteY8" fmla="*/ 1517053 h 1846433"/>
              <a:gd name="connsiteX9" fmla="*/ 2493808 w 2611870"/>
              <a:gd name="connsiteY9" fmla="*/ 1537068 h 1846433"/>
              <a:gd name="connsiteX10" fmla="*/ 2495557 w 2611870"/>
              <a:gd name="connsiteY10" fmla="*/ 1561160 h 1846433"/>
              <a:gd name="connsiteX11" fmla="*/ 2467322 w 2611870"/>
              <a:gd name="connsiteY11" fmla="*/ 1566967 h 1846433"/>
              <a:gd name="connsiteX12" fmla="*/ 2410477 w 2611870"/>
              <a:gd name="connsiteY12" fmla="*/ 1570673 h 1846433"/>
              <a:gd name="connsiteX13" fmla="*/ 2342638 w 2611870"/>
              <a:gd name="connsiteY13" fmla="*/ 1566967 h 1846433"/>
              <a:gd name="connsiteX14" fmla="*/ 2326271 w 2611870"/>
              <a:gd name="connsiteY14" fmla="*/ 1558566 h 1846433"/>
              <a:gd name="connsiteX15" fmla="*/ 2295662 w 2611870"/>
              <a:gd name="connsiteY15" fmla="*/ 1555848 h 1846433"/>
              <a:gd name="connsiteX16" fmla="*/ 2279296 w 2611870"/>
              <a:gd name="connsiteY16" fmla="*/ 1574998 h 1846433"/>
              <a:gd name="connsiteX17" fmla="*/ 2286292 w 2611870"/>
              <a:gd name="connsiteY17" fmla="*/ 1585129 h 1846433"/>
              <a:gd name="connsiteX18" fmla="*/ 2266803 w 2611870"/>
              <a:gd name="connsiteY18" fmla="*/ 1598842 h 1846433"/>
              <a:gd name="connsiteX19" fmla="*/ 2264304 w 2611870"/>
              <a:gd name="connsiteY19" fmla="*/ 1607120 h 1846433"/>
              <a:gd name="connsiteX20" fmla="*/ 2258432 w 2611870"/>
              <a:gd name="connsiteY20" fmla="*/ 1606626 h 1846433"/>
              <a:gd name="connsiteX21" fmla="*/ 2240941 w 2611870"/>
              <a:gd name="connsiteY21" fmla="*/ 1630965 h 1846433"/>
              <a:gd name="connsiteX22" fmla="*/ 2225449 w 2611870"/>
              <a:gd name="connsiteY22" fmla="*/ 1638254 h 1846433"/>
              <a:gd name="connsiteX23" fmla="*/ 2191592 w 2611870"/>
              <a:gd name="connsiteY23" fmla="*/ 1682238 h 1846433"/>
              <a:gd name="connsiteX24" fmla="*/ 2180098 w 2611870"/>
              <a:gd name="connsiteY24" fmla="*/ 1707565 h 1846433"/>
              <a:gd name="connsiteX25" fmla="*/ 2170104 w 2611870"/>
              <a:gd name="connsiteY25" fmla="*/ 1720414 h 1846433"/>
              <a:gd name="connsiteX26" fmla="*/ 2152988 w 2611870"/>
              <a:gd name="connsiteY26" fmla="*/ 1755255 h 1846433"/>
              <a:gd name="connsiteX27" fmla="*/ 2117506 w 2611870"/>
              <a:gd name="connsiteY27" fmla="*/ 1790837 h 1846433"/>
              <a:gd name="connsiteX28" fmla="*/ 2107762 w 2611870"/>
              <a:gd name="connsiteY28" fmla="*/ 1784412 h 1846433"/>
              <a:gd name="connsiteX29" fmla="*/ 2065409 w 2611870"/>
              <a:gd name="connsiteY29" fmla="*/ 1765757 h 1846433"/>
              <a:gd name="connsiteX30" fmla="*/ 2034300 w 2611870"/>
              <a:gd name="connsiteY30" fmla="*/ 1762915 h 1846433"/>
              <a:gd name="connsiteX31" fmla="*/ 2007440 w 2611870"/>
              <a:gd name="connsiteY31" fmla="*/ 1769587 h 1846433"/>
              <a:gd name="connsiteX32" fmla="*/ 1966961 w 2611870"/>
              <a:gd name="connsiteY32" fmla="*/ 1793061 h 1846433"/>
              <a:gd name="connsiteX33" fmla="*/ 1948096 w 2611870"/>
              <a:gd name="connsiteY33" fmla="*/ 1792196 h 1846433"/>
              <a:gd name="connsiteX34" fmla="*/ 1905119 w 2611870"/>
              <a:gd name="connsiteY34" fmla="*/ 1689157 h 1846433"/>
              <a:gd name="connsiteX35" fmla="*/ 1839903 w 2611870"/>
              <a:gd name="connsiteY35" fmla="*/ 1683473 h 1846433"/>
              <a:gd name="connsiteX36" fmla="*/ 1831033 w 2611870"/>
              <a:gd name="connsiteY36" fmla="*/ 1555477 h 1846433"/>
              <a:gd name="connsiteX37" fmla="*/ 1799799 w 2611870"/>
              <a:gd name="connsiteY37" fmla="*/ 1566596 h 1846433"/>
              <a:gd name="connsiteX38" fmla="*/ 1774188 w 2611870"/>
              <a:gd name="connsiteY38" fmla="*/ 1512729 h 1846433"/>
              <a:gd name="connsiteX39" fmla="*/ 1725838 w 2611870"/>
              <a:gd name="connsiteY39" fmla="*/ 1480112 h 1846433"/>
              <a:gd name="connsiteX40" fmla="*/ 1575168 w 2611870"/>
              <a:gd name="connsiteY40" fmla="*/ 1486907 h 1846433"/>
              <a:gd name="connsiteX41" fmla="*/ 1439365 w 2611870"/>
              <a:gd name="connsiteY41" fmla="*/ 1507169 h 1846433"/>
              <a:gd name="connsiteX42" fmla="*/ 1360531 w 2611870"/>
              <a:gd name="connsiteY42" fmla="*/ 1464545 h 1846433"/>
              <a:gd name="connsiteX43" fmla="*/ 1302687 w 2611870"/>
              <a:gd name="connsiteY43" fmla="*/ 1446013 h 1846433"/>
              <a:gd name="connsiteX44" fmla="*/ 1152641 w 2611870"/>
              <a:gd name="connsiteY44" fmla="*/ 1350510 h 1846433"/>
              <a:gd name="connsiteX45" fmla="*/ 912268 w 2611870"/>
              <a:gd name="connsiteY45" fmla="*/ 1406230 h 1846433"/>
              <a:gd name="connsiteX46" fmla="*/ 1005469 w 2611870"/>
              <a:gd name="connsiteY46" fmla="*/ 1835191 h 1846433"/>
              <a:gd name="connsiteX47" fmla="*/ 992101 w 2611870"/>
              <a:gd name="connsiteY47" fmla="*/ 1837044 h 1846433"/>
              <a:gd name="connsiteX48" fmla="*/ 955370 w 2611870"/>
              <a:gd name="connsiteY48" fmla="*/ 1846434 h 1846433"/>
              <a:gd name="connsiteX49" fmla="*/ 892903 w 2611870"/>
              <a:gd name="connsiteY49" fmla="*/ 1780953 h 1846433"/>
              <a:gd name="connsiteX50" fmla="*/ 826314 w 2611870"/>
              <a:gd name="connsiteY50" fmla="*/ 1746977 h 1846433"/>
              <a:gd name="connsiteX51" fmla="*/ 766470 w 2611870"/>
              <a:gd name="connsiteY51" fmla="*/ 1740429 h 1846433"/>
              <a:gd name="connsiteX52" fmla="*/ 722119 w 2611870"/>
              <a:gd name="connsiteY52" fmla="*/ 1757973 h 1846433"/>
              <a:gd name="connsiteX53" fmla="*/ 667772 w 2611870"/>
              <a:gd name="connsiteY53" fmla="*/ 1810852 h 1846433"/>
              <a:gd name="connsiteX54" fmla="*/ 664774 w 2611870"/>
              <a:gd name="connsiteY54" fmla="*/ 1787254 h 1846433"/>
              <a:gd name="connsiteX55" fmla="*/ 658902 w 2611870"/>
              <a:gd name="connsiteY55" fmla="*/ 1766127 h 1846433"/>
              <a:gd name="connsiteX56" fmla="*/ 668397 w 2611870"/>
              <a:gd name="connsiteY56" fmla="*/ 1740800 h 1846433"/>
              <a:gd name="connsiteX57" fmla="*/ 670521 w 2611870"/>
              <a:gd name="connsiteY57" fmla="*/ 1715102 h 1846433"/>
              <a:gd name="connsiteX58" fmla="*/ 669147 w 2611870"/>
              <a:gd name="connsiteY58" fmla="*/ 1705959 h 1846433"/>
              <a:gd name="connsiteX59" fmla="*/ 671895 w 2611870"/>
              <a:gd name="connsiteY59" fmla="*/ 1699535 h 1846433"/>
              <a:gd name="connsiteX60" fmla="*/ 665024 w 2611870"/>
              <a:gd name="connsiteY60" fmla="*/ 1695581 h 1846433"/>
              <a:gd name="connsiteX61" fmla="*/ 645284 w 2611870"/>
              <a:gd name="connsiteY61" fmla="*/ 1697434 h 1846433"/>
              <a:gd name="connsiteX62" fmla="*/ 630417 w 2611870"/>
              <a:gd name="connsiteY62" fmla="*/ 1691875 h 1846433"/>
              <a:gd name="connsiteX63" fmla="*/ 613676 w 2611870"/>
              <a:gd name="connsiteY63" fmla="*/ 1688539 h 1846433"/>
              <a:gd name="connsiteX64" fmla="*/ 600308 w 2611870"/>
              <a:gd name="connsiteY64" fmla="*/ 1695087 h 1846433"/>
              <a:gd name="connsiteX65" fmla="*/ 592312 w 2611870"/>
              <a:gd name="connsiteY65" fmla="*/ 1692492 h 1846433"/>
              <a:gd name="connsiteX66" fmla="*/ 584316 w 2611870"/>
              <a:gd name="connsiteY66" fmla="*/ 1677296 h 1846433"/>
              <a:gd name="connsiteX67" fmla="*/ 576321 w 2611870"/>
              <a:gd name="connsiteY67" fmla="*/ 1670748 h 1846433"/>
              <a:gd name="connsiteX68" fmla="*/ 567825 w 2611870"/>
              <a:gd name="connsiteY68" fmla="*/ 1656416 h 1846433"/>
              <a:gd name="connsiteX69" fmla="*/ 559330 w 2611870"/>
              <a:gd name="connsiteY69" fmla="*/ 1652092 h 1846433"/>
              <a:gd name="connsiteX70" fmla="*/ 553208 w 2611870"/>
              <a:gd name="connsiteY70" fmla="*/ 1655675 h 1846433"/>
              <a:gd name="connsiteX71" fmla="*/ 536467 w 2611870"/>
              <a:gd name="connsiteY71" fmla="*/ 1660370 h 1846433"/>
              <a:gd name="connsiteX72" fmla="*/ 528471 w 2611870"/>
              <a:gd name="connsiteY72" fmla="*/ 1660370 h 1846433"/>
              <a:gd name="connsiteX73" fmla="*/ 529220 w 2611870"/>
              <a:gd name="connsiteY73" fmla="*/ 1638007 h 1846433"/>
              <a:gd name="connsiteX74" fmla="*/ 526722 w 2611870"/>
              <a:gd name="connsiteY74" fmla="*/ 1620340 h 1846433"/>
              <a:gd name="connsiteX75" fmla="*/ 499986 w 2611870"/>
              <a:gd name="connsiteY75" fmla="*/ 1591924 h 1846433"/>
              <a:gd name="connsiteX76" fmla="*/ 494489 w 2611870"/>
              <a:gd name="connsiteY76" fmla="*/ 1580928 h 1846433"/>
              <a:gd name="connsiteX77" fmla="*/ 487118 w 2611870"/>
              <a:gd name="connsiteY77" fmla="*/ 1578704 h 1846433"/>
              <a:gd name="connsiteX78" fmla="*/ 479622 w 2611870"/>
              <a:gd name="connsiteY78" fmla="*/ 1559554 h 1846433"/>
              <a:gd name="connsiteX79" fmla="*/ 469127 w 2611870"/>
              <a:gd name="connsiteY79" fmla="*/ 1553747 h 1846433"/>
              <a:gd name="connsiteX80" fmla="*/ 461881 w 2611870"/>
              <a:gd name="connsiteY80" fmla="*/ 1539910 h 1846433"/>
              <a:gd name="connsiteX81" fmla="*/ 445640 w 2611870"/>
              <a:gd name="connsiteY81" fmla="*/ 1534721 h 1846433"/>
              <a:gd name="connsiteX82" fmla="*/ 431147 w 2611870"/>
              <a:gd name="connsiteY82" fmla="*/ 1534721 h 1846433"/>
              <a:gd name="connsiteX83" fmla="*/ 419279 w 2611870"/>
              <a:gd name="connsiteY83" fmla="*/ 1521501 h 1846433"/>
              <a:gd name="connsiteX84" fmla="*/ 420153 w 2611870"/>
              <a:gd name="connsiteY84" fmla="*/ 1513100 h 1846433"/>
              <a:gd name="connsiteX85" fmla="*/ 427399 w 2611870"/>
              <a:gd name="connsiteY85" fmla="*/ 1503463 h 1846433"/>
              <a:gd name="connsiteX86" fmla="*/ 437269 w 2611870"/>
              <a:gd name="connsiteY86" fmla="*/ 1506181 h 1846433"/>
              <a:gd name="connsiteX87" fmla="*/ 463755 w 2611870"/>
              <a:gd name="connsiteY87" fmla="*/ 1502969 h 1846433"/>
              <a:gd name="connsiteX88" fmla="*/ 471501 w 2611870"/>
              <a:gd name="connsiteY88" fmla="*/ 1506675 h 1846433"/>
              <a:gd name="connsiteX89" fmla="*/ 482120 w 2611870"/>
              <a:gd name="connsiteY89" fmla="*/ 1505563 h 1846433"/>
              <a:gd name="connsiteX90" fmla="*/ 489866 w 2611870"/>
              <a:gd name="connsiteY90" fmla="*/ 1509393 h 1846433"/>
              <a:gd name="connsiteX91" fmla="*/ 499611 w 2611870"/>
              <a:gd name="connsiteY91" fmla="*/ 1500992 h 1846433"/>
              <a:gd name="connsiteX92" fmla="*/ 507482 w 2611870"/>
              <a:gd name="connsiteY92" fmla="*/ 1496791 h 1846433"/>
              <a:gd name="connsiteX93" fmla="*/ 523224 w 2611870"/>
              <a:gd name="connsiteY93" fmla="*/ 1501980 h 1846433"/>
              <a:gd name="connsiteX94" fmla="*/ 527971 w 2611870"/>
              <a:gd name="connsiteY94" fmla="*/ 1497409 h 1846433"/>
              <a:gd name="connsiteX95" fmla="*/ 523099 w 2611870"/>
              <a:gd name="connsiteY95" fmla="*/ 1488514 h 1846433"/>
              <a:gd name="connsiteX96" fmla="*/ 504858 w 2611870"/>
              <a:gd name="connsiteY96" fmla="*/ 1490490 h 1846433"/>
              <a:gd name="connsiteX97" fmla="*/ 499486 w 2611870"/>
              <a:gd name="connsiteY97" fmla="*/ 1487031 h 1846433"/>
              <a:gd name="connsiteX98" fmla="*/ 498861 w 2611870"/>
              <a:gd name="connsiteY98" fmla="*/ 1473935 h 1846433"/>
              <a:gd name="connsiteX99" fmla="*/ 480121 w 2611870"/>
              <a:gd name="connsiteY99" fmla="*/ 1454044 h 1846433"/>
              <a:gd name="connsiteX100" fmla="*/ 477997 w 2611870"/>
              <a:gd name="connsiteY100" fmla="*/ 1445025 h 1846433"/>
              <a:gd name="connsiteX101" fmla="*/ 486368 w 2611870"/>
              <a:gd name="connsiteY101" fmla="*/ 1439094 h 1846433"/>
              <a:gd name="connsiteX102" fmla="*/ 486118 w 2611870"/>
              <a:gd name="connsiteY102" fmla="*/ 1424515 h 1846433"/>
              <a:gd name="connsiteX103" fmla="*/ 483120 w 2611870"/>
              <a:gd name="connsiteY103" fmla="*/ 1416485 h 1846433"/>
              <a:gd name="connsiteX104" fmla="*/ 493489 w 2611870"/>
              <a:gd name="connsiteY104" fmla="*/ 1404501 h 1846433"/>
              <a:gd name="connsiteX105" fmla="*/ 513104 w 2611870"/>
              <a:gd name="connsiteY105" fmla="*/ 1397829 h 1846433"/>
              <a:gd name="connsiteX106" fmla="*/ 529096 w 2611870"/>
              <a:gd name="connsiteY106" fmla="*/ 1391528 h 1846433"/>
              <a:gd name="connsiteX107" fmla="*/ 543213 w 2611870"/>
              <a:gd name="connsiteY107" fmla="*/ 1397829 h 1846433"/>
              <a:gd name="connsiteX108" fmla="*/ 560954 w 2611870"/>
              <a:gd name="connsiteY108" fmla="*/ 1392146 h 1846433"/>
              <a:gd name="connsiteX109" fmla="*/ 576071 w 2611870"/>
              <a:gd name="connsiteY109" fmla="*/ 1389181 h 1846433"/>
              <a:gd name="connsiteX110" fmla="*/ 584316 w 2611870"/>
              <a:gd name="connsiteY110" fmla="*/ 1396099 h 1846433"/>
              <a:gd name="connsiteX111" fmla="*/ 592062 w 2611870"/>
              <a:gd name="connsiteY111" fmla="*/ 1390910 h 1846433"/>
              <a:gd name="connsiteX112" fmla="*/ 604681 w 2611870"/>
              <a:gd name="connsiteY112" fmla="*/ 1390292 h 1846433"/>
              <a:gd name="connsiteX113" fmla="*/ 620297 w 2611870"/>
              <a:gd name="connsiteY113" fmla="*/ 1405736 h 1846433"/>
              <a:gd name="connsiteX114" fmla="*/ 634790 w 2611870"/>
              <a:gd name="connsiteY114" fmla="*/ 1405118 h 1846433"/>
              <a:gd name="connsiteX115" fmla="*/ 653655 w 2611870"/>
              <a:gd name="connsiteY115" fmla="*/ 1394740 h 1846433"/>
              <a:gd name="connsiteX116" fmla="*/ 656278 w 2611870"/>
              <a:gd name="connsiteY116" fmla="*/ 1386462 h 1846433"/>
              <a:gd name="connsiteX117" fmla="*/ 642785 w 2611870"/>
              <a:gd name="connsiteY117" fmla="*/ 1382385 h 1846433"/>
              <a:gd name="connsiteX118" fmla="*/ 625045 w 2611870"/>
              <a:gd name="connsiteY118" fmla="*/ 1379297 h 1846433"/>
              <a:gd name="connsiteX119" fmla="*/ 612177 w 2611870"/>
              <a:gd name="connsiteY119" fmla="*/ 1355822 h 1846433"/>
              <a:gd name="connsiteX120" fmla="*/ 614176 w 2611870"/>
              <a:gd name="connsiteY120" fmla="*/ 1335313 h 1846433"/>
              <a:gd name="connsiteX121" fmla="*/ 625919 w 2611870"/>
              <a:gd name="connsiteY121" fmla="*/ 1329630 h 1846433"/>
              <a:gd name="connsiteX122" fmla="*/ 632541 w 2611870"/>
              <a:gd name="connsiteY122" fmla="*/ 1320735 h 1846433"/>
              <a:gd name="connsiteX123" fmla="*/ 626544 w 2611870"/>
              <a:gd name="connsiteY123" fmla="*/ 1315422 h 1846433"/>
              <a:gd name="connsiteX124" fmla="*/ 620297 w 2611870"/>
              <a:gd name="connsiteY124" fmla="*/ 1307762 h 1846433"/>
              <a:gd name="connsiteX125" fmla="*/ 616924 w 2611870"/>
              <a:gd name="connsiteY125" fmla="*/ 1299361 h 1846433"/>
              <a:gd name="connsiteX126" fmla="*/ 626419 w 2611870"/>
              <a:gd name="connsiteY126" fmla="*/ 1280211 h 1846433"/>
              <a:gd name="connsiteX127" fmla="*/ 627544 w 2611870"/>
              <a:gd name="connsiteY127" fmla="*/ 1266744 h 1846433"/>
              <a:gd name="connsiteX128" fmla="*/ 612676 w 2611870"/>
              <a:gd name="connsiteY128" fmla="*/ 1253277 h 1846433"/>
              <a:gd name="connsiteX129" fmla="*/ 607804 w 2611870"/>
              <a:gd name="connsiteY129" fmla="*/ 1243270 h 1846433"/>
              <a:gd name="connsiteX130" fmla="*/ 615050 w 2611870"/>
              <a:gd name="connsiteY130" fmla="*/ 1231409 h 1846433"/>
              <a:gd name="connsiteX131" fmla="*/ 614176 w 2611870"/>
              <a:gd name="connsiteY131" fmla="*/ 1226220 h 1846433"/>
              <a:gd name="connsiteX132" fmla="*/ 601807 w 2611870"/>
              <a:gd name="connsiteY132" fmla="*/ 1224120 h 1846433"/>
              <a:gd name="connsiteX133" fmla="*/ 594311 w 2611870"/>
              <a:gd name="connsiteY133" fmla="*/ 1212259 h 1846433"/>
              <a:gd name="connsiteX134" fmla="*/ 591188 w 2611870"/>
              <a:gd name="connsiteY134" fmla="*/ 1204599 h 1846433"/>
              <a:gd name="connsiteX135" fmla="*/ 559704 w 2611870"/>
              <a:gd name="connsiteY135" fmla="*/ 1204228 h 1846433"/>
              <a:gd name="connsiteX136" fmla="*/ 548085 w 2611870"/>
              <a:gd name="connsiteY136" fmla="*/ 1202499 h 1846433"/>
              <a:gd name="connsiteX137" fmla="*/ 535967 w 2611870"/>
              <a:gd name="connsiteY137" fmla="*/ 1206205 h 1846433"/>
              <a:gd name="connsiteX138" fmla="*/ 534218 w 2611870"/>
              <a:gd name="connsiteY138" fmla="*/ 1212630 h 1846433"/>
              <a:gd name="connsiteX139" fmla="*/ 524473 w 2611870"/>
              <a:gd name="connsiteY139" fmla="*/ 1218189 h 1846433"/>
              <a:gd name="connsiteX140" fmla="*/ 524223 w 2611870"/>
              <a:gd name="connsiteY140" fmla="*/ 1227085 h 1846433"/>
              <a:gd name="connsiteX141" fmla="*/ 515603 w 2611870"/>
              <a:gd name="connsiteY141" fmla="*/ 1232397 h 1846433"/>
              <a:gd name="connsiteX142" fmla="*/ 502360 w 2611870"/>
              <a:gd name="connsiteY142" fmla="*/ 1228073 h 1846433"/>
              <a:gd name="connsiteX143" fmla="*/ 500735 w 2611870"/>
              <a:gd name="connsiteY143" fmla="*/ 1220537 h 1846433"/>
              <a:gd name="connsiteX144" fmla="*/ 489866 w 2611870"/>
              <a:gd name="connsiteY144" fmla="*/ 1221649 h 1846433"/>
              <a:gd name="connsiteX145" fmla="*/ 484119 w 2611870"/>
              <a:gd name="connsiteY145" fmla="*/ 1227826 h 1846433"/>
              <a:gd name="connsiteX146" fmla="*/ 474999 w 2611870"/>
              <a:gd name="connsiteY146" fmla="*/ 1217695 h 1846433"/>
              <a:gd name="connsiteX147" fmla="*/ 475499 w 2611870"/>
              <a:gd name="connsiteY147" fmla="*/ 1203858 h 1846433"/>
              <a:gd name="connsiteX148" fmla="*/ 471001 w 2611870"/>
              <a:gd name="connsiteY148" fmla="*/ 1199533 h 1846433"/>
              <a:gd name="connsiteX149" fmla="*/ 464255 w 2611870"/>
              <a:gd name="connsiteY149" fmla="*/ 1205711 h 1846433"/>
              <a:gd name="connsiteX150" fmla="*/ 452636 w 2611870"/>
              <a:gd name="connsiteY150" fmla="*/ 1206205 h 1846433"/>
              <a:gd name="connsiteX151" fmla="*/ 443766 w 2611870"/>
              <a:gd name="connsiteY151" fmla="*/ 1200645 h 1846433"/>
              <a:gd name="connsiteX152" fmla="*/ 420028 w 2611870"/>
              <a:gd name="connsiteY152" fmla="*/ 1202004 h 1846433"/>
              <a:gd name="connsiteX153" fmla="*/ 407535 w 2611870"/>
              <a:gd name="connsiteY153" fmla="*/ 1215348 h 1846433"/>
              <a:gd name="connsiteX154" fmla="*/ 403912 w 2611870"/>
              <a:gd name="connsiteY154" fmla="*/ 1228691 h 1846433"/>
              <a:gd name="connsiteX155" fmla="*/ 399039 w 2611870"/>
              <a:gd name="connsiteY155" fmla="*/ 1231780 h 1846433"/>
              <a:gd name="connsiteX156" fmla="*/ 392543 w 2611870"/>
              <a:gd name="connsiteY156" fmla="*/ 1226467 h 1846433"/>
              <a:gd name="connsiteX157" fmla="*/ 383922 w 2611870"/>
              <a:gd name="connsiteY157" fmla="*/ 1226838 h 1846433"/>
              <a:gd name="connsiteX158" fmla="*/ 373927 w 2611870"/>
              <a:gd name="connsiteY158" fmla="*/ 1241787 h 1846433"/>
              <a:gd name="connsiteX159" fmla="*/ 363933 w 2611870"/>
              <a:gd name="connsiteY159" fmla="*/ 1241169 h 1846433"/>
              <a:gd name="connsiteX160" fmla="*/ 356812 w 2611870"/>
              <a:gd name="connsiteY160" fmla="*/ 1253030 h 1846433"/>
              <a:gd name="connsiteX161" fmla="*/ 341819 w 2611870"/>
              <a:gd name="connsiteY161" fmla="*/ 1266373 h 1846433"/>
              <a:gd name="connsiteX162" fmla="*/ 333199 w 2611870"/>
              <a:gd name="connsiteY162" fmla="*/ 1265508 h 1846433"/>
              <a:gd name="connsiteX163" fmla="*/ 330700 w 2611870"/>
              <a:gd name="connsiteY163" fmla="*/ 1276134 h 1846433"/>
              <a:gd name="connsiteX164" fmla="*/ 323954 w 2611870"/>
              <a:gd name="connsiteY164" fmla="*/ 1283299 h 1846433"/>
              <a:gd name="connsiteX165" fmla="*/ 317457 w 2611870"/>
              <a:gd name="connsiteY165" fmla="*/ 1276628 h 1846433"/>
              <a:gd name="connsiteX166" fmla="*/ 309462 w 2611870"/>
              <a:gd name="connsiteY166" fmla="*/ 1276381 h 1846433"/>
              <a:gd name="connsiteX167" fmla="*/ 303840 w 2611870"/>
              <a:gd name="connsiteY167" fmla="*/ 1286141 h 1846433"/>
              <a:gd name="connsiteX168" fmla="*/ 291221 w 2611870"/>
              <a:gd name="connsiteY168" fmla="*/ 1286388 h 1846433"/>
              <a:gd name="connsiteX169" fmla="*/ 286224 w 2611870"/>
              <a:gd name="connsiteY169" fmla="*/ 1277369 h 1846433"/>
              <a:gd name="connsiteX170" fmla="*/ 280227 w 2611870"/>
              <a:gd name="connsiteY170" fmla="*/ 1278110 h 1846433"/>
              <a:gd name="connsiteX171" fmla="*/ 256240 w 2611870"/>
              <a:gd name="connsiteY171" fmla="*/ 1264273 h 1846433"/>
              <a:gd name="connsiteX172" fmla="*/ 232752 w 2611870"/>
              <a:gd name="connsiteY172" fmla="*/ 1273168 h 1846433"/>
              <a:gd name="connsiteX173" fmla="*/ 198020 w 2611870"/>
              <a:gd name="connsiteY173" fmla="*/ 1252412 h 1846433"/>
              <a:gd name="connsiteX174" fmla="*/ 199395 w 2611870"/>
              <a:gd name="connsiteY174" fmla="*/ 1237216 h 1846433"/>
              <a:gd name="connsiteX175" fmla="*/ 234376 w 2611870"/>
              <a:gd name="connsiteY175" fmla="*/ 1235733 h 1846433"/>
              <a:gd name="connsiteX176" fmla="*/ 194772 w 2611870"/>
              <a:gd name="connsiteY176" fmla="*/ 1175936 h 1846433"/>
              <a:gd name="connsiteX177" fmla="*/ 150670 w 2611870"/>
              <a:gd name="connsiteY177" fmla="*/ 1138500 h 1846433"/>
              <a:gd name="connsiteX178" fmla="*/ 90452 w 2611870"/>
              <a:gd name="connsiteY178" fmla="*/ 1124663 h 1846433"/>
              <a:gd name="connsiteX179" fmla="*/ 83831 w 2611870"/>
              <a:gd name="connsiteY179" fmla="*/ 1138748 h 1846433"/>
              <a:gd name="connsiteX180" fmla="*/ 52972 w 2611870"/>
              <a:gd name="connsiteY180" fmla="*/ 1115150 h 1846433"/>
              <a:gd name="connsiteX181" fmla="*/ 58344 w 2611870"/>
              <a:gd name="connsiteY181" fmla="*/ 1101189 h 1846433"/>
              <a:gd name="connsiteX182" fmla="*/ 41353 w 2611870"/>
              <a:gd name="connsiteY182" fmla="*/ 1076355 h 1846433"/>
              <a:gd name="connsiteX183" fmla="*/ 3123 w 2611870"/>
              <a:gd name="connsiteY183" fmla="*/ 1063506 h 1846433"/>
              <a:gd name="connsiteX184" fmla="*/ 15617 w 2611870"/>
              <a:gd name="connsiteY184" fmla="*/ 1031631 h 1846433"/>
              <a:gd name="connsiteX185" fmla="*/ 21114 w 2611870"/>
              <a:gd name="connsiteY185" fmla="*/ 975046 h 1846433"/>
              <a:gd name="connsiteX186" fmla="*/ 6622 w 2611870"/>
              <a:gd name="connsiteY186" fmla="*/ 961949 h 1846433"/>
              <a:gd name="connsiteX187" fmla="*/ 0 w 2611870"/>
              <a:gd name="connsiteY187" fmla="*/ 917595 h 1846433"/>
              <a:gd name="connsiteX188" fmla="*/ 17491 w 2611870"/>
              <a:gd name="connsiteY188" fmla="*/ 908453 h 1846433"/>
              <a:gd name="connsiteX189" fmla="*/ 40604 w 2611870"/>
              <a:gd name="connsiteY189" fmla="*/ 877319 h 1846433"/>
              <a:gd name="connsiteX190" fmla="*/ 39604 w 2611870"/>
              <a:gd name="connsiteY190" fmla="*/ 854462 h 1846433"/>
              <a:gd name="connsiteX191" fmla="*/ 52097 w 2611870"/>
              <a:gd name="connsiteY191" fmla="*/ 836795 h 1846433"/>
              <a:gd name="connsiteX192" fmla="*/ 102946 w 2611870"/>
              <a:gd name="connsiteY192" fmla="*/ 878554 h 1846433"/>
              <a:gd name="connsiteX193" fmla="*/ 109567 w 2611870"/>
              <a:gd name="connsiteY193" fmla="*/ 894615 h 1846433"/>
              <a:gd name="connsiteX194" fmla="*/ 138052 w 2611870"/>
              <a:gd name="connsiteY194" fmla="*/ 910430 h 1846433"/>
              <a:gd name="connsiteX195" fmla="*/ 166412 w 2611870"/>
              <a:gd name="connsiteY195" fmla="*/ 906600 h 1846433"/>
              <a:gd name="connsiteX196" fmla="*/ 161914 w 2611870"/>
              <a:gd name="connsiteY196" fmla="*/ 879295 h 1846433"/>
              <a:gd name="connsiteX197" fmla="*/ 172784 w 2611870"/>
              <a:gd name="connsiteY197" fmla="*/ 869659 h 1846433"/>
              <a:gd name="connsiteX198" fmla="*/ 148422 w 2611870"/>
              <a:gd name="connsiteY198" fmla="*/ 798000 h 1846433"/>
              <a:gd name="connsiteX199" fmla="*/ 176782 w 2611870"/>
              <a:gd name="connsiteY199" fmla="*/ 793553 h 1846433"/>
              <a:gd name="connsiteX200" fmla="*/ 206516 w 2611870"/>
              <a:gd name="connsiteY200" fmla="*/ 792317 h 1846433"/>
              <a:gd name="connsiteX201" fmla="*/ 205516 w 2611870"/>
              <a:gd name="connsiteY201" fmla="*/ 770696 h 1846433"/>
              <a:gd name="connsiteX202" fmla="*/ 191649 w 2611870"/>
              <a:gd name="connsiteY202" fmla="*/ 754882 h 1846433"/>
              <a:gd name="connsiteX203" fmla="*/ 196646 w 2611870"/>
              <a:gd name="connsiteY203" fmla="*/ 733755 h 1846433"/>
              <a:gd name="connsiteX204" fmla="*/ 223007 w 2611870"/>
              <a:gd name="connsiteY204" fmla="*/ 715594 h 1846433"/>
              <a:gd name="connsiteX205" fmla="*/ 235501 w 2611870"/>
              <a:gd name="connsiteY205" fmla="*/ 714482 h 1846433"/>
              <a:gd name="connsiteX206" fmla="*/ 243122 w 2611870"/>
              <a:gd name="connsiteY206" fmla="*/ 689895 h 1846433"/>
              <a:gd name="connsiteX207" fmla="*/ 256490 w 2611870"/>
              <a:gd name="connsiteY207" fmla="*/ 678900 h 1846433"/>
              <a:gd name="connsiteX208" fmla="*/ 275854 w 2611870"/>
              <a:gd name="connsiteY208" fmla="*/ 683224 h 1846433"/>
              <a:gd name="connsiteX209" fmla="*/ 277853 w 2611870"/>
              <a:gd name="connsiteY209" fmla="*/ 666792 h 1846433"/>
              <a:gd name="connsiteX210" fmla="*/ 272481 w 2611870"/>
              <a:gd name="connsiteY210" fmla="*/ 650607 h 1846433"/>
              <a:gd name="connsiteX211" fmla="*/ 276604 w 2611870"/>
              <a:gd name="connsiteY211" fmla="*/ 638746 h 1846433"/>
              <a:gd name="connsiteX212" fmla="*/ 304339 w 2611870"/>
              <a:gd name="connsiteY212" fmla="*/ 653201 h 1846433"/>
              <a:gd name="connsiteX213" fmla="*/ 326577 w 2611870"/>
              <a:gd name="connsiteY213" fmla="*/ 661479 h 1846433"/>
              <a:gd name="connsiteX214" fmla="*/ 324454 w 2611870"/>
              <a:gd name="connsiteY214" fmla="*/ 673340 h 1846433"/>
              <a:gd name="connsiteX215" fmla="*/ 312585 w 2611870"/>
              <a:gd name="connsiteY215" fmla="*/ 688907 h 1846433"/>
              <a:gd name="connsiteX216" fmla="*/ 322205 w 2611870"/>
              <a:gd name="connsiteY216" fmla="*/ 697679 h 1846433"/>
              <a:gd name="connsiteX217" fmla="*/ 338946 w 2611870"/>
              <a:gd name="connsiteY217" fmla="*/ 687054 h 1846433"/>
              <a:gd name="connsiteX218" fmla="*/ 343069 w 2611870"/>
              <a:gd name="connsiteY218" fmla="*/ 673216 h 1846433"/>
              <a:gd name="connsiteX219" fmla="*/ 355312 w 2611870"/>
              <a:gd name="connsiteY219" fmla="*/ 664815 h 1846433"/>
              <a:gd name="connsiteX220" fmla="*/ 356562 w 2611870"/>
              <a:gd name="connsiteY220" fmla="*/ 680506 h 1846433"/>
              <a:gd name="connsiteX221" fmla="*/ 367931 w 2611870"/>
              <a:gd name="connsiteY221" fmla="*/ 667533 h 1846433"/>
              <a:gd name="connsiteX222" fmla="*/ 370055 w 2611870"/>
              <a:gd name="connsiteY222" fmla="*/ 656290 h 1846433"/>
              <a:gd name="connsiteX223" fmla="*/ 387920 w 2611870"/>
              <a:gd name="connsiteY223" fmla="*/ 653572 h 1846433"/>
              <a:gd name="connsiteX224" fmla="*/ 406410 w 2611870"/>
              <a:gd name="connsiteY224" fmla="*/ 639735 h 1846433"/>
              <a:gd name="connsiteX225" fmla="*/ 422902 w 2611870"/>
              <a:gd name="connsiteY225" fmla="*/ 638376 h 1846433"/>
              <a:gd name="connsiteX226" fmla="*/ 433896 w 2611870"/>
              <a:gd name="connsiteY226" fmla="*/ 662097 h 1846433"/>
              <a:gd name="connsiteX227" fmla="*/ 455010 w 2611870"/>
              <a:gd name="connsiteY227" fmla="*/ 674946 h 1846433"/>
              <a:gd name="connsiteX228" fmla="*/ 487617 w 2611870"/>
              <a:gd name="connsiteY228" fmla="*/ 663085 h 1846433"/>
              <a:gd name="connsiteX229" fmla="*/ 502859 w 2611870"/>
              <a:gd name="connsiteY229" fmla="*/ 663085 h 1846433"/>
              <a:gd name="connsiteX230" fmla="*/ 512604 w 2611870"/>
              <a:gd name="connsiteY230" fmla="*/ 676429 h 1846433"/>
              <a:gd name="connsiteX231" fmla="*/ 523349 w 2611870"/>
              <a:gd name="connsiteY231" fmla="*/ 676676 h 1846433"/>
              <a:gd name="connsiteX232" fmla="*/ 542838 w 2611870"/>
              <a:gd name="connsiteY232" fmla="*/ 699409 h 1846433"/>
              <a:gd name="connsiteX233" fmla="*/ 562703 w 2611870"/>
              <a:gd name="connsiteY233" fmla="*/ 698544 h 1846433"/>
              <a:gd name="connsiteX234" fmla="*/ 577945 w 2611870"/>
              <a:gd name="connsiteY234" fmla="*/ 716829 h 1846433"/>
              <a:gd name="connsiteX235" fmla="*/ 604681 w 2611870"/>
              <a:gd name="connsiteY235" fmla="*/ 734744 h 1846433"/>
              <a:gd name="connsiteX236" fmla="*/ 619298 w 2611870"/>
              <a:gd name="connsiteY236" fmla="*/ 735485 h 1846433"/>
              <a:gd name="connsiteX237" fmla="*/ 627044 w 2611870"/>
              <a:gd name="connsiteY237" fmla="*/ 747593 h 1846433"/>
              <a:gd name="connsiteX238" fmla="*/ 629293 w 2611870"/>
              <a:gd name="connsiteY238" fmla="*/ 768349 h 1846433"/>
              <a:gd name="connsiteX239" fmla="*/ 640037 w 2611870"/>
              <a:gd name="connsiteY239" fmla="*/ 771190 h 1846433"/>
              <a:gd name="connsiteX240" fmla="*/ 651156 w 2611870"/>
              <a:gd name="connsiteY240" fmla="*/ 753029 h 1846433"/>
              <a:gd name="connsiteX241" fmla="*/ 648158 w 2611870"/>
              <a:gd name="connsiteY241" fmla="*/ 730296 h 1846433"/>
              <a:gd name="connsiteX242" fmla="*/ 665523 w 2611870"/>
              <a:gd name="connsiteY242" fmla="*/ 719053 h 1846433"/>
              <a:gd name="connsiteX243" fmla="*/ 678891 w 2611870"/>
              <a:gd name="connsiteY243" fmla="*/ 736103 h 1846433"/>
              <a:gd name="connsiteX244" fmla="*/ 714123 w 2611870"/>
              <a:gd name="connsiteY244" fmla="*/ 739933 h 1846433"/>
              <a:gd name="connsiteX245" fmla="*/ 725367 w 2611870"/>
              <a:gd name="connsiteY245" fmla="*/ 756488 h 1846433"/>
              <a:gd name="connsiteX246" fmla="*/ 740234 w 2611870"/>
              <a:gd name="connsiteY246" fmla="*/ 761677 h 1846433"/>
              <a:gd name="connsiteX247" fmla="*/ 761972 w 2611870"/>
              <a:gd name="connsiteY247" fmla="*/ 743763 h 1846433"/>
              <a:gd name="connsiteX248" fmla="*/ 762472 w 2611870"/>
              <a:gd name="connsiteY248" fmla="*/ 709663 h 1846433"/>
              <a:gd name="connsiteX249" fmla="*/ 781462 w 2611870"/>
              <a:gd name="connsiteY249" fmla="*/ 706945 h 1846433"/>
              <a:gd name="connsiteX250" fmla="*/ 782212 w 2611870"/>
              <a:gd name="connsiteY250" fmla="*/ 689895 h 1846433"/>
              <a:gd name="connsiteX251" fmla="*/ 796454 w 2611870"/>
              <a:gd name="connsiteY251" fmla="*/ 684583 h 1846433"/>
              <a:gd name="connsiteX252" fmla="*/ 807698 w 2611870"/>
              <a:gd name="connsiteY252" fmla="*/ 697926 h 1846433"/>
              <a:gd name="connsiteX253" fmla="*/ 814945 w 2611870"/>
              <a:gd name="connsiteY253" fmla="*/ 682606 h 1846433"/>
              <a:gd name="connsiteX254" fmla="*/ 835933 w 2611870"/>
              <a:gd name="connsiteY254" fmla="*/ 678405 h 1846433"/>
              <a:gd name="connsiteX255" fmla="*/ 863419 w 2611870"/>
              <a:gd name="connsiteY255" fmla="*/ 701385 h 1846433"/>
              <a:gd name="connsiteX256" fmla="*/ 869166 w 2611870"/>
              <a:gd name="connsiteY256" fmla="*/ 711022 h 1846433"/>
              <a:gd name="connsiteX257" fmla="*/ 894777 w 2611870"/>
              <a:gd name="connsiteY257" fmla="*/ 707316 h 1846433"/>
              <a:gd name="connsiteX258" fmla="*/ 890530 w 2611870"/>
              <a:gd name="connsiteY258" fmla="*/ 685201 h 1846433"/>
              <a:gd name="connsiteX259" fmla="*/ 904897 w 2611870"/>
              <a:gd name="connsiteY259" fmla="*/ 680012 h 1846433"/>
              <a:gd name="connsiteX260" fmla="*/ 925511 w 2611870"/>
              <a:gd name="connsiteY260" fmla="*/ 681123 h 1846433"/>
              <a:gd name="connsiteX261" fmla="*/ 934881 w 2611870"/>
              <a:gd name="connsiteY261" fmla="*/ 668274 h 1846433"/>
              <a:gd name="connsiteX262" fmla="*/ 957119 w 2611870"/>
              <a:gd name="connsiteY262" fmla="*/ 679147 h 1846433"/>
              <a:gd name="connsiteX263" fmla="*/ 970737 w 2611870"/>
              <a:gd name="connsiteY263" fmla="*/ 685077 h 1846433"/>
              <a:gd name="connsiteX264" fmla="*/ 965240 w 2611870"/>
              <a:gd name="connsiteY264" fmla="*/ 697803 h 1846433"/>
              <a:gd name="connsiteX265" fmla="*/ 951622 w 2611870"/>
              <a:gd name="connsiteY265" fmla="*/ 705586 h 1846433"/>
              <a:gd name="connsiteX266" fmla="*/ 970487 w 2611870"/>
              <a:gd name="connsiteY266" fmla="*/ 725724 h 1846433"/>
              <a:gd name="connsiteX267" fmla="*/ 987229 w 2611870"/>
              <a:gd name="connsiteY267" fmla="*/ 730172 h 1846433"/>
              <a:gd name="connsiteX268" fmla="*/ 994849 w 2611870"/>
              <a:gd name="connsiteY268" fmla="*/ 724613 h 1846433"/>
              <a:gd name="connsiteX269" fmla="*/ 1007843 w 2611870"/>
              <a:gd name="connsiteY269" fmla="*/ 731284 h 1846433"/>
              <a:gd name="connsiteX270" fmla="*/ 1035453 w 2611870"/>
              <a:gd name="connsiteY270" fmla="*/ 728813 h 1846433"/>
              <a:gd name="connsiteX271" fmla="*/ 1068561 w 2611870"/>
              <a:gd name="connsiteY271" fmla="*/ 745122 h 1846433"/>
              <a:gd name="connsiteX272" fmla="*/ 1089050 w 2611870"/>
              <a:gd name="connsiteY272" fmla="*/ 740303 h 1846433"/>
              <a:gd name="connsiteX273" fmla="*/ 1097420 w 2611870"/>
              <a:gd name="connsiteY273" fmla="*/ 720906 h 1846433"/>
              <a:gd name="connsiteX274" fmla="*/ 1097920 w 2611870"/>
              <a:gd name="connsiteY274" fmla="*/ 703239 h 1846433"/>
              <a:gd name="connsiteX275" fmla="*/ 1106790 w 2611870"/>
              <a:gd name="connsiteY275" fmla="*/ 694343 h 1846433"/>
              <a:gd name="connsiteX276" fmla="*/ 1136025 w 2611870"/>
              <a:gd name="connsiteY276" fmla="*/ 710157 h 1846433"/>
              <a:gd name="connsiteX277" fmla="*/ 1161886 w 2611870"/>
              <a:gd name="connsiteY277" fmla="*/ 711640 h 1846433"/>
              <a:gd name="connsiteX278" fmla="*/ 1192495 w 2611870"/>
              <a:gd name="connsiteY278" fmla="*/ 699903 h 1846433"/>
              <a:gd name="connsiteX279" fmla="*/ 1200366 w 2611870"/>
              <a:gd name="connsiteY279" fmla="*/ 684459 h 1846433"/>
              <a:gd name="connsiteX280" fmla="*/ 1192620 w 2611870"/>
              <a:gd name="connsiteY280" fmla="*/ 613419 h 1846433"/>
              <a:gd name="connsiteX281" fmla="*/ 1183875 w 2611870"/>
              <a:gd name="connsiteY281" fmla="*/ 607241 h 1846433"/>
              <a:gd name="connsiteX282" fmla="*/ 1156639 w 2611870"/>
              <a:gd name="connsiteY282" fmla="*/ 607736 h 1846433"/>
              <a:gd name="connsiteX283" fmla="*/ 1138898 w 2611870"/>
              <a:gd name="connsiteY283" fmla="*/ 594763 h 1846433"/>
              <a:gd name="connsiteX284" fmla="*/ 1135150 w 2611870"/>
              <a:gd name="connsiteY284" fmla="*/ 585003 h 1846433"/>
              <a:gd name="connsiteX285" fmla="*/ 1114536 w 2611870"/>
              <a:gd name="connsiteY285" fmla="*/ 581420 h 1846433"/>
              <a:gd name="connsiteX286" fmla="*/ 1101418 w 2611870"/>
              <a:gd name="connsiteY286" fmla="*/ 570177 h 1846433"/>
              <a:gd name="connsiteX287" fmla="*/ 1079680 w 2611870"/>
              <a:gd name="connsiteY287" fmla="*/ 571042 h 1846433"/>
              <a:gd name="connsiteX288" fmla="*/ 1077806 w 2611870"/>
              <a:gd name="connsiteY288" fmla="*/ 559428 h 1846433"/>
              <a:gd name="connsiteX289" fmla="*/ 1071309 w 2611870"/>
              <a:gd name="connsiteY289" fmla="*/ 548432 h 1846433"/>
              <a:gd name="connsiteX290" fmla="*/ 1073558 w 2611870"/>
              <a:gd name="connsiteY290" fmla="*/ 539290 h 1846433"/>
              <a:gd name="connsiteX291" fmla="*/ 1090049 w 2611870"/>
              <a:gd name="connsiteY291" fmla="*/ 536572 h 1846433"/>
              <a:gd name="connsiteX292" fmla="*/ 1092548 w 2611870"/>
              <a:gd name="connsiteY292" fmla="*/ 517422 h 1846433"/>
              <a:gd name="connsiteX293" fmla="*/ 1105666 w 2611870"/>
              <a:gd name="connsiteY293" fmla="*/ 500495 h 1846433"/>
              <a:gd name="connsiteX294" fmla="*/ 1100169 w 2611870"/>
              <a:gd name="connsiteY294" fmla="*/ 479863 h 1846433"/>
              <a:gd name="connsiteX295" fmla="*/ 1086176 w 2611870"/>
              <a:gd name="connsiteY295" fmla="*/ 478504 h 1846433"/>
              <a:gd name="connsiteX296" fmla="*/ 1084052 w 2611870"/>
              <a:gd name="connsiteY296" fmla="*/ 458860 h 1846433"/>
              <a:gd name="connsiteX297" fmla="*/ 1103167 w 2611870"/>
              <a:gd name="connsiteY297" fmla="*/ 428590 h 1846433"/>
              <a:gd name="connsiteX298" fmla="*/ 1123531 w 2611870"/>
              <a:gd name="connsiteY298" fmla="*/ 408699 h 1846433"/>
              <a:gd name="connsiteX299" fmla="*/ 1161636 w 2611870"/>
              <a:gd name="connsiteY299" fmla="*/ 403139 h 1846433"/>
              <a:gd name="connsiteX300" fmla="*/ 1177128 w 2611870"/>
              <a:gd name="connsiteY300" fmla="*/ 407834 h 1846433"/>
              <a:gd name="connsiteX301" fmla="*/ 1187373 w 2611870"/>
              <a:gd name="connsiteY301" fmla="*/ 400174 h 1846433"/>
              <a:gd name="connsiteX302" fmla="*/ 1187248 w 2611870"/>
              <a:gd name="connsiteY302" fmla="*/ 381765 h 1846433"/>
              <a:gd name="connsiteX303" fmla="*/ 1169132 w 2611870"/>
              <a:gd name="connsiteY303" fmla="*/ 377317 h 1846433"/>
              <a:gd name="connsiteX304" fmla="*/ 1154015 w 2611870"/>
              <a:gd name="connsiteY304" fmla="*/ 363604 h 1846433"/>
              <a:gd name="connsiteX305" fmla="*/ 1139523 w 2611870"/>
              <a:gd name="connsiteY305" fmla="*/ 364839 h 1846433"/>
              <a:gd name="connsiteX306" fmla="*/ 1128654 w 2611870"/>
              <a:gd name="connsiteY306" fmla="*/ 373858 h 1846433"/>
              <a:gd name="connsiteX307" fmla="*/ 1109789 w 2611870"/>
              <a:gd name="connsiteY307" fmla="*/ 366816 h 1846433"/>
              <a:gd name="connsiteX308" fmla="*/ 1086676 w 2611870"/>
              <a:gd name="connsiteY308" fmla="*/ 367063 h 1846433"/>
              <a:gd name="connsiteX309" fmla="*/ 1084177 w 2611870"/>
              <a:gd name="connsiteY309" fmla="*/ 355449 h 1846433"/>
              <a:gd name="connsiteX310" fmla="*/ 1091798 w 2611870"/>
              <a:gd name="connsiteY310" fmla="*/ 347913 h 1846433"/>
              <a:gd name="connsiteX311" fmla="*/ 1116160 w 2611870"/>
              <a:gd name="connsiteY311" fmla="*/ 346183 h 1846433"/>
              <a:gd name="connsiteX312" fmla="*/ 1108040 w 2611870"/>
              <a:gd name="connsiteY312" fmla="*/ 326910 h 1846433"/>
              <a:gd name="connsiteX313" fmla="*/ 1085052 w 2611870"/>
              <a:gd name="connsiteY313" fmla="*/ 331110 h 1846433"/>
              <a:gd name="connsiteX314" fmla="*/ 1068311 w 2611870"/>
              <a:gd name="connsiteY314" fmla="*/ 327280 h 1846433"/>
              <a:gd name="connsiteX315" fmla="*/ 1076556 w 2611870"/>
              <a:gd name="connsiteY315" fmla="*/ 317767 h 1846433"/>
              <a:gd name="connsiteX316" fmla="*/ 1065687 w 2611870"/>
              <a:gd name="connsiteY316" fmla="*/ 296640 h 1846433"/>
              <a:gd name="connsiteX317" fmla="*/ 1072059 w 2611870"/>
              <a:gd name="connsiteY317" fmla="*/ 290463 h 1846433"/>
              <a:gd name="connsiteX318" fmla="*/ 1091798 w 2611870"/>
              <a:gd name="connsiteY318" fmla="*/ 288362 h 1846433"/>
              <a:gd name="connsiteX319" fmla="*/ 1100544 w 2611870"/>
              <a:gd name="connsiteY319" fmla="*/ 276749 h 1846433"/>
              <a:gd name="connsiteX320" fmla="*/ 1113787 w 2611870"/>
              <a:gd name="connsiteY320" fmla="*/ 276872 h 1846433"/>
              <a:gd name="connsiteX321" fmla="*/ 1120158 w 2611870"/>
              <a:gd name="connsiteY321" fmla="*/ 286386 h 1846433"/>
              <a:gd name="connsiteX322" fmla="*/ 1141272 w 2611870"/>
              <a:gd name="connsiteY322" fmla="*/ 282926 h 1846433"/>
              <a:gd name="connsiteX323" fmla="*/ 1158263 w 2611870"/>
              <a:gd name="connsiteY323" fmla="*/ 293922 h 1846433"/>
              <a:gd name="connsiteX324" fmla="*/ 1165135 w 2611870"/>
              <a:gd name="connsiteY324" fmla="*/ 284532 h 1846433"/>
              <a:gd name="connsiteX325" fmla="*/ 1164635 w 2611870"/>
              <a:gd name="connsiteY325" fmla="*/ 273413 h 1846433"/>
              <a:gd name="connsiteX326" fmla="*/ 1180127 w 2611870"/>
              <a:gd name="connsiteY326" fmla="*/ 262911 h 1846433"/>
              <a:gd name="connsiteX327" fmla="*/ 1196618 w 2611870"/>
              <a:gd name="connsiteY327" fmla="*/ 262911 h 1846433"/>
              <a:gd name="connsiteX328" fmla="*/ 1207987 w 2611870"/>
              <a:gd name="connsiteY328" fmla="*/ 278726 h 1846433"/>
              <a:gd name="connsiteX329" fmla="*/ 1215983 w 2611870"/>
              <a:gd name="connsiteY329" fmla="*/ 266618 h 1846433"/>
              <a:gd name="connsiteX330" fmla="*/ 1217482 w 2611870"/>
              <a:gd name="connsiteY330" fmla="*/ 253522 h 1846433"/>
              <a:gd name="connsiteX331" fmla="*/ 1248715 w 2611870"/>
              <a:gd name="connsiteY331" fmla="*/ 242279 h 1846433"/>
              <a:gd name="connsiteX332" fmla="*/ 1269704 w 2611870"/>
              <a:gd name="connsiteY332" fmla="*/ 239437 h 1846433"/>
              <a:gd name="connsiteX333" fmla="*/ 1292442 w 2611870"/>
              <a:gd name="connsiteY333" fmla="*/ 227329 h 1846433"/>
              <a:gd name="connsiteX334" fmla="*/ 1316804 w 2611870"/>
              <a:gd name="connsiteY334" fmla="*/ 224364 h 1846433"/>
              <a:gd name="connsiteX335" fmla="*/ 1321052 w 2611870"/>
              <a:gd name="connsiteY335" fmla="*/ 216334 h 1846433"/>
              <a:gd name="connsiteX336" fmla="*/ 1344915 w 2611870"/>
              <a:gd name="connsiteY336" fmla="*/ 200272 h 1846433"/>
              <a:gd name="connsiteX337" fmla="*/ 1367403 w 2611870"/>
              <a:gd name="connsiteY337" fmla="*/ 198666 h 1846433"/>
              <a:gd name="connsiteX338" fmla="*/ 1381520 w 2611870"/>
              <a:gd name="connsiteY338" fmla="*/ 188165 h 1846433"/>
              <a:gd name="connsiteX339" fmla="*/ 1394638 w 2611870"/>
              <a:gd name="connsiteY339" fmla="*/ 186311 h 1846433"/>
              <a:gd name="connsiteX340" fmla="*/ 1407382 w 2611870"/>
              <a:gd name="connsiteY340" fmla="*/ 191006 h 1846433"/>
              <a:gd name="connsiteX341" fmla="*/ 1414378 w 2611870"/>
              <a:gd name="connsiteY341" fmla="*/ 184211 h 1846433"/>
              <a:gd name="connsiteX342" fmla="*/ 1412879 w 2611870"/>
              <a:gd name="connsiteY342" fmla="*/ 165184 h 1846433"/>
              <a:gd name="connsiteX343" fmla="*/ 1423123 w 2611870"/>
              <a:gd name="connsiteY343" fmla="*/ 155671 h 1846433"/>
              <a:gd name="connsiteX344" fmla="*/ 1442988 w 2611870"/>
              <a:gd name="connsiteY344" fmla="*/ 154806 h 1846433"/>
              <a:gd name="connsiteX345" fmla="*/ 1444987 w 2611870"/>
              <a:gd name="connsiteY345" fmla="*/ 142946 h 1846433"/>
              <a:gd name="connsiteX346" fmla="*/ 1456606 w 2611870"/>
              <a:gd name="connsiteY346" fmla="*/ 132568 h 1846433"/>
              <a:gd name="connsiteX347" fmla="*/ 1466850 w 2611870"/>
              <a:gd name="connsiteY347" fmla="*/ 141340 h 1846433"/>
              <a:gd name="connsiteX348" fmla="*/ 1480218 w 2611870"/>
              <a:gd name="connsiteY348" fmla="*/ 143440 h 1846433"/>
              <a:gd name="connsiteX349" fmla="*/ 1496959 w 2611870"/>
              <a:gd name="connsiteY349" fmla="*/ 132815 h 1846433"/>
              <a:gd name="connsiteX350" fmla="*/ 1517074 w 2611870"/>
              <a:gd name="connsiteY350" fmla="*/ 125402 h 1846433"/>
              <a:gd name="connsiteX351" fmla="*/ 1555054 w 2611870"/>
              <a:gd name="connsiteY351" fmla="*/ 97603 h 1846433"/>
              <a:gd name="connsiteX352" fmla="*/ 1563549 w 2611870"/>
              <a:gd name="connsiteY352" fmla="*/ 97233 h 1846433"/>
              <a:gd name="connsiteX353" fmla="*/ 1571920 w 2611870"/>
              <a:gd name="connsiteY353" fmla="*/ 91055 h 1846433"/>
              <a:gd name="connsiteX354" fmla="*/ 1593533 w 2611870"/>
              <a:gd name="connsiteY354" fmla="*/ 86237 h 1846433"/>
              <a:gd name="connsiteX355" fmla="*/ 1605402 w 2611870"/>
              <a:gd name="connsiteY355" fmla="*/ 69311 h 1846433"/>
              <a:gd name="connsiteX356" fmla="*/ 1617396 w 2611870"/>
              <a:gd name="connsiteY356" fmla="*/ 72029 h 1846433"/>
              <a:gd name="connsiteX357" fmla="*/ 1641633 w 2611870"/>
              <a:gd name="connsiteY357" fmla="*/ 65728 h 1846433"/>
              <a:gd name="connsiteX358" fmla="*/ 1640508 w 2611870"/>
              <a:gd name="connsiteY358" fmla="*/ 52755 h 1846433"/>
              <a:gd name="connsiteX359" fmla="*/ 1631263 w 2611870"/>
              <a:gd name="connsiteY359" fmla="*/ 39412 h 1846433"/>
              <a:gd name="connsiteX360" fmla="*/ 1640883 w 2611870"/>
              <a:gd name="connsiteY360" fmla="*/ 33729 h 1846433"/>
              <a:gd name="connsiteX361" fmla="*/ 1665370 w 2611870"/>
              <a:gd name="connsiteY361" fmla="*/ 31381 h 1846433"/>
              <a:gd name="connsiteX362" fmla="*/ 1669868 w 2611870"/>
              <a:gd name="connsiteY362" fmla="*/ 13467 h 1846433"/>
              <a:gd name="connsiteX363" fmla="*/ 1685984 w 2611870"/>
              <a:gd name="connsiteY363" fmla="*/ 3706 h 1846433"/>
              <a:gd name="connsiteX364" fmla="*/ 1697353 w 2611870"/>
              <a:gd name="connsiteY364" fmla="*/ 5065 h 1846433"/>
              <a:gd name="connsiteX365" fmla="*/ 1710971 w 2611870"/>
              <a:gd name="connsiteY365" fmla="*/ 0 h 1846433"/>
              <a:gd name="connsiteX366" fmla="*/ 1733834 w 2611870"/>
              <a:gd name="connsiteY366" fmla="*/ 8154 h 1846433"/>
              <a:gd name="connsiteX367" fmla="*/ 1758821 w 2611870"/>
              <a:gd name="connsiteY367" fmla="*/ 4448 h 1846433"/>
              <a:gd name="connsiteX368" fmla="*/ 1781559 w 2611870"/>
              <a:gd name="connsiteY368" fmla="*/ 18162 h 1846433"/>
              <a:gd name="connsiteX369" fmla="*/ 1803422 w 2611870"/>
              <a:gd name="connsiteY369" fmla="*/ 16926 h 1846433"/>
              <a:gd name="connsiteX370" fmla="*/ 1823162 w 2611870"/>
              <a:gd name="connsiteY370" fmla="*/ 7536 h 1846433"/>
              <a:gd name="connsiteX371" fmla="*/ 1842152 w 2611870"/>
              <a:gd name="connsiteY371" fmla="*/ 8401 h 1846433"/>
              <a:gd name="connsiteX372" fmla="*/ 1850772 w 2611870"/>
              <a:gd name="connsiteY372" fmla="*/ 30393 h 1846433"/>
              <a:gd name="connsiteX373" fmla="*/ 1858268 w 2611870"/>
              <a:gd name="connsiteY373" fmla="*/ 35582 h 1846433"/>
              <a:gd name="connsiteX374" fmla="*/ 1865764 w 2611870"/>
              <a:gd name="connsiteY374" fmla="*/ 54114 h 1846433"/>
              <a:gd name="connsiteX375" fmla="*/ 1879007 w 2611870"/>
              <a:gd name="connsiteY375" fmla="*/ 69311 h 1846433"/>
              <a:gd name="connsiteX376" fmla="*/ 1891501 w 2611870"/>
              <a:gd name="connsiteY376" fmla="*/ 75365 h 1846433"/>
              <a:gd name="connsiteX377" fmla="*/ 1893999 w 2611870"/>
              <a:gd name="connsiteY377" fmla="*/ 85372 h 1846433"/>
              <a:gd name="connsiteX378" fmla="*/ 1890002 w 2611870"/>
              <a:gd name="connsiteY378" fmla="*/ 101310 h 1846433"/>
              <a:gd name="connsiteX379" fmla="*/ 1894374 w 2611870"/>
              <a:gd name="connsiteY379" fmla="*/ 118236 h 1846433"/>
              <a:gd name="connsiteX380" fmla="*/ 1893750 w 2611870"/>
              <a:gd name="connsiteY380" fmla="*/ 125155 h 1846433"/>
              <a:gd name="connsiteX381" fmla="*/ 1879632 w 2611870"/>
              <a:gd name="connsiteY381" fmla="*/ 129726 h 1846433"/>
              <a:gd name="connsiteX382" fmla="*/ 1888627 w 2611870"/>
              <a:gd name="connsiteY382" fmla="*/ 146405 h 1846433"/>
              <a:gd name="connsiteX383" fmla="*/ 1899871 w 2611870"/>
              <a:gd name="connsiteY383" fmla="*/ 153818 h 1846433"/>
              <a:gd name="connsiteX384" fmla="*/ 1919611 w 2611870"/>
              <a:gd name="connsiteY384" fmla="*/ 140845 h 1846433"/>
              <a:gd name="connsiteX385" fmla="*/ 1934353 w 2611870"/>
              <a:gd name="connsiteY385" fmla="*/ 151718 h 1846433"/>
              <a:gd name="connsiteX386" fmla="*/ 1944473 w 2611870"/>
              <a:gd name="connsiteY386" fmla="*/ 147641 h 1846433"/>
              <a:gd name="connsiteX387" fmla="*/ 1946972 w 2611870"/>
              <a:gd name="connsiteY387" fmla="*/ 130097 h 1846433"/>
              <a:gd name="connsiteX388" fmla="*/ 1958341 w 2611870"/>
              <a:gd name="connsiteY388" fmla="*/ 124661 h 1846433"/>
              <a:gd name="connsiteX389" fmla="*/ 1965087 w 2611870"/>
              <a:gd name="connsiteY389" fmla="*/ 142822 h 1846433"/>
              <a:gd name="connsiteX390" fmla="*/ 1976331 w 2611870"/>
              <a:gd name="connsiteY390" fmla="*/ 142328 h 1846433"/>
              <a:gd name="connsiteX391" fmla="*/ 1978080 w 2611870"/>
              <a:gd name="connsiteY391" fmla="*/ 128120 h 1846433"/>
              <a:gd name="connsiteX392" fmla="*/ 1970334 w 2611870"/>
              <a:gd name="connsiteY392" fmla="*/ 110082 h 1846433"/>
              <a:gd name="connsiteX393" fmla="*/ 1976081 w 2611870"/>
              <a:gd name="connsiteY393" fmla="*/ 105881 h 1846433"/>
              <a:gd name="connsiteX394" fmla="*/ 2008564 w 2611870"/>
              <a:gd name="connsiteY394" fmla="*/ 127132 h 1846433"/>
              <a:gd name="connsiteX395" fmla="*/ 2013436 w 2611870"/>
              <a:gd name="connsiteY395" fmla="*/ 156165 h 1846433"/>
              <a:gd name="connsiteX396" fmla="*/ 2026430 w 2611870"/>
              <a:gd name="connsiteY396" fmla="*/ 178281 h 1846433"/>
              <a:gd name="connsiteX397" fmla="*/ 2037299 w 2611870"/>
              <a:gd name="connsiteY397" fmla="*/ 176922 h 1846433"/>
              <a:gd name="connsiteX398" fmla="*/ 2049917 w 2611870"/>
              <a:gd name="connsiteY398" fmla="*/ 162219 h 1846433"/>
              <a:gd name="connsiteX399" fmla="*/ 2039423 w 2611870"/>
              <a:gd name="connsiteY399" fmla="*/ 158019 h 1846433"/>
              <a:gd name="connsiteX400" fmla="*/ 2034051 w 2611870"/>
              <a:gd name="connsiteY400" fmla="*/ 148135 h 1846433"/>
              <a:gd name="connsiteX401" fmla="*/ 2054040 w 2611870"/>
              <a:gd name="connsiteY401" fmla="*/ 142946 h 1846433"/>
              <a:gd name="connsiteX402" fmla="*/ 2089146 w 2611870"/>
              <a:gd name="connsiteY402" fmla="*/ 157895 h 1846433"/>
              <a:gd name="connsiteX403" fmla="*/ 2101140 w 2611870"/>
              <a:gd name="connsiteY403" fmla="*/ 157401 h 1846433"/>
              <a:gd name="connsiteX404" fmla="*/ 2114258 w 2611870"/>
              <a:gd name="connsiteY404" fmla="*/ 145664 h 1846433"/>
              <a:gd name="connsiteX405" fmla="*/ 2124753 w 2611870"/>
              <a:gd name="connsiteY405" fmla="*/ 150853 h 1846433"/>
              <a:gd name="connsiteX406" fmla="*/ 2117881 w 2611870"/>
              <a:gd name="connsiteY406" fmla="*/ 168891 h 1846433"/>
              <a:gd name="connsiteX407" fmla="*/ 2107012 w 2611870"/>
              <a:gd name="connsiteY407" fmla="*/ 179145 h 1846433"/>
              <a:gd name="connsiteX408" fmla="*/ 2107762 w 2611870"/>
              <a:gd name="connsiteY408" fmla="*/ 202743 h 1846433"/>
              <a:gd name="connsiteX409" fmla="*/ 2120630 w 2611870"/>
              <a:gd name="connsiteY409" fmla="*/ 218310 h 1846433"/>
              <a:gd name="connsiteX410" fmla="*/ 2133248 w 2611870"/>
              <a:gd name="connsiteY410" fmla="*/ 216828 h 1846433"/>
              <a:gd name="connsiteX411" fmla="*/ 2143243 w 2611870"/>
              <a:gd name="connsiteY411" fmla="*/ 203608 h 1846433"/>
              <a:gd name="connsiteX412" fmla="*/ 2163857 w 2611870"/>
              <a:gd name="connsiteY412" fmla="*/ 197060 h 1846433"/>
              <a:gd name="connsiteX413" fmla="*/ 2201087 w 2611870"/>
              <a:gd name="connsiteY413" fmla="*/ 204473 h 1846433"/>
              <a:gd name="connsiteX414" fmla="*/ 2210207 w 2611870"/>
              <a:gd name="connsiteY414" fmla="*/ 209909 h 1846433"/>
              <a:gd name="connsiteX415" fmla="*/ 2221202 w 2611870"/>
              <a:gd name="connsiteY415" fmla="*/ 201631 h 1846433"/>
              <a:gd name="connsiteX416" fmla="*/ 2216579 w 2611870"/>
              <a:gd name="connsiteY416" fmla="*/ 181122 h 1846433"/>
              <a:gd name="connsiteX417" fmla="*/ 2233570 w 2611870"/>
              <a:gd name="connsiteY417" fmla="*/ 174080 h 1846433"/>
              <a:gd name="connsiteX418" fmla="*/ 2260181 w 2611870"/>
              <a:gd name="connsiteY418" fmla="*/ 169385 h 1846433"/>
              <a:gd name="connsiteX419" fmla="*/ 2276922 w 2611870"/>
              <a:gd name="connsiteY419" fmla="*/ 157154 h 1846433"/>
              <a:gd name="connsiteX420" fmla="*/ 2283919 w 2611870"/>
              <a:gd name="connsiteY420" fmla="*/ 141093 h 1846433"/>
              <a:gd name="connsiteX421" fmla="*/ 2297286 w 2611870"/>
              <a:gd name="connsiteY421" fmla="*/ 129355 h 1846433"/>
              <a:gd name="connsiteX422" fmla="*/ 2298286 w 2611870"/>
              <a:gd name="connsiteY422" fmla="*/ 115765 h 1846433"/>
              <a:gd name="connsiteX423" fmla="*/ 2317776 w 2611870"/>
              <a:gd name="connsiteY423" fmla="*/ 95256 h 1846433"/>
              <a:gd name="connsiteX424" fmla="*/ 2332143 w 2611870"/>
              <a:gd name="connsiteY424" fmla="*/ 89449 h 1846433"/>
              <a:gd name="connsiteX425" fmla="*/ 2345636 w 2611870"/>
              <a:gd name="connsiteY425" fmla="*/ 74376 h 1846433"/>
              <a:gd name="connsiteX426" fmla="*/ 2365251 w 2611870"/>
              <a:gd name="connsiteY426" fmla="*/ 68322 h 1846433"/>
              <a:gd name="connsiteX427" fmla="*/ 2388488 w 2611870"/>
              <a:gd name="connsiteY427" fmla="*/ 60045 h 1846433"/>
              <a:gd name="connsiteX428" fmla="*/ 2398983 w 2611870"/>
              <a:gd name="connsiteY428" fmla="*/ 65851 h 1846433"/>
              <a:gd name="connsiteX429" fmla="*/ 2398983 w 2611870"/>
              <a:gd name="connsiteY429" fmla="*/ 81913 h 1846433"/>
              <a:gd name="connsiteX430" fmla="*/ 2384615 w 2611870"/>
              <a:gd name="connsiteY430" fmla="*/ 99333 h 1846433"/>
              <a:gd name="connsiteX431" fmla="*/ 2370123 w 2611870"/>
              <a:gd name="connsiteY431" fmla="*/ 103534 h 1846433"/>
              <a:gd name="connsiteX432" fmla="*/ 2377994 w 2611870"/>
              <a:gd name="connsiteY432" fmla="*/ 116753 h 1846433"/>
              <a:gd name="connsiteX433" fmla="*/ 2548404 w 2611870"/>
              <a:gd name="connsiteY433" fmla="*/ 232148 h 1846433"/>
              <a:gd name="connsiteX434" fmla="*/ 2611870 w 2611870"/>
              <a:gd name="connsiteY434" fmla="*/ 301459 h 1846433"/>
              <a:gd name="connsiteX435" fmla="*/ 2611870 w 2611870"/>
              <a:gd name="connsiteY435" fmla="*/ 1507664 h 184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Lst>
            <a:rect l="l" t="t" r="r" b="b"/>
            <a:pathLst>
              <a:path w="2611870" h="1846433">
                <a:moveTo>
                  <a:pt x="2611870" y="1507664"/>
                </a:moveTo>
                <a:lnTo>
                  <a:pt x="2592755" y="1497409"/>
                </a:lnTo>
                <a:lnTo>
                  <a:pt x="2573141" y="1487155"/>
                </a:lnTo>
                <a:lnTo>
                  <a:pt x="2544031" y="1489131"/>
                </a:lnTo>
                <a:lnTo>
                  <a:pt x="2534411" y="1494073"/>
                </a:lnTo>
                <a:lnTo>
                  <a:pt x="2512423" y="1493703"/>
                </a:lnTo>
                <a:lnTo>
                  <a:pt x="2495057" y="1491108"/>
                </a:lnTo>
                <a:lnTo>
                  <a:pt x="2484812" y="1497533"/>
                </a:lnTo>
                <a:lnTo>
                  <a:pt x="2487686" y="1517053"/>
                </a:lnTo>
                <a:lnTo>
                  <a:pt x="2493808" y="1537068"/>
                </a:lnTo>
                <a:lnTo>
                  <a:pt x="2495557" y="1561160"/>
                </a:lnTo>
                <a:lnTo>
                  <a:pt x="2467322" y="1566967"/>
                </a:lnTo>
                <a:lnTo>
                  <a:pt x="2410477" y="1570673"/>
                </a:lnTo>
                <a:lnTo>
                  <a:pt x="2342638" y="1566967"/>
                </a:lnTo>
                <a:lnTo>
                  <a:pt x="2326271" y="1558566"/>
                </a:lnTo>
                <a:lnTo>
                  <a:pt x="2295662" y="1555848"/>
                </a:lnTo>
                <a:lnTo>
                  <a:pt x="2279296" y="1574998"/>
                </a:lnTo>
                <a:lnTo>
                  <a:pt x="2286292" y="1585129"/>
                </a:lnTo>
                <a:lnTo>
                  <a:pt x="2266803" y="1598842"/>
                </a:lnTo>
                <a:lnTo>
                  <a:pt x="2264304" y="1607120"/>
                </a:lnTo>
                <a:lnTo>
                  <a:pt x="2258432" y="1606626"/>
                </a:lnTo>
                <a:lnTo>
                  <a:pt x="2240941" y="1630965"/>
                </a:lnTo>
                <a:lnTo>
                  <a:pt x="2225449" y="1638254"/>
                </a:lnTo>
                <a:lnTo>
                  <a:pt x="2191592" y="1682238"/>
                </a:lnTo>
                <a:lnTo>
                  <a:pt x="2180098" y="1707565"/>
                </a:lnTo>
                <a:lnTo>
                  <a:pt x="2170104" y="1720414"/>
                </a:lnTo>
                <a:lnTo>
                  <a:pt x="2152988" y="1755255"/>
                </a:lnTo>
                <a:lnTo>
                  <a:pt x="2117506" y="1790837"/>
                </a:lnTo>
                <a:lnTo>
                  <a:pt x="2107762" y="1784412"/>
                </a:lnTo>
                <a:lnTo>
                  <a:pt x="2065409" y="1765757"/>
                </a:lnTo>
                <a:lnTo>
                  <a:pt x="2034300" y="1762915"/>
                </a:lnTo>
                <a:lnTo>
                  <a:pt x="2007440" y="1769587"/>
                </a:lnTo>
                <a:lnTo>
                  <a:pt x="1966961" y="1793061"/>
                </a:lnTo>
                <a:lnTo>
                  <a:pt x="1948096" y="1792196"/>
                </a:lnTo>
                <a:lnTo>
                  <a:pt x="1905119" y="1689157"/>
                </a:lnTo>
                <a:lnTo>
                  <a:pt x="1839903" y="1683473"/>
                </a:lnTo>
                <a:lnTo>
                  <a:pt x="1831033" y="1555477"/>
                </a:lnTo>
                <a:lnTo>
                  <a:pt x="1799799" y="1566596"/>
                </a:lnTo>
                <a:lnTo>
                  <a:pt x="1774188" y="1512729"/>
                </a:lnTo>
                <a:lnTo>
                  <a:pt x="1725838" y="1480112"/>
                </a:lnTo>
                <a:lnTo>
                  <a:pt x="1575168" y="1486907"/>
                </a:lnTo>
                <a:lnTo>
                  <a:pt x="1439365" y="1507169"/>
                </a:lnTo>
                <a:lnTo>
                  <a:pt x="1360531" y="1464545"/>
                </a:lnTo>
                <a:lnTo>
                  <a:pt x="1302687" y="1446013"/>
                </a:lnTo>
                <a:lnTo>
                  <a:pt x="1152641" y="1350510"/>
                </a:lnTo>
                <a:lnTo>
                  <a:pt x="912268" y="1406230"/>
                </a:lnTo>
                <a:lnTo>
                  <a:pt x="1005469" y="1835191"/>
                </a:lnTo>
                <a:lnTo>
                  <a:pt x="992101" y="1837044"/>
                </a:lnTo>
                <a:lnTo>
                  <a:pt x="955370" y="1846434"/>
                </a:lnTo>
                <a:lnTo>
                  <a:pt x="892903" y="1780953"/>
                </a:lnTo>
                <a:lnTo>
                  <a:pt x="826314" y="1746977"/>
                </a:lnTo>
                <a:lnTo>
                  <a:pt x="766470" y="1740429"/>
                </a:lnTo>
                <a:lnTo>
                  <a:pt x="722119" y="1757973"/>
                </a:lnTo>
                <a:lnTo>
                  <a:pt x="667772" y="1810852"/>
                </a:lnTo>
                <a:lnTo>
                  <a:pt x="664774" y="1787254"/>
                </a:lnTo>
                <a:lnTo>
                  <a:pt x="658902" y="1766127"/>
                </a:lnTo>
                <a:lnTo>
                  <a:pt x="668397" y="1740800"/>
                </a:lnTo>
                <a:lnTo>
                  <a:pt x="670521" y="1715102"/>
                </a:lnTo>
                <a:lnTo>
                  <a:pt x="669147" y="1705959"/>
                </a:lnTo>
                <a:lnTo>
                  <a:pt x="671895" y="1699535"/>
                </a:lnTo>
                <a:lnTo>
                  <a:pt x="665024" y="1695581"/>
                </a:lnTo>
                <a:lnTo>
                  <a:pt x="645284" y="1697434"/>
                </a:lnTo>
                <a:lnTo>
                  <a:pt x="630417" y="1691875"/>
                </a:lnTo>
                <a:lnTo>
                  <a:pt x="613676" y="1688539"/>
                </a:lnTo>
                <a:lnTo>
                  <a:pt x="600308" y="1695087"/>
                </a:lnTo>
                <a:lnTo>
                  <a:pt x="592312" y="1692492"/>
                </a:lnTo>
                <a:lnTo>
                  <a:pt x="584316" y="1677296"/>
                </a:lnTo>
                <a:lnTo>
                  <a:pt x="576321" y="1670748"/>
                </a:lnTo>
                <a:lnTo>
                  <a:pt x="567825" y="1656416"/>
                </a:lnTo>
                <a:lnTo>
                  <a:pt x="559330" y="1652092"/>
                </a:lnTo>
                <a:lnTo>
                  <a:pt x="553208" y="1655675"/>
                </a:lnTo>
                <a:lnTo>
                  <a:pt x="536467" y="1660370"/>
                </a:lnTo>
                <a:lnTo>
                  <a:pt x="528471" y="1660370"/>
                </a:lnTo>
                <a:lnTo>
                  <a:pt x="529220" y="1638007"/>
                </a:lnTo>
                <a:lnTo>
                  <a:pt x="526722" y="1620340"/>
                </a:lnTo>
                <a:lnTo>
                  <a:pt x="499986" y="1591924"/>
                </a:lnTo>
                <a:lnTo>
                  <a:pt x="494489" y="1580928"/>
                </a:lnTo>
                <a:lnTo>
                  <a:pt x="487118" y="1578704"/>
                </a:lnTo>
                <a:lnTo>
                  <a:pt x="479622" y="1559554"/>
                </a:lnTo>
                <a:lnTo>
                  <a:pt x="469127" y="1553747"/>
                </a:lnTo>
                <a:lnTo>
                  <a:pt x="461881" y="1539910"/>
                </a:lnTo>
                <a:lnTo>
                  <a:pt x="445640" y="1534721"/>
                </a:lnTo>
                <a:lnTo>
                  <a:pt x="431147" y="1534721"/>
                </a:lnTo>
                <a:lnTo>
                  <a:pt x="419279" y="1521501"/>
                </a:lnTo>
                <a:lnTo>
                  <a:pt x="420153" y="1513100"/>
                </a:lnTo>
                <a:lnTo>
                  <a:pt x="427399" y="1503463"/>
                </a:lnTo>
                <a:lnTo>
                  <a:pt x="437269" y="1506181"/>
                </a:lnTo>
                <a:lnTo>
                  <a:pt x="463755" y="1502969"/>
                </a:lnTo>
                <a:lnTo>
                  <a:pt x="471501" y="1506675"/>
                </a:lnTo>
                <a:lnTo>
                  <a:pt x="482120" y="1505563"/>
                </a:lnTo>
                <a:lnTo>
                  <a:pt x="489866" y="1509393"/>
                </a:lnTo>
                <a:lnTo>
                  <a:pt x="499611" y="1500992"/>
                </a:lnTo>
                <a:lnTo>
                  <a:pt x="507482" y="1496791"/>
                </a:lnTo>
                <a:lnTo>
                  <a:pt x="523224" y="1501980"/>
                </a:lnTo>
                <a:lnTo>
                  <a:pt x="527971" y="1497409"/>
                </a:lnTo>
                <a:lnTo>
                  <a:pt x="523099" y="1488514"/>
                </a:lnTo>
                <a:lnTo>
                  <a:pt x="504858" y="1490490"/>
                </a:lnTo>
                <a:lnTo>
                  <a:pt x="499486" y="1487031"/>
                </a:lnTo>
                <a:lnTo>
                  <a:pt x="498861" y="1473935"/>
                </a:lnTo>
                <a:lnTo>
                  <a:pt x="480121" y="1454044"/>
                </a:lnTo>
                <a:lnTo>
                  <a:pt x="477997" y="1445025"/>
                </a:lnTo>
                <a:lnTo>
                  <a:pt x="486368" y="1439094"/>
                </a:lnTo>
                <a:lnTo>
                  <a:pt x="486118" y="1424515"/>
                </a:lnTo>
                <a:lnTo>
                  <a:pt x="483120" y="1416485"/>
                </a:lnTo>
                <a:lnTo>
                  <a:pt x="493489" y="1404501"/>
                </a:lnTo>
                <a:lnTo>
                  <a:pt x="513104" y="1397829"/>
                </a:lnTo>
                <a:lnTo>
                  <a:pt x="529096" y="1391528"/>
                </a:lnTo>
                <a:lnTo>
                  <a:pt x="543213" y="1397829"/>
                </a:lnTo>
                <a:lnTo>
                  <a:pt x="560954" y="1392146"/>
                </a:lnTo>
                <a:lnTo>
                  <a:pt x="576071" y="1389181"/>
                </a:lnTo>
                <a:lnTo>
                  <a:pt x="584316" y="1396099"/>
                </a:lnTo>
                <a:lnTo>
                  <a:pt x="592062" y="1390910"/>
                </a:lnTo>
                <a:lnTo>
                  <a:pt x="604681" y="1390292"/>
                </a:lnTo>
                <a:lnTo>
                  <a:pt x="620297" y="1405736"/>
                </a:lnTo>
                <a:lnTo>
                  <a:pt x="634790" y="1405118"/>
                </a:lnTo>
                <a:lnTo>
                  <a:pt x="653655" y="1394740"/>
                </a:lnTo>
                <a:lnTo>
                  <a:pt x="656278" y="1386462"/>
                </a:lnTo>
                <a:lnTo>
                  <a:pt x="642785" y="1382385"/>
                </a:lnTo>
                <a:lnTo>
                  <a:pt x="625045" y="1379297"/>
                </a:lnTo>
                <a:lnTo>
                  <a:pt x="612177" y="1355822"/>
                </a:lnTo>
                <a:lnTo>
                  <a:pt x="614176" y="1335313"/>
                </a:lnTo>
                <a:lnTo>
                  <a:pt x="625919" y="1329630"/>
                </a:lnTo>
                <a:lnTo>
                  <a:pt x="632541" y="1320735"/>
                </a:lnTo>
                <a:lnTo>
                  <a:pt x="626544" y="1315422"/>
                </a:lnTo>
                <a:lnTo>
                  <a:pt x="620297" y="1307762"/>
                </a:lnTo>
                <a:lnTo>
                  <a:pt x="616924" y="1299361"/>
                </a:lnTo>
                <a:lnTo>
                  <a:pt x="626419" y="1280211"/>
                </a:lnTo>
                <a:lnTo>
                  <a:pt x="627544" y="1266744"/>
                </a:lnTo>
                <a:lnTo>
                  <a:pt x="612676" y="1253277"/>
                </a:lnTo>
                <a:lnTo>
                  <a:pt x="607804" y="1243270"/>
                </a:lnTo>
                <a:lnTo>
                  <a:pt x="615050" y="1231409"/>
                </a:lnTo>
                <a:lnTo>
                  <a:pt x="614176" y="1226220"/>
                </a:lnTo>
                <a:lnTo>
                  <a:pt x="601807" y="1224120"/>
                </a:lnTo>
                <a:lnTo>
                  <a:pt x="594311" y="1212259"/>
                </a:lnTo>
                <a:lnTo>
                  <a:pt x="591188" y="1204599"/>
                </a:lnTo>
                <a:lnTo>
                  <a:pt x="559704" y="1204228"/>
                </a:lnTo>
                <a:lnTo>
                  <a:pt x="548085" y="1202499"/>
                </a:lnTo>
                <a:lnTo>
                  <a:pt x="535967" y="1206205"/>
                </a:lnTo>
                <a:lnTo>
                  <a:pt x="534218" y="1212630"/>
                </a:lnTo>
                <a:lnTo>
                  <a:pt x="524473" y="1218189"/>
                </a:lnTo>
                <a:lnTo>
                  <a:pt x="524223" y="1227085"/>
                </a:lnTo>
                <a:lnTo>
                  <a:pt x="515603" y="1232397"/>
                </a:lnTo>
                <a:lnTo>
                  <a:pt x="502360" y="1228073"/>
                </a:lnTo>
                <a:lnTo>
                  <a:pt x="500735" y="1220537"/>
                </a:lnTo>
                <a:lnTo>
                  <a:pt x="489866" y="1221649"/>
                </a:lnTo>
                <a:lnTo>
                  <a:pt x="484119" y="1227826"/>
                </a:lnTo>
                <a:lnTo>
                  <a:pt x="474999" y="1217695"/>
                </a:lnTo>
                <a:lnTo>
                  <a:pt x="475499" y="1203858"/>
                </a:lnTo>
                <a:lnTo>
                  <a:pt x="471001" y="1199533"/>
                </a:lnTo>
                <a:lnTo>
                  <a:pt x="464255" y="1205711"/>
                </a:lnTo>
                <a:lnTo>
                  <a:pt x="452636" y="1206205"/>
                </a:lnTo>
                <a:lnTo>
                  <a:pt x="443766" y="1200645"/>
                </a:lnTo>
                <a:lnTo>
                  <a:pt x="420028" y="1202004"/>
                </a:lnTo>
                <a:lnTo>
                  <a:pt x="407535" y="1215348"/>
                </a:lnTo>
                <a:lnTo>
                  <a:pt x="403912" y="1228691"/>
                </a:lnTo>
                <a:lnTo>
                  <a:pt x="399039" y="1231780"/>
                </a:lnTo>
                <a:lnTo>
                  <a:pt x="392543" y="1226467"/>
                </a:lnTo>
                <a:lnTo>
                  <a:pt x="383922" y="1226838"/>
                </a:lnTo>
                <a:lnTo>
                  <a:pt x="373927" y="1241787"/>
                </a:lnTo>
                <a:lnTo>
                  <a:pt x="363933" y="1241169"/>
                </a:lnTo>
                <a:lnTo>
                  <a:pt x="356812" y="1253030"/>
                </a:lnTo>
                <a:lnTo>
                  <a:pt x="341819" y="1266373"/>
                </a:lnTo>
                <a:lnTo>
                  <a:pt x="333199" y="1265508"/>
                </a:lnTo>
                <a:lnTo>
                  <a:pt x="330700" y="1276134"/>
                </a:lnTo>
                <a:lnTo>
                  <a:pt x="323954" y="1283299"/>
                </a:lnTo>
                <a:lnTo>
                  <a:pt x="317457" y="1276628"/>
                </a:lnTo>
                <a:lnTo>
                  <a:pt x="309462" y="1276381"/>
                </a:lnTo>
                <a:lnTo>
                  <a:pt x="303840" y="1286141"/>
                </a:lnTo>
                <a:lnTo>
                  <a:pt x="291221" y="1286388"/>
                </a:lnTo>
                <a:lnTo>
                  <a:pt x="286224" y="1277369"/>
                </a:lnTo>
                <a:lnTo>
                  <a:pt x="280227" y="1278110"/>
                </a:lnTo>
                <a:lnTo>
                  <a:pt x="256240" y="1264273"/>
                </a:lnTo>
                <a:lnTo>
                  <a:pt x="232752" y="1273168"/>
                </a:lnTo>
                <a:lnTo>
                  <a:pt x="198020" y="1252412"/>
                </a:lnTo>
                <a:lnTo>
                  <a:pt x="199395" y="1237216"/>
                </a:lnTo>
                <a:lnTo>
                  <a:pt x="234376" y="1235733"/>
                </a:lnTo>
                <a:lnTo>
                  <a:pt x="194772" y="1175936"/>
                </a:lnTo>
                <a:lnTo>
                  <a:pt x="150670" y="1138500"/>
                </a:lnTo>
                <a:lnTo>
                  <a:pt x="90452" y="1124663"/>
                </a:lnTo>
                <a:lnTo>
                  <a:pt x="83831" y="1138748"/>
                </a:lnTo>
                <a:lnTo>
                  <a:pt x="52972" y="1115150"/>
                </a:lnTo>
                <a:lnTo>
                  <a:pt x="58344" y="1101189"/>
                </a:lnTo>
                <a:lnTo>
                  <a:pt x="41353" y="1076355"/>
                </a:lnTo>
                <a:lnTo>
                  <a:pt x="3123" y="1063506"/>
                </a:lnTo>
                <a:lnTo>
                  <a:pt x="15617" y="1031631"/>
                </a:lnTo>
                <a:lnTo>
                  <a:pt x="21114" y="975046"/>
                </a:lnTo>
                <a:lnTo>
                  <a:pt x="6622" y="961949"/>
                </a:lnTo>
                <a:lnTo>
                  <a:pt x="0" y="917595"/>
                </a:lnTo>
                <a:lnTo>
                  <a:pt x="17491" y="908453"/>
                </a:lnTo>
                <a:lnTo>
                  <a:pt x="40604" y="877319"/>
                </a:lnTo>
                <a:lnTo>
                  <a:pt x="39604" y="854462"/>
                </a:lnTo>
                <a:lnTo>
                  <a:pt x="52097" y="836795"/>
                </a:lnTo>
                <a:lnTo>
                  <a:pt x="102946" y="878554"/>
                </a:lnTo>
                <a:lnTo>
                  <a:pt x="109567" y="894615"/>
                </a:lnTo>
                <a:lnTo>
                  <a:pt x="138052" y="910430"/>
                </a:lnTo>
                <a:lnTo>
                  <a:pt x="166412" y="906600"/>
                </a:lnTo>
                <a:lnTo>
                  <a:pt x="161914" y="879295"/>
                </a:lnTo>
                <a:lnTo>
                  <a:pt x="172784" y="869659"/>
                </a:lnTo>
                <a:lnTo>
                  <a:pt x="148422" y="798000"/>
                </a:lnTo>
                <a:lnTo>
                  <a:pt x="176782" y="793553"/>
                </a:lnTo>
                <a:lnTo>
                  <a:pt x="206516" y="792317"/>
                </a:lnTo>
                <a:lnTo>
                  <a:pt x="205516" y="770696"/>
                </a:lnTo>
                <a:lnTo>
                  <a:pt x="191649" y="754882"/>
                </a:lnTo>
                <a:lnTo>
                  <a:pt x="196646" y="733755"/>
                </a:lnTo>
                <a:lnTo>
                  <a:pt x="223007" y="715594"/>
                </a:lnTo>
                <a:lnTo>
                  <a:pt x="235501" y="714482"/>
                </a:lnTo>
                <a:lnTo>
                  <a:pt x="243122" y="689895"/>
                </a:lnTo>
                <a:lnTo>
                  <a:pt x="256490" y="678900"/>
                </a:lnTo>
                <a:lnTo>
                  <a:pt x="275854" y="683224"/>
                </a:lnTo>
                <a:lnTo>
                  <a:pt x="277853" y="666792"/>
                </a:lnTo>
                <a:lnTo>
                  <a:pt x="272481" y="650607"/>
                </a:lnTo>
                <a:lnTo>
                  <a:pt x="276604" y="638746"/>
                </a:lnTo>
                <a:lnTo>
                  <a:pt x="304339" y="653201"/>
                </a:lnTo>
                <a:lnTo>
                  <a:pt x="326577" y="661479"/>
                </a:lnTo>
                <a:lnTo>
                  <a:pt x="324454" y="673340"/>
                </a:lnTo>
                <a:lnTo>
                  <a:pt x="312585" y="688907"/>
                </a:lnTo>
                <a:lnTo>
                  <a:pt x="322205" y="697679"/>
                </a:lnTo>
                <a:lnTo>
                  <a:pt x="338946" y="687054"/>
                </a:lnTo>
                <a:lnTo>
                  <a:pt x="343069" y="673216"/>
                </a:lnTo>
                <a:lnTo>
                  <a:pt x="355312" y="664815"/>
                </a:lnTo>
                <a:lnTo>
                  <a:pt x="356562" y="680506"/>
                </a:lnTo>
                <a:lnTo>
                  <a:pt x="367931" y="667533"/>
                </a:lnTo>
                <a:lnTo>
                  <a:pt x="370055" y="656290"/>
                </a:lnTo>
                <a:lnTo>
                  <a:pt x="387920" y="653572"/>
                </a:lnTo>
                <a:lnTo>
                  <a:pt x="406410" y="639735"/>
                </a:lnTo>
                <a:lnTo>
                  <a:pt x="422902" y="638376"/>
                </a:lnTo>
                <a:lnTo>
                  <a:pt x="433896" y="662097"/>
                </a:lnTo>
                <a:lnTo>
                  <a:pt x="455010" y="674946"/>
                </a:lnTo>
                <a:lnTo>
                  <a:pt x="487617" y="663085"/>
                </a:lnTo>
                <a:lnTo>
                  <a:pt x="502859" y="663085"/>
                </a:lnTo>
                <a:lnTo>
                  <a:pt x="512604" y="676429"/>
                </a:lnTo>
                <a:lnTo>
                  <a:pt x="523349" y="676676"/>
                </a:lnTo>
                <a:lnTo>
                  <a:pt x="542838" y="699409"/>
                </a:lnTo>
                <a:lnTo>
                  <a:pt x="562703" y="698544"/>
                </a:lnTo>
                <a:lnTo>
                  <a:pt x="577945" y="716829"/>
                </a:lnTo>
                <a:lnTo>
                  <a:pt x="604681" y="734744"/>
                </a:lnTo>
                <a:lnTo>
                  <a:pt x="619298" y="735485"/>
                </a:lnTo>
                <a:lnTo>
                  <a:pt x="627044" y="747593"/>
                </a:lnTo>
                <a:lnTo>
                  <a:pt x="629293" y="768349"/>
                </a:lnTo>
                <a:lnTo>
                  <a:pt x="640037" y="771190"/>
                </a:lnTo>
                <a:lnTo>
                  <a:pt x="651156" y="753029"/>
                </a:lnTo>
                <a:lnTo>
                  <a:pt x="648158" y="730296"/>
                </a:lnTo>
                <a:lnTo>
                  <a:pt x="665523" y="719053"/>
                </a:lnTo>
                <a:lnTo>
                  <a:pt x="678891" y="736103"/>
                </a:lnTo>
                <a:lnTo>
                  <a:pt x="714123" y="739933"/>
                </a:lnTo>
                <a:lnTo>
                  <a:pt x="725367" y="756488"/>
                </a:lnTo>
                <a:lnTo>
                  <a:pt x="740234" y="761677"/>
                </a:lnTo>
                <a:lnTo>
                  <a:pt x="761972" y="743763"/>
                </a:lnTo>
                <a:lnTo>
                  <a:pt x="762472" y="709663"/>
                </a:lnTo>
                <a:lnTo>
                  <a:pt x="781462" y="706945"/>
                </a:lnTo>
                <a:lnTo>
                  <a:pt x="782212" y="689895"/>
                </a:lnTo>
                <a:lnTo>
                  <a:pt x="796454" y="684583"/>
                </a:lnTo>
                <a:lnTo>
                  <a:pt x="807698" y="697926"/>
                </a:lnTo>
                <a:lnTo>
                  <a:pt x="814945" y="682606"/>
                </a:lnTo>
                <a:lnTo>
                  <a:pt x="835933" y="678405"/>
                </a:lnTo>
                <a:lnTo>
                  <a:pt x="863419" y="701385"/>
                </a:lnTo>
                <a:lnTo>
                  <a:pt x="869166" y="711022"/>
                </a:lnTo>
                <a:lnTo>
                  <a:pt x="894777" y="707316"/>
                </a:lnTo>
                <a:lnTo>
                  <a:pt x="890530" y="685201"/>
                </a:lnTo>
                <a:lnTo>
                  <a:pt x="904897" y="680012"/>
                </a:lnTo>
                <a:lnTo>
                  <a:pt x="925511" y="681123"/>
                </a:lnTo>
                <a:lnTo>
                  <a:pt x="934881" y="668274"/>
                </a:lnTo>
                <a:lnTo>
                  <a:pt x="957119" y="679147"/>
                </a:lnTo>
                <a:lnTo>
                  <a:pt x="970737" y="685077"/>
                </a:lnTo>
                <a:lnTo>
                  <a:pt x="965240" y="697803"/>
                </a:lnTo>
                <a:lnTo>
                  <a:pt x="951622" y="705586"/>
                </a:lnTo>
                <a:lnTo>
                  <a:pt x="970487" y="725724"/>
                </a:lnTo>
                <a:lnTo>
                  <a:pt x="987229" y="730172"/>
                </a:lnTo>
                <a:lnTo>
                  <a:pt x="994849" y="724613"/>
                </a:lnTo>
                <a:lnTo>
                  <a:pt x="1007843" y="731284"/>
                </a:lnTo>
                <a:lnTo>
                  <a:pt x="1035453" y="728813"/>
                </a:lnTo>
                <a:lnTo>
                  <a:pt x="1068561" y="745122"/>
                </a:lnTo>
                <a:lnTo>
                  <a:pt x="1089050" y="740303"/>
                </a:lnTo>
                <a:lnTo>
                  <a:pt x="1097420" y="720906"/>
                </a:lnTo>
                <a:lnTo>
                  <a:pt x="1097920" y="703239"/>
                </a:lnTo>
                <a:lnTo>
                  <a:pt x="1106790" y="694343"/>
                </a:lnTo>
                <a:lnTo>
                  <a:pt x="1136025" y="710157"/>
                </a:lnTo>
                <a:lnTo>
                  <a:pt x="1161886" y="711640"/>
                </a:lnTo>
                <a:lnTo>
                  <a:pt x="1192495" y="699903"/>
                </a:lnTo>
                <a:lnTo>
                  <a:pt x="1200366" y="684459"/>
                </a:lnTo>
                <a:lnTo>
                  <a:pt x="1192620" y="613419"/>
                </a:lnTo>
                <a:lnTo>
                  <a:pt x="1183875" y="607241"/>
                </a:lnTo>
                <a:lnTo>
                  <a:pt x="1156639" y="607736"/>
                </a:lnTo>
                <a:lnTo>
                  <a:pt x="1138898" y="594763"/>
                </a:lnTo>
                <a:lnTo>
                  <a:pt x="1135150" y="585003"/>
                </a:lnTo>
                <a:lnTo>
                  <a:pt x="1114536" y="581420"/>
                </a:lnTo>
                <a:lnTo>
                  <a:pt x="1101418" y="570177"/>
                </a:lnTo>
                <a:lnTo>
                  <a:pt x="1079680" y="571042"/>
                </a:lnTo>
                <a:lnTo>
                  <a:pt x="1077806" y="559428"/>
                </a:lnTo>
                <a:lnTo>
                  <a:pt x="1071309" y="548432"/>
                </a:lnTo>
                <a:lnTo>
                  <a:pt x="1073558" y="539290"/>
                </a:lnTo>
                <a:lnTo>
                  <a:pt x="1090049" y="536572"/>
                </a:lnTo>
                <a:lnTo>
                  <a:pt x="1092548" y="517422"/>
                </a:lnTo>
                <a:lnTo>
                  <a:pt x="1105666" y="500495"/>
                </a:lnTo>
                <a:lnTo>
                  <a:pt x="1100169" y="479863"/>
                </a:lnTo>
                <a:lnTo>
                  <a:pt x="1086176" y="478504"/>
                </a:lnTo>
                <a:lnTo>
                  <a:pt x="1084052" y="458860"/>
                </a:lnTo>
                <a:lnTo>
                  <a:pt x="1103167" y="428590"/>
                </a:lnTo>
                <a:lnTo>
                  <a:pt x="1123531" y="408699"/>
                </a:lnTo>
                <a:lnTo>
                  <a:pt x="1161636" y="403139"/>
                </a:lnTo>
                <a:lnTo>
                  <a:pt x="1177128" y="407834"/>
                </a:lnTo>
                <a:lnTo>
                  <a:pt x="1187373" y="400174"/>
                </a:lnTo>
                <a:lnTo>
                  <a:pt x="1187248" y="381765"/>
                </a:lnTo>
                <a:lnTo>
                  <a:pt x="1169132" y="377317"/>
                </a:lnTo>
                <a:lnTo>
                  <a:pt x="1154015" y="363604"/>
                </a:lnTo>
                <a:lnTo>
                  <a:pt x="1139523" y="364839"/>
                </a:lnTo>
                <a:lnTo>
                  <a:pt x="1128654" y="373858"/>
                </a:lnTo>
                <a:lnTo>
                  <a:pt x="1109789" y="366816"/>
                </a:lnTo>
                <a:lnTo>
                  <a:pt x="1086676" y="367063"/>
                </a:lnTo>
                <a:lnTo>
                  <a:pt x="1084177" y="355449"/>
                </a:lnTo>
                <a:lnTo>
                  <a:pt x="1091798" y="347913"/>
                </a:lnTo>
                <a:lnTo>
                  <a:pt x="1116160" y="346183"/>
                </a:lnTo>
                <a:lnTo>
                  <a:pt x="1108040" y="326910"/>
                </a:lnTo>
                <a:lnTo>
                  <a:pt x="1085052" y="331110"/>
                </a:lnTo>
                <a:lnTo>
                  <a:pt x="1068311" y="327280"/>
                </a:lnTo>
                <a:lnTo>
                  <a:pt x="1076556" y="317767"/>
                </a:lnTo>
                <a:lnTo>
                  <a:pt x="1065687" y="296640"/>
                </a:lnTo>
                <a:lnTo>
                  <a:pt x="1072059" y="290463"/>
                </a:lnTo>
                <a:lnTo>
                  <a:pt x="1091798" y="288362"/>
                </a:lnTo>
                <a:lnTo>
                  <a:pt x="1100544" y="276749"/>
                </a:lnTo>
                <a:lnTo>
                  <a:pt x="1113787" y="276872"/>
                </a:lnTo>
                <a:lnTo>
                  <a:pt x="1120158" y="286386"/>
                </a:lnTo>
                <a:lnTo>
                  <a:pt x="1141272" y="282926"/>
                </a:lnTo>
                <a:lnTo>
                  <a:pt x="1158263" y="293922"/>
                </a:lnTo>
                <a:lnTo>
                  <a:pt x="1165135" y="284532"/>
                </a:lnTo>
                <a:lnTo>
                  <a:pt x="1164635" y="273413"/>
                </a:lnTo>
                <a:lnTo>
                  <a:pt x="1180127" y="262911"/>
                </a:lnTo>
                <a:lnTo>
                  <a:pt x="1196618" y="262911"/>
                </a:lnTo>
                <a:lnTo>
                  <a:pt x="1207987" y="278726"/>
                </a:lnTo>
                <a:lnTo>
                  <a:pt x="1215983" y="266618"/>
                </a:lnTo>
                <a:lnTo>
                  <a:pt x="1217482" y="253522"/>
                </a:lnTo>
                <a:lnTo>
                  <a:pt x="1248715" y="242279"/>
                </a:lnTo>
                <a:lnTo>
                  <a:pt x="1269704" y="239437"/>
                </a:lnTo>
                <a:lnTo>
                  <a:pt x="1292442" y="227329"/>
                </a:lnTo>
                <a:lnTo>
                  <a:pt x="1316804" y="224364"/>
                </a:lnTo>
                <a:lnTo>
                  <a:pt x="1321052" y="216334"/>
                </a:lnTo>
                <a:lnTo>
                  <a:pt x="1344915" y="200272"/>
                </a:lnTo>
                <a:lnTo>
                  <a:pt x="1367403" y="198666"/>
                </a:lnTo>
                <a:lnTo>
                  <a:pt x="1381520" y="188165"/>
                </a:lnTo>
                <a:lnTo>
                  <a:pt x="1394638" y="186311"/>
                </a:lnTo>
                <a:lnTo>
                  <a:pt x="1407382" y="191006"/>
                </a:lnTo>
                <a:lnTo>
                  <a:pt x="1414378" y="184211"/>
                </a:lnTo>
                <a:lnTo>
                  <a:pt x="1412879" y="165184"/>
                </a:lnTo>
                <a:lnTo>
                  <a:pt x="1423123" y="155671"/>
                </a:lnTo>
                <a:lnTo>
                  <a:pt x="1442988" y="154806"/>
                </a:lnTo>
                <a:lnTo>
                  <a:pt x="1444987" y="142946"/>
                </a:lnTo>
                <a:lnTo>
                  <a:pt x="1456606" y="132568"/>
                </a:lnTo>
                <a:lnTo>
                  <a:pt x="1466850" y="141340"/>
                </a:lnTo>
                <a:lnTo>
                  <a:pt x="1480218" y="143440"/>
                </a:lnTo>
                <a:lnTo>
                  <a:pt x="1496959" y="132815"/>
                </a:lnTo>
                <a:lnTo>
                  <a:pt x="1517074" y="125402"/>
                </a:lnTo>
                <a:lnTo>
                  <a:pt x="1555054" y="97603"/>
                </a:lnTo>
                <a:lnTo>
                  <a:pt x="1563549" y="97233"/>
                </a:lnTo>
                <a:lnTo>
                  <a:pt x="1571920" y="91055"/>
                </a:lnTo>
                <a:lnTo>
                  <a:pt x="1593533" y="86237"/>
                </a:lnTo>
                <a:lnTo>
                  <a:pt x="1605402" y="69311"/>
                </a:lnTo>
                <a:lnTo>
                  <a:pt x="1617396" y="72029"/>
                </a:lnTo>
                <a:lnTo>
                  <a:pt x="1641633" y="65728"/>
                </a:lnTo>
                <a:lnTo>
                  <a:pt x="1640508" y="52755"/>
                </a:lnTo>
                <a:lnTo>
                  <a:pt x="1631263" y="39412"/>
                </a:lnTo>
                <a:lnTo>
                  <a:pt x="1640883" y="33729"/>
                </a:lnTo>
                <a:lnTo>
                  <a:pt x="1665370" y="31381"/>
                </a:lnTo>
                <a:lnTo>
                  <a:pt x="1669868" y="13467"/>
                </a:lnTo>
                <a:lnTo>
                  <a:pt x="1685984" y="3706"/>
                </a:lnTo>
                <a:lnTo>
                  <a:pt x="1697353" y="5065"/>
                </a:lnTo>
                <a:lnTo>
                  <a:pt x="1710971" y="0"/>
                </a:lnTo>
                <a:lnTo>
                  <a:pt x="1733834" y="8154"/>
                </a:lnTo>
                <a:lnTo>
                  <a:pt x="1758821" y="4448"/>
                </a:lnTo>
                <a:lnTo>
                  <a:pt x="1781559" y="18162"/>
                </a:lnTo>
                <a:lnTo>
                  <a:pt x="1803422" y="16926"/>
                </a:lnTo>
                <a:lnTo>
                  <a:pt x="1823162" y="7536"/>
                </a:lnTo>
                <a:lnTo>
                  <a:pt x="1842152" y="8401"/>
                </a:lnTo>
                <a:lnTo>
                  <a:pt x="1850772" y="30393"/>
                </a:lnTo>
                <a:lnTo>
                  <a:pt x="1858268" y="35582"/>
                </a:lnTo>
                <a:lnTo>
                  <a:pt x="1865764" y="54114"/>
                </a:lnTo>
                <a:lnTo>
                  <a:pt x="1879007" y="69311"/>
                </a:lnTo>
                <a:lnTo>
                  <a:pt x="1891501" y="75365"/>
                </a:lnTo>
                <a:lnTo>
                  <a:pt x="1893999" y="85372"/>
                </a:lnTo>
                <a:lnTo>
                  <a:pt x="1890002" y="101310"/>
                </a:lnTo>
                <a:lnTo>
                  <a:pt x="1894374" y="118236"/>
                </a:lnTo>
                <a:lnTo>
                  <a:pt x="1893750" y="125155"/>
                </a:lnTo>
                <a:lnTo>
                  <a:pt x="1879632" y="129726"/>
                </a:lnTo>
                <a:lnTo>
                  <a:pt x="1888627" y="146405"/>
                </a:lnTo>
                <a:lnTo>
                  <a:pt x="1899871" y="153818"/>
                </a:lnTo>
                <a:lnTo>
                  <a:pt x="1919611" y="140845"/>
                </a:lnTo>
                <a:lnTo>
                  <a:pt x="1934353" y="151718"/>
                </a:lnTo>
                <a:lnTo>
                  <a:pt x="1944473" y="147641"/>
                </a:lnTo>
                <a:lnTo>
                  <a:pt x="1946972" y="130097"/>
                </a:lnTo>
                <a:lnTo>
                  <a:pt x="1958341" y="124661"/>
                </a:lnTo>
                <a:lnTo>
                  <a:pt x="1965087" y="142822"/>
                </a:lnTo>
                <a:lnTo>
                  <a:pt x="1976331" y="142328"/>
                </a:lnTo>
                <a:lnTo>
                  <a:pt x="1978080" y="128120"/>
                </a:lnTo>
                <a:lnTo>
                  <a:pt x="1970334" y="110082"/>
                </a:lnTo>
                <a:lnTo>
                  <a:pt x="1976081" y="105881"/>
                </a:lnTo>
                <a:lnTo>
                  <a:pt x="2008564" y="127132"/>
                </a:lnTo>
                <a:lnTo>
                  <a:pt x="2013436" y="156165"/>
                </a:lnTo>
                <a:lnTo>
                  <a:pt x="2026430" y="178281"/>
                </a:lnTo>
                <a:lnTo>
                  <a:pt x="2037299" y="176922"/>
                </a:lnTo>
                <a:lnTo>
                  <a:pt x="2049917" y="162219"/>
                </a:lnTo>
                <a:lnTo>
                  <a:pt x="2039423" y="158019"/>
                </a:lnTo>
                <a:lnTo>
                  <a:pt x="2034051" y="148135"/>
                </a:lnTo>
                <a:lnTo>
                  <a:pt x="2054040" y="142946"/>
                </a:lnTo>
                <a:lnTo>
                  <a:pt x="2089146" y="157895"/>
                </a:lnTo>
                <a:lnTo>
                  <a:pt x="2101140" y="157401"/>
                </a:lnTo>
                <a:lnTo>
                  <a:pt x="2114258" y="145664"/>
                </a:lnTo>
                <a:lnTo>
                  <a:pt x="2124753" y="150853"/>
                </a:lnTo>
                <a:lnTo>
                  <a:pt x="2117881" y="168891"/>
                </a:lnTo>
                <a:lnTo>
                  <a:pt x="2107012" y="179145"/>
                </a:lnTo>
                <a:lnTo>
                  <a:pt x="2107762" y="202743"/>
                </a:lnTo>
                <a:lnTo>
                  <a:pt x="2120630" y="218310"/>
                </a:lnTo>
                <a:lnTo>
                  <a:pt x="2133248" y="216828"/>
                </a:lnTo>
                <a:lnTo>
                  <a:pt x="2143243" y="203608"/>
                </a:lnTo>
                <a:lnTo>
                  <a:pt x="2163857" y="197060"/>
                </a:lnTo>
                <a:lnTo>
                  <a:pt x="2201087" y="204473"/>
                </a:lnTo>
                <a:lnTo>
                  <a:pt x="2210207" y="209909"/>
                </a:lnTo>
                <a:lnTo>
                  <a:pt x="2221202" y="201631"/>
                </a:lnTo>
                <a:lnTo>
                  <a:pt x="2216579" y="181122"/>
                </a:lnTo>
                <a:lnTo>
                  <a:pt x="2233570" y="174080"/>
                </a:lnTo>
                <a:lnTo>
                  <a:pt x="2260181" y="169385"/>
                </a:lnTo>
                <a:lnTo>
                  <a:pt x="2276922" y="157154"/>
                </a:lnTo>
                <a:lnTo>
                  <a:pt x="2283919" y="141093"/>
                </a:lnTo>
                <a:lnTo>
                  <a:pt x="2297286" y="129355"/>
                </a:lnTo>
                <a:lnTo>
                  <a:pt x="2298286" y="115765"/>
                </a:lnTo>
                <a:lnTo>
                  <a:pt x="2317776" y="95256"/>
                </a:lnTo>
                <a:lnTo>
                  <a:pt x="2332143" y="89449"/>
                </a:lnTo>
                <a:lnTo>
                  <a:pt x="2345636" y="74376"/>
                </a:lnTo>
                <a:lnTo>
                  <a:pt x="2365251" y="68322"/>
                </a:lnTo>
                <a:lnTo>
                  <a:pt x="2388488" y="60045"/>
                </a:lnTo>
                <a:lnTo>
                  <a:pt x="2398983" y="65851"/>
                </a:lnTo>
                <a:lnTo>
                  <a:pt x="2398983" y="81913"/>
                </a:lnTo>
                <a:lnTo>
                  <a:pt x="2384615" y="99333"/>
                </a:lnTo>
                <a:lnTo>
                  <a:pt x="2370123" y="103534"/>
                </a:lnTo>
                <a:lnTo>
                  <a:pt x="2377994" y="116753"/>
                </a:lnTo>
                <a:lnTo>
                  <a:pt x="2548404" y="232148"/>
                </a:lnTo>
                <a:lnTo>
                  <a:pt x="2611870" y="301459"/>
                </a:lnTo>
                <a:lnTo>
                  <a:pt x="2611870" y="150766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5" name="Graphic 152">
            <a:extLst>
              <a:ext uri="{FF2B5EF4-FFF2-40B4-BE49-F238E27FC236}">
                <a16:creationId xmlns:a16="http://schemas.microsoft.com/office/drawing/2014/main" id="{FFD7BB3F-D791-92C4-6DCA-7CD0AB8D1DDA}"/>
              </a:ext>
            </a:extLst>
          </p:cNvPr>
          <p:cNvSpPr/>
          <p:nvPr/>
        </p:nvSpPr>
        <p:spPr>
          <a:xfrm rot="1141104">
            <a:off x="7275595" y="106247"/>
            <a:ext cx="1799300" cy="2183723"/>
          </a:xfrm>
          <a:custGeom>
            <a:avLst/>
            <a:gdLst>
              <a:gd name="connsiteX0" fmla="*/ 1674991 w 1799300"/>
              <a:gd name="connsiteY0" fmla="*/ 377194 h 2183723"/>
              <a:gd name="connsiteX1" fmla="*/ 1685860 w 1799300"/>
              <a:gd name="connsiteY1" fmla="*/ 374847 h 2183723"/>
              <a:gd name="connsiteX2" fmla="*/ 1685111 w 1799300"/>
              <a:gd name="connsiteY2" fmla="*/ 342971 h 2183723"/>
              <a:gd name="connsiteX3" fmla="*/ 1708598 w 1799300"/>
              <a:gd name="connsiteY3" fmla="*/ 318632 h 2183723"/>
              <a:gd name="connsiteX4" fmla="*/ 1730337 w 1799300"/>
              <a:gd name="connsiteY4" fmla="*/ 314802 h 2183723"/>
              <a:gd name="connsiteX5" fmla="*/ 1743705 w 1799300"/>
              <a:gd name="connsiteY5" fmla="*/ 295158 h 2183723"/>
              <a:gd name="connsiteX6" fmla="*/ 1740582 w 1799300"/>
              <a:gd name="connsiteY6" fmla="*/ 269336 h 2183723"/>
              <a:gd name="connsiteX7" fmla="*/ 1755823 w 1799300"/>
              <a:gd name="connsiteY7" fmla="*/ 267359 h 2183723"/>
              <a:gd name="connsiteX8" fmla="*/ 1775063 w 1799300"/>
              <a:gd name="connsiteY8" fmla="*/ 274031 h 2183723"/>
              <a:gd name="connsiteX9" fmla="*/ 1785683 w 1799300"/>
              <a:gd name="connsiteY9" fmla="*/ 259452 h 2183723"/>
              <a:gd name="connsiteX10" fmla="*/ 1784059 w 1799300"/>
              <a:gd name="connsiteY10" fmla="*/ 240920 h 2183723"/>
              <a:gd name="connsiteX11" fmla="*/ 1778811 w 1799300"/>
              <a:gd name="connsiteY11" fmla="*/ 240549 h 2183723"/>
              <a:gd name="connsiteX12" fmla="*/ 1764944 w 1799300"/>
              <a:gd name="connsiteY12" fmla="*/ 230913 h 2183723"/>
              <a:gd name="connsiteX13" fmla="*/ 1757947 w 1799300"/>
              <a:gd name="connsiteY13" fmla="*/ 231160 h 2183723"/>
              <a:gd name="connsiteX14" fmla="*/ 1751951 w 1799300"/>
              <a:gd name="connsiteY14" fmla="*/ 235237 h 2183723"/>
              <a:gd name="connsiteX15" fmla="*/ 1751701 w 1799300"/>
              <a:gd name="connsiteY15" fmla="*/ 245862 h 2183723"/>
              <a:gd name="connsiteX16" fmla="*/ 1744080 w 1799300"/>
              <a:gd name="connsiteY16" fmla="*/ 238943 h 2183723"/>
              <a:gd name="connsiteX17" fmla="*/ 1739082 w 1799300"/>
              <a:gd name="connsiteY17" fmla="*/ 228936 h 2183723"/>
              <a:gd name="connsiteX18" fmla="*/ 1728963 w 1799300"/>
              <a:gd name="connsiteY18" fmla="*/ 228936 h 2183723"/>
              <a:gd name="connsiteX19" fmla="*/ 1731461 w 1799300"/>
              <a:gd name="connsiteY19" fmla="*/ 238820 h 2183723"/>
              <a:gd name="connsiteX20" fmla="*/ 1729837 w 1799300"/>
              <a:gd name="connsiteY20" fmla="*/ 258093 h 2183723"/>
              <a:gd name="connsiteX21" fmla="*/ 1723091 w 1799300"/>
              <a:gd name="connsiteY21" fmla="*/ 254263 h 2183723"/>
              <a:gd name="connsiteX22" fmla="*/ 1714595 w 1799300"/>
              <a:gd name="connsiteY22" fmla="*/ 241908 h 2183723"/>
              <a:gd name="connsiteX23" fmla="*/ 1701477 w 1799300"/>
              <a:gd name="connsiteY23" fmla="*/ 251051 h 2183723"/>
              <a:gd name="connsiteX24" fmla="*/ 1697354 w 1799300"/>
              <a:gd name="connsiteY24" fmla="*/ 261182 h 2183723"/>
              <a:gd name="connsiteX25" fmla="*/ 1692232 w 1799300"/>
              <a:gd name="connsiteY25" fmla="*/ 246974 h 2183723"/>
              <a:gd name="connsiteX26" fmla="*/ 1686985 w 1799300"/>
              <a:gd name="connsiteY26" fmla="*/ 227700 h 2183723"/>
              <a:gd name="connsiteX27" fmla="*/ 1679988 w 1799300"/>
              <a:gd name="connsiteY27" fmla="*/ 226959 h 2183723"/>
              <a:gd name="connsiteX28" fmla="*/ 1671868 w 1799300"/>
              <a:gd name="connsiteY28" fmla="*/ 207438 h 2183723"/>
              <a:gd name="connsiteX29" fmla="*/ 1664497 w 1799300"/>
              <a:gd name="connsiteY29" fmla="*/ 203608 h 2183723"/>
              <a:gd name="connsiteX30" fmla="*/ 1649380 w 1799300"/>
              <a:gd name="connsiteY30" fmla="*/ 206326 h 2183723"/>
              <a:gd name="connsiteX31" fmla="*/ 1636012 w 1799300"/>
              <a:gd name="connsiteY31" fmla="*/ 201384 h 2183723"/>
              <a:gd name="connsiteX32" fmla="*/ 1614398 w 1799300"/>
              <a:gd name="connsiteY32" fmla="*/ 199902 h 2183723"/>
              <a:gd name="connsiteX33" fmla="*/ 1603029 w 1799300"/>
              <a:gd name="connsiteY33" fmla="*/ 186311 h 2183723"/>
              <a:gd name="connsiteX34" fmla="*/ 1606652 w 1799300"/>
              <a:gd name="connsiteY34" fmla="*/ 182729 h 2183723"/>
              <a:gd name="connsiteX35" fmla="*/ 1634013 w 1799300"/>
              <a:gd name="connsiteY35" fmla="*/ 188782 h 2183723"/>
              <a:gd name="connsiteX36" fmla="*/ 1656001 w 1799300"/>
              <a:gd name="connsiteY36" fmla="*/ 185076 h 2183723"/>
              <a:gd name="connsiteX37" fmla="*/ 1675116 w 1799300"/>
              <a:gd name="connsiteY37" fmla="*/ 187670 h 2183723"/>
              <a:gd name="connsiteX38" fmla="*/ 1711222 w 1799300"/>
              <a:gd name="connsiteY38" fmla="*/ 190883 h 2183723"/>
              <a:gd name="connsiteX39" fmla="*/ 1735834 w 1799300"/>
              <a:gd name="connsiteY39" fmla="*/ 181246 h 2183723"/>
              <a:gd name="connsiteX40" fmla="*/ 1750701 w 1799300"/>
              <a:gd name="connsiteY40" fmla="*/ 148382 h 2183723"/>
              <a:gd name="connsiteX41" fmla="*/ 1784933 w 1799300"/>
              <a:gd name="connsiteY41" fmla="*/ 138004 h 2183723"/>
              <a:gd name="connsiteX42" fmla="*/ 1799300 w 1799300"/>
              <a:gd name="connsiteY42" fmla="*/ 125031 h 2183723"/>
              <a:gd name="connsiteX43" fmla="*/ 1799051 w 1799300"/>
              <a:gd name="connsiteY43" fmla="*/ 119842 h 2183723"/>
              <a:gd name="connsiteX44" fmla="*/ 1787807 w 1799300"/>
              <a:gd name="connsiteY44" fmla="*/ 116506 h 2183723"/>
              <a:gd name="connsiteX45" fmla="*/ 1784059 w 1799300"/>
              <a:gd name="connsiteY45" fmla="*/ 109464 h 2183723"/>
              <a:gd name="connsiteX46" fmla="*/ 1771065 w 1799300"/>
              <a:gd name="connsiteY46" fmla="*/ 105881 h 2183723"/>
              <a:gd name="connsiteX47" fmla="*/ 1755324 w 1799300"/>
              <a:gd name="connsiteY47" fmla="*/ 109341 h 2183723"/>
              <a:gd name="connsiteX48" fmla="*/ 1732086 w 1799300"/>
              <a:gd name="connsiteY48" fmla="*/ 91797 h 2183723"/>
              <a:gd name="connsiteX49" fmla="*/ 1719967 w 1799300"/>
              <a:gd name="connsiteY49" fmla="*/ 92291 h 2183723"/>
              <a:gd name="connsiteX50" fmla="*/ 1706100 w 1799300"/>
              <a:gd name="connsiteY50" fmla="*/ 108970 h 2183723"/>
              <a:gd name="connsiteX51" fmla="*/ 1696855 w 1799300"/>
              <a:gd name="connsiteY51" fmla="*/ 109341 h 2183723"/>
              <a:gd name="connsiteX52" fmla="*/ 1693731 w 1799300"/>
              <a:gd name="connsiteY52" fmla="*/ 103287 h 2183723"/>
              <a:gd name="connsiteX53" fmla="*/ 1707849 w 1799300"/>
              <a:gd name="connsiteY53" fmla="*/ 93403 h 2183723"/>
              <a:gd name="connsiteX54" fmla="*/ 1709723 w 1799300"/>
              <a:gd name="connsiteY54" fmla="*/ 81048 h 2183723"/>
              <a:gd name="connsiteX55" fmla="*/ 1691732 w 1799300"/>
              <a:gd name="connsiteY55" fmla="*/ 74994 h 2183723"/>
              <a:gd name="connsiteX56" fmla="*/ 1687984 w 1799300"/>
              <a:gd name="connsiteY56" fmla="*/ 70299 h 2183723"/>
              <a:gd name="connsiteX57" fmla="*/ 1675241 w 1799300"/>
              <a:gd name="connsiteY57" fmla="*/ 71535 h 2183723"/>
              <a:gd name="connsiteX58" fmla="*/ 1664372 w 1799300"/>
              <a:gd name="connsiteY58" fmla="*/ 92167 h 2183723"/>
              <a:gd name="connsiteX59" fmla="*/ 1657750 w 1799300"/>
              <a:gd name="connsiteY59" fmla="*/ 92414 h 2183723"/>
              <a:gd name="connsiteX60" fmla="*/ 1658500 w 1799300"/>
              <a:gd name="connsiteY60" fmla="*/ 77959 h 2183723"/>
              <a:gd name="connsiteX61" fmla="*/ 1650629 w 1799300"/>
              <a:gd name="connsiteY61" fmla="*/ 79689 h 2183723"/>
              <a:gd name="connsiteX62" fmla="*/ 1643758 w 1799300"/>
              <a:gd name="connsiteY62" fmla="*/ 90561 h 2183723"/>
              <a:gd name="connsiteX63" fmla="*/ 1635762 w 1799300"/>
              <a:gd name="connsiteY63" fmla="*/ 90191 h 2183723"/>
              <a:gd name="connsiteX64" fmla="*/ 1632264 w 1799300"/>
              <a:gd name="connsiteY64" fmla="*/ 81048 h 2183723"/>
              <a:gd name="connsiteX65" fmla="*/ 1643633 w 1799300"/>
              <a:gd name="connsiteY65" fmla="*/ 72276 h 2183723"/>
              <a:gd name="connsiteX66" fmla="*/ 1643133 w 1799300"/>
              <a:gd name="connsiteY66" fmla="*/ 61651 h 2183723"/>
              <a:gd name="connsiteX67" fmla="*/ 1625392 w 1799300"/>
              <a:gd name="connsiteY67" fmla="*/ 51767 h 2183723"/>
              <a:gd name="connsiteX68" fmla="*/ 1608026 w 1799300"/>
              <a:gd name="connsiteY68" fmla="*/ 52138 h 2183723"/>
              <a:gd name="connsiteX69" fmla="*/ 1597532 w 1799300"/>
              <a:gd name="connsiteY69" fmla="*/ 59056 h 2183723"/>
              <a:gd name="connsiteX70" fmla="*/ 1595908 w 1799300"/>
              <a:gd name="connsiteY70" fmla="*/ 84137 h 2183723"/>
              <a:gd name="connsiteX71" fmla="*/ 1584039 w 1799300"/>
              <a:gd name="connsiteY71" fmla="*/ 89820 h 2183723"/>
              <a:gd name="connsiteX72" fmla="*/ 1583040 w 1799300"/>
              <a:gd name="connsiteY72" fmla="*/ 98468 h 2183723"/>
              <a:gd name="connsiteX73" fmla="*/ 1594534 w 1799300"/>
              <a:gd name="connsiteY73" fmla="*/ 123672 h 2183723"/>
              <a:gd name="connsiteX74" fmla="*/ 1593659 w 1799300"/>
              <a:gd name="connsiteY74" fmla="*/ 135039 h 2183723"/>
              <a:gd name="connsiteX75" fmla="*/ 1584664 w 1799300"/>
              <a:gd name="connsiteY75" fmla="*/ 143934 h 2183723"/>
              <a:gd name="connsiteX76" fmla="*/ 1576418 w 1799300"/>
              <a:gd name="connsiteY76" fmla="*/ 128491 h 2183723"/>
              <a:gd name="connsiteX77" fmla="*/ 1565299 w 1799300"/>
              <a:gd name="connsiteY77" fmla="*/ 127996 h 2183723"/>
              <a:gd name="connsiteX78" fmla="*/ 1562800 w 1799300"/>
              <a:gd name="connsiteY78" fmla="*/ 133927 h 2183723"/>
              <a:gd name="connsiteX79" fmla="*/ 1547808 w 1799300"/>
              <a:gd name="connsiteY79" fmla="*/ 131826 h 2183723"/>
              <a:gd name="connsiteX80" fmla="*/ 1526070 w 1799300"/>
              <a:gd name="connsiteY80" fmla="*/ 142699 h 2183723"/>
              <a:gd name="connsiteX81" fmla="*/ 1542311 w 1799300"/>
              <a:gd name="connsiteY81" fmla="*/ 117989 h 2183723"/>
              <a:gd name="connsiteX82" fmla="*/ 1555679 w 1799300"/>
              <a:gd name="connsiteY82" fmla="*/ 114035 h 2183723"/>
              <a:gd name="connsiteX83" fmla="*/ 1563550 w 1799300"/>
              <a:gd name="connsiteY83" fmla="*/ 96492 h 2183723"/>
              <a:gd name="connsiteX84" fmla="*/ 1560801 w 1799300"/>
              <a:gd name="connsiteY84" fmla="*/ 88090 h 2183723"/>
              <a:gd name="connsiteX85" fmla="*/ 1554180 w 1799300"/>
              <a:gd name="connsiteY85" fmla="*/ 89326 h 2183723"/>
              <a:gd name="connsiteX86" fmla="*/ 1536814 w 1799300"/>
              <a:gd name="connsiteY86" fmla="*/ 103410 h 2183723"/>
              <a:gd name="connsiteX87" fmla="*/ 1526320 w 1799300"/>
              <a:gd name="connsiteY87" fmla="*/ 100816 h 2183723"/>
              <a:gd name="connsiteX88" fmla="*/ 1528443 w 1799300"/>
              <a:gd name="connsiteY88" fmla="*/ 92909 h 2183723"/>
              <a:gd name="connsiteX89" fmla="*/ 1539812 w 1799300"/>
              <a:gd name="connsiteY89" fmla="*/ 82778 h 2183723"/>
              <a:gd name="connsiteX90" fmla="*/ 1540562 w 1799300"/>
              <a:gd name="connsiteY90" fmla="*/ 75241 h 2183723"/>
              <a:gd name="connsiteX91" fmla="*/ 1524446 w 1799300"/>
              <a:gd name="connsiteY91" fmla="*/ 72152 h 2183723"/>
              <a:gd name="connsiteX92" fmla="*/ 1520947 w 1799300"/>
              <a:gd name="connsiteY92" fmla="*/ 65481 h 2183723"/>
              <a:gd name="connsiteX93" fmla="*/ 1533941 w 1799300"/>
              <a:gd name="connsiteY93" fmla="*/ 60786 h 2183723"/>
              <a:gd name="connsiteX94" fmla="*/ 1539688 w 1799300"/>
              <a:gd name="connsiteY94" fmla="*/ 65728 h 2183723"/>
              <a:gd name="connsiteX95" fmla="*/ 1559052 w 1799300"/>
              <a:gd name="connsiteY95" fmla="*/ 64863 h 2183723"/>
              <a:gd name="connsiteX96" fmla="*/ 1568922 w 1799300"/>
              <a:gd name="connsiteY96" fmla="*/ 36323 h 2183723"/>
              <a:gd name="connsiteX97" fmla="*/ 1565299 w 1799300"/>
              <a:gd name="connsiteY97" fmla="*/ 24833 h 2183723"/>
              <a:gd name="connsiteX98" fmla="*/ 1547558 w 1799300"/>
              <a:gd name="connsiteY98" fmla="*/ 30022 h 2183723"/>
              <a:gd name="connsiteX99" fmla="*/ 1538938 w 1799300"/>
              <a:gd name="connsiteY99" fmla="*/ 24833 h 2183723"/>
              <a:gd name="connsiteX100" fmla="*/ 1541811 w 1799300"/>
              <a:gd name="connsiteY100" fmla="*/ 11737 h 2183723"/>
              <a:gd name="connsiteX101" fmla="*/ 1536439 w 1799300"/>
              <a:gd name="connsiteY101" fmla="*/ 0 h 2183723"/>
              <a:gd name="connsiteX102" fmla="*/ 1525070 w 1799300"/>
              <a:gd name="connsiteY102" fmla="*/ 10749 h 2183723"/>
              <a:gd name="connsiteX103" fmla="*/ 1515325 w 1799300"/>
              <a:gd name="connsiteY103" fmla="*/ 10131 h 2183723"/>
              <a:gd name="connsiteX104" fmla="*/ 1504581 w 1799300"/>
              <a:gd name="connsiteY104" fmla="*/ 1730 h 2183723"/>
              <a:gd name="connsiteX105" fmla="*/ 1491963 w 1799300"/>
              <a:gd name="connsiteY105" fmla="*/ 14579 h 2183723"/>
              <a:gd name="connsiteX106" fmla="*/ 1492962 w 1799300"/>
              <a:gd name="connsiteY106" fmla="*/ 23104 h 2183723"/>
              <a:gd name="connsiteX107" fmla="*/ 1504331 w 1799300"/>
              <a:gd name="connsiteY107" fmla="*/ 35953 h 2183723"/>
              <a:gd name="connsiteX108" fmla="*/ 1497460 w 1799300"/>
              <a:gd name="connsiteY108" fmla="*/ 46207 h 2183723"/>
              <a:gd name="connsiteX109" fmla="*/ 1489589 w 1799300"/>
              <a:gd name="connsiteY109" fmla="*/ 46578 h 2183723"/>
              <a:gd name="connsiteX110" fmla="*/ 1475971 w 1799300"/>
              <a:gd name="connsiteY110" fmla="*/ 29034 h 2183723"/>
              <a:gd name="connsiteX111" fmla="*/ 1466976 w 1799300"/>
              <a:gd name="connsiteY111" fmla="*/ 37929 h 2183723"/>
              <a:gd name="connsiteX112" fmla="*/ 1462853 w 1799300"/>
              <a:gd name="connsiteY112" fmla="*/ 53497 h 2183723"/>
              <a:gd name="connsiteX113" fmla="*/ 1467351 w 1799300"/>
              <a:gd name="connsiteY113" fmla="*/ 59798 h 2183723"/>
              <a:gd name="connsiteX114" fmla="*/ 1481218 w 1799300"/>
              <a:gd name="connsiteY114" fmla="*/ 59550 h 2183723"/>
              <a:gd name="connsiteX115" fmla="*/ 1488090 w 1799300"/>
              <a:gd name="connsiteY115" fmla="*/ 65481 h 2183723"/>
              <a:gd name="connsiteX116" fmla="*/ 1486965 w 1799300"/>
              <a:gd name="connsiteY116" fmla="*/ 73017 h 2183723"/>
              <a:gd name="connsiteX117" fmla="*/ 1476221 w 1799300"/>
              <a:gd name="connsiteY117" fmla="*/ 78330 h 2183723"/>
              <a:gd name="connsiteX118" fmla="*/ 1476721 w 1799300"/>
              <a:gd name="connsiteY118" fmla="*/ 90932 h 2183723"/>
              <a:gd name="connsiteX119" fmla="*/ 1466226 w 1799300"/>
              <a:gd name="connsiteY119" fmla="*/ 96862 h 2183723"/>
              <a:gd name="connsiteX120" fmla="*/ 1466726 w 1799300"/>
              <a:gd name="connsiteY120" fmla="*/ 108846 h 2183723"/>
              <a:gd name="connsiteX121" fmla="*/ 1470099 w 1799300"/>
              <a:gd name="connsiteY121" fmla="*/ 114159 h 2183723"/>
              <a:gd name="connsiteX122" fmla="*/ 1460354 w 1799300"/>
              <a:gd name="connsiteY122" fmla="*/ 121078 h 2183723"/>
              <a:gd name="connsiteX123" fmla="*/ 1466976 w 1799300"/>
              <a:gd name="connsiteY123" fmla="*/ 138622 h 2183723"/>
              <a:gd name="connsiteX124" fmla="*/ 1462103 w 1799300"/>
              <a:gd name="connsiteY124" fmla="*/ 144676 h 2183723"/>
              <a:gd name="connsiteX125" fmla="*/ 1449985 w 1799300"/>
              <a:gd name="connsiteY125" fmla="*/ 137016 h 2183723"/>
              <a:gd name="connsiteX126" fmla="*/ 1439615 w 1799300"/>
              <a:gd name="connsiteY126" fmla="*/ 145664 h 2183723"/>
              <a:gd name="connsiteX127" fmla="*/ 1437491 w 1799300"/>
              <a:gd name="connsiteY127" fmla="*/ 152583 h 2183723"/>
              <a:gd name="connsiteX128" fmla="*/ 1426122 w 1799300"/>
              <a:gd name="connsiteY128" fmla="*/ 161355 h 2183723"/>
              <a:gd name="connsiteX129" fmla="*/ 1424373 w 1799300"/>
              <a:gd name="connsiteY129" fmla="*/ 144305 h 2183723"/>
              <a:gd name="connsiteX130" fmla="*/ 1437866 w 1799300"/>
              <a:gd name="connsiteY130" fmla="*/ 111812 h 2183723"/>
              <a:gd name="connsiteX131" fmla="*/ 1423124 w 1799300"/>
              <a:gd name="connsiteY131" fmla="*/ 107240 h 2183723"/>
              <a:gd name="connsiteX132" fmla="*/ 1424123 w 1799300"/>
              <a:gd name="connsiteY132" fmla="*/ 98963 h 2183723"/>
              <a:gd name="connsiteX133" fmla="*/ 1434118 w 1799300"/>
              <a:gd name="connsiteY133" fmla="*/ 88214 h 2183723"/>
              <a:gd name="connsiteX134" fmla="*/ 1433244 w 1799300"/>
              <a:gd name="connsiteY134" fmla="*/ 60910 h 2183723"/>
              <a:gd name="connsiteX135" fmla="*/ 1427372 w 1799300"/>
              <a:gd name="connsiteY135" fmla="*/ 52261 h 2183723"/>
              <a:gd name="connsiteX136" fmla="*/ 1418751 w 1799300"/>
              <a:gd name="connsiteY136" fmla="*/ 53002 h 2183723"/>
              <a:gd name="connsiteX137" fmla="*/ 1397513 w 1799300"/>
              <a:gd name="connsiteY137" fmla="*/ 91302 h 2183723"/>
              <a:gd name="connsiteX138" fmla="*/ 1397762 w 1799300"/>
              <a:gd name="connsiteY138" fmla="*/ 112182 h 2183723"/>
              <a:gd name="connsiteX139" fmla="*/ 1375899 w 1799300"/>
              <a:gd name="connsiteY139" fmla="*/ 144552 h 2183723"/>
              <a:gd name="connsiteX140" fmla="*/ 1371276 w 1799300"/>
              <a:gd name="connsiteY140" fmla="*/ 167038 h 2183723"/>
              <a:gd name="connsiteX141" fmla="*/ 1376524 w 1799300"/>
              <a:gd name="connsiteY141" fmla="*/ 176428 h 2183723"/>
              <a:gd name="connsiteX142" fmla="*/ 1374900 w 1799300"/>
              <a:gd name="connsiteY142" fmla="*/ 194713 h 2183723"/>
              <a:gd name="connsiteX143" fmla="*/ 1352411 w 1799300"/>
              <a:gd name="connsiteY143" fmla="*/ 221399 h 2183723"/>
              <a:gd name="connsiteX144" fmla="*/ 1340543 w 1799300"/>
              <a:gd name="connsiteY144" fmla="*/ 227330 h 2183723"/>
              <a:gd name="connsiteX145" fmla="*/ 1339918 w 1799300"/>
              <a:gd name="connsiteY145" fmla="*/ 211639 h 2183723"/>
              <a:gd name="connsiteX146" fmla="*/ 1333921 w 1799300"/>
              <a:gd name="connsiteY146" fmla="*/ 200643 h 2183723"/>
              <a:gd name="connsiteX147" fmla="*/ 1348164 w 1799300"/>
              <a:gd name="connsiteY147" fmla="*/ 176057 h 2183723"/>
              <a:gd name="connsiteX148" fmla="*/ 1344291 w 1799300"/>
              <a:gd name="connsiteY148" fmla="*/ 160490 h 2183723"/>
              <a:gd name="connsiteX149" fmla="*/ 1350038 w 1799300"/>
              <a:gd name="connsiteY149" fmla="*/ 148258 h 2183723"/>
              <a:gd name="connsiteX150" fmla="*/ 1342042 w 1799300"/>
              <a:gd name="connsiteY150" fmla="*/ 132815 h 2183723"/>
              <a:gd name="connsiteX151" fmla="*/ 1367403 w 1799300"/>
              <a:gd name="connsiteY151" fmla="*/ 102545 h 2183723"/>
              <a:gd name="connsiteX152" fmla="*/ 1371151 w 1799300"/>
              <a:gd name="connsiteY152" fmla="*/ 84878 h 2183723"/>
              <a:gd name="connsiteX153" fmla="*/ 1375149 w 1799300"/>
              <a:gd name="connsiteY153" fmla="*/ 81666 h 2183723"/>
              <a:gd name="connsiteX154" fmla="*/ 1373026 w 1799300"/>
              <a:gd name="connsiteY154" fmla="*/ 71782 h 2183723"/>
              <a:gd name="connsiteX155" fmla="*/ 1358783 w 1799300"/>
              <a:gd name="connsiteY155" fmla="*/ 71041 h 2183723"/>
              <a:gd name="connsiteX156" fmla="*/ 1343541 w 1799300"/>
              <a:gd name="connsiteY156" fmla="*/ 56956 h 2183723"/>
              <a:gd name="connsiteX157" fmla="*/ 1336420 w 1799300"/>
              <a:gd name="connsiteY157" fmla="*/ 59674 h 2183723"/>
              <a:gd name="connsiteX158" fmla="*/ 1339543 w 1799300"/>
              <a:gd name="connsiteY158" fmla="*/ 75612 h 2183723"/>
              <a:gd name="connsiteX159" fmla="*/ 1329673 w 1799300"/>
              <a:gd name="connsiteY159" fmla="*/ 87720 h 2183723"/>
              <a:gd name="connsiteX160" fmla="*/ 1328299 w 1799300"/>
              <a:gd name="connsiteY160" fmla="*/ 72029 h 2183723"/>
              <a:gd name="connsiteX161" fmla="*/ 1315681 w 1799300"/>
              <a:gd name="connsiteY161" fmla="*/ 60910 h 2183723"/>
              <a:gd name="connsiteX162" fmla="*/ 1300689 w 1799300"/>
              <a:gd name="connsiteY162" fmla="*/ 58439 h 2183723"/>
              <a:gd name="connsiteX163" fmla="*/ 1289819 w 1799300"/>
              <a:gd name="connsiteY163" fmla="*/ 64740 h 2183723"/>
              <a:gd name="connsiteX164" fmla="*/ 1293193 w 1799300"/>
              <a:gd name="connsiteY164" fmla="*/ 86484 h 2183723"/>
              <a:gd name="connsiteX165" fmla="*/ 1288070 w 1799300"/>
              <a:gd name="connsiteY165" fmla="*/ 97356 h 2183723"/>
              <a:gd name="connsiteX166" fmla="*/ 1280075 w 1799300"/>
              <a:gd name="connsiteY166" fmla="*/ 88461 h 2183723"/>
              <a:gd name="connsiteX167" fmla="*/ 1269830 w 1799300"/>
              <a:gd name="connsiteY167" fmla="*/ 83025 h 2183723"/>
              <a:gd name="connsiteX168" fmla="*/ 1262459 w 1799300"/>
              <a:gd name="connsiteY168" fmla="*/ 90932 h 2183723"/>
              <a:gd name="connsiteX169" fmla="*/ 1265207 w 1799300"/>
              <a:gd name="connsiteY169" fmla="*/ 97603 h 2183723"/>
              <a:gd name="connsiteX170" fmla="*/ 1286571 w 1799300"/>
              <a:gd name="connsiteY170" fmla="*/ 110453 h 2183723"/>
              <a:gd name="connsiteX171" fmla="*/ 1292068 w 1799300"/>
              <a:gd name="connsiteY171" fmla="*/ 125649 h 2183723"/>
              <a:gd name="connsiteX172" fmla="*/ 1287446 w 1799300"/>
              <a:gd name="connsiteY172" fmla="*/ 131332 h 2183723"/>
              <a:gd name="connsiteX173" fmla="*/ 1278076 w 1799300"/>
              <a:gd name="connsiteY173" fmla="*/ 122560 h 2183723"/>
              <a:gd name="connsiteX174" fmla="*/ 1267456 w 1799300"/>
              <a:gd name="connsiteY174" fmla="*/ 132938 h 2183723"/>
              <a:gd name="connsiteX175" fmla="*/ 1266832 w 1799300"/>
              <a:gd name="connsiteY175" fmla="*/ 142575 h 2183723"/>
              <a:gd name="connsiteX176" fmla="*/ 1272329 w 1799300"/>
              <a:gd name="connsiteY176" fmla="*/ 149247 h 2183723"/>
              <a:gd name="connsiteX177" fmla="*/ 1267081 w 1799300"/>
              <a:gd name="connsiteY177" fmla="*/ 155301 h 2183723"/>
              <a:gd name="connsiteX178" fmla="*/ 1250340 w 1799300"/>
              <a:gd name="connsiteY178" fmla="*/ 145417 h 2183723"/>
              <a:gd name="connsiteX179" fmla="*/ 1241720 w 1799300"/>
              <a:gd name="connsiteY179" fmla="*/ 146405 h 2183723"/>
              <a:gd name="connsiteX180" fmla="*/ 1233224 w 1799300"/>
              <a:gd name="connsiteY180" fmla="*/ 165679 h 2183723"/>
              <a:gd name="connsiteX181" fmla="*/ 1221356 w 1799300"/>
              <a:gd name="connsiteY181" fmla="*/ 171362 h 2183723"/>
              <a:gd name="connsiteX182" fmla="*/ 1221605 w 1799300"/>
              <a:gd name="connsiteY182" fmla="*/ 178157 h 2183723"/>
              <a:gd name="connsiteX183" fmla="*/ 1229101 w 1799300"/>
              <a:gd name="connsiteY183" fmla="*/ 182976 h 2183723"/>
              <a:gd name="connsiteX184" fmla="*/ 1212610 w 1799300"/>
              <a:gd name="connsiteY184" fmla="*/ 194589 h 2183723"/>
              <a:gd name="connsiteX185" fmla="*/ 1209362 w 1799300"/>
              <a:gd name="connsiteY185" fmla="*/ 208056 h 2183723"/>
              <a:gd name="connsiteX186" fmla="*/ 1223854 w 1799300"/>
              <a:gd name="connsiteY186" fmla="*/ 221770 h 2183723"/>
              <a:gd name="connsiteX187" fmla="*/ 1213984 w 1799300"/>
              <a:gd name="connsiteY187" fmla="*/ 232519 h 2183723"/>
              <a:gd name="connsiteX188" fmla="*/ 1228102 w 1799300"/>
              <a:gd name="connsiteY188" fmla="*/ 238449 h 2183723"/>
              <a:gd name="connsiteX189" fmla="*/ 1234599 w 1799300"/>
              <a:gd name="connsiteY189" fmla="*/ 244750 h 2183723"/>
              <a:gd name="connsiteX190" fmla="*/ 1227352 w 1799300"/>
              <a:gd name="connsiteY190" fmla="*/ 252904 h 2183723"/>
              <a:gd name="connsiteX191" fmla="*/ 1204739 w 1799300"/>
              <a:gd name="connsiteY191" fmla="*/ 251792 h 2183723"/>
              <a:gd name="connsiteX192" fmla="*/ 1197868 w 1799300"/>
              <a:gd name="connsiteY192" fmla="*/ 228442 h 2183723"/>
              <a:gd name="connsiteX193" fmla="*/ 1186999 w 1799300"/>
              <a:gd name="connsiteY193" fmla="*/ 225847 h 2183723"/>
              <a:gd name="connsiteX194" fmla="*/ 1196619 w 1799300"/>
              <a:gd name="connsiteY194" fmla="*/ 214481 h 2183723"/>
              <a:gd name="connsiteX195" fmla="*/ 1182126 w 1799300"/>
              <a:gd name="connsiteY195" fmla="*/ 207562 h 2183723"/>
              <a:gd name="connsiteX196" fmla="*/ 1166634 w 1799300"/>
              <a:gd name="connsiteY196" fmla="*/ 209909 h 2183723"/>
              <a:gd name="connsiteX197" fmla="*/ 1146520 w 1799300"/>
              <a:gd name="connsiteY197" fmla="*/ 209415 h 2183723"/>
              <a:gd name="connsiteX198" fmla="*/ 1117535 w 1799300"/>
              <a:gd name="connsiteY198" fmla="*/ 188659 h 2183723"/>
              <a:gd name="connsiteX199" fmla="*/ 1109165 w 1799300"/>
              <a:gd name="connsiteY199" fmla="*/ 188659 h 2183723"/>
              <a:gd name="connsiteX200" fmla="*/ 1100294 w 1799300"/>
              <a:gd name="connsiteY200" fmla="*/ 200396 h 2183723"/>
              <a:gd name="connsiteX201" fmla="*/ 1093548 w 1799300"/>
              <a:gd name="connsiteY201" fmla="*/ 188659 h 2183723"/>
              <a:gd name="connsiteX202" fmla="*/ 1079930 w 1799300"/>
              <a:gd name="connsiteY202" fmla="*/ 201879 h 2183723"/>
              <a:gd name="connsiteX203" fmla="*/ 1063439 w 1799300"/>
              <a:gd name="connsiteY203" fmla="*/ 206326 h 2183723"/>
              <a:gd name="connsiteX204" fmla="*/ 1063064 w 1799300"/>
              <a:gd name="connsiteY204" fmla="*/ 213863 h 2183723"/>
              <a:gd name="connsiteX205" fmla="*/ 1083803 w 1799300"/>
              <a:gd name="connsiteY205" fmla="*/ 236225 h 2183723"/>
              <a:gd name="connsiteX206" fmla="*/ 1097921 w 1799300"/>
              <a:gd name="connsiteY206" fmla="*/ 235237 h 2183723"/>
              <a:gd name="connsiteX207" fmla="*/ 1106291 w 1799300"/>
              <a:gd name="connsiteY207" fmla="*/ 244132 h 2183723"/>
              <a:gd name="connsiteX208" fmla="*/ 1127030 w 1799300"/>
              <a:gd name="connsiteY208" fmla="*/ 244626 h 2183723"/>
              <a:gd name="connsiteX209" fmla="*/ 1118785 w 1799300"/>
              <a:gd name="connsiteY209" fmla="*/ 261800 h 2183723"/>
              <a:gd name="connsiteX210" fmla="*/ 1120159 w 1799300"/>
              <a:gd name="connsiteY210" fmla="*/ 277490 h 2183723"/>
              <a:gd name="connsiteX211" fmla="*/ 1135151 w 1799300"/>
              <a:gd name="connsiteY211" fmla="*/ 295652 h 2183723"/>
              <a:gd name="connsiteX212" fmla="*/ 1133652 w 1799300"/>
              <a:gd name="connsiteY212" fmla="*/ 308130 h 2183723"/>
              <a:gd name="connsiteX213" fmla="*/ 1121158 w 1799300"/>
              <a:gd name="connsiteY213" fmla="*/ 299729 h 2183723"/>
              <a:gd name="connsiteX214" fmla="*/ 1108165 w 1799300"/>
              <a:gd name="connsiteY214" fmla="*/ 280085 h 2183723"/>
              <a:gd name="connsiteX215" fmla="*/ 1091924 w 1799300"/>
              <a:gd name="connsiteY215" fmla="*/ 274278 h 2183723"/>
              <a:gd name="connsiteX216" fmla="*/ 1082054 w 1799300"/>
              <a:gd name="connsiteY216" fmla="*/ 263406 h 2183723"/>
              <a:gd name="connsiteX217" fmla="*/ 1077931 w 1799300"/>
              <a:gd name="connsiteY217" fmla="*/ 278973 h 2183723"/>
              <a:gd name="connsiteX218" fmla="*/ 1064938 w 1799300"/>
              <a:gd name="connsiteY218" fmla="*/ 290834 h 2183723"/>
              <a:gd name="connsiteX219" fmla="*/ 1060815 w 1799300"/>
              <a:gd name="connsiteY219" fmla="*/ 269460 h 2183723"/>
              <a:gd name="connsiteX220" fmla="*/ 1047822 w 1799300"/>
              <a:gd name="connsiteY220" fmla="*/ 281320 h 2183723"/>
              <a:gd name="connsiteX221" fmla="*/ 1047822 w 1799300"/>
              <a:gd name="connsiteY221" fmla="*/ 290587 h 2183723"/>
              <a:gd name="connsiteX222" fmla="*/ 1032580 w 1799300"/>
              <a:gd name="connsiteY222" fmla="*/ 304918 h 2183723"/>
              <a:gd name="connsiteX223" fmla="*/ 1034204 w 1799300"/>
              <a:gd name="connsiteY223" fmla="*/ 319250 h 2183723"/>
              <a:gd name="connsiteX224" fmla="*/ 1053694 w 1799300"/>
              <a:gd name="connsiteY224" fmla="*/ 327033 h 2183723"/>
              <a:gd name="connsiteX225" fmla="*/ 1062314 w 1799300"/>
              <a:gd name="connsiteY225" fmla="*/ 343465 h 2183723"/>
              <a:gd name="connsiteX226" fmla="*/ 1047697 w 1799300"/>
              <a:gd name="connsiteY226" fmla="*/ 341736 h 2183723"/>
              <a:gd name="connsiteX227" fmla="*/ 1039451 w 1799300"/>
              <a:gd name="connsiteY227" fmla="*/ 334199 h 2183723"/>
              <a:gd name="connsiteX228" fmla="*/ 1027833 w 1799300"/>
              <a:gd name="connsiteY228" fmla="*/ 352855 h 2183723"/>
              <a:gd name="connsiteX229" fmla="*/ 1024334 w 1799300"/>
              <a:gd name="connsiteY229" fmla="*/ 367063 h 2183723"/>
              <a:gd name="connsiteX230" fmla="*/ 1004970 w 1799300"/>
              <a:gd name="connsiteY230" fmla="*/ 383619 h 2183723"/>
              <a:gd name="connsiteX231" fmla="*/ 1004220 w 1799300"/>
              <a:gd name="connsiteY231" fmla="*/ 373982 h 2183723"/>
              <a:gd name="connsiteX232" fmla="*/ 1017338 w 1799300"/>
              <a:gd name="connsiteY232" fmla="*/ 363851 h 2183723"/>
              <a:gd name="connsiteX233" fmla="*/ 1012216 w 1799300"/>
              <a:gd name="connsiteY233" fmla="*/ 351373 h 2183723"/>
              <a:gd name="connsiteX234" fmla="*/ 1023960 w 1799300"/>
              <a:gd name="connsiteY234" fmla="*/ 325551 h 2183723"/>
              <a:gd name="connsiteX235" fmla="*/ 1011716 w 1799300"/>
              <a:gd name="connsiteY235" fmla="*/ 275019 h 2183723"/>
              <a:gd name="connsiteX236" fmla="*/ 998973 w 1799300"/>
              <a:gd name="connsiteY236" fmla="*/ 283791 h 2183723"/>
              <a:gd name="connsiteX237" fmla="*/ 979733 w 1799300"/>
              <a:gd name="connsiteY237" fmla="*/ 317520 h 2183723"/>
              <a:gd name="connsiteX238" fmla="*/ 980233 w 1799300"/>
              <a:gd name="connsiteY238" fmla="*/ 339388 h 2183723"/>
              <a:gd name="connsiteX239" fmla="*/ 983731 w 1799300"/>
              <a:gd name="connsiteY239" fmla="*/ 348160 h 2183723"/>
              <a:gd name="connsiteX240" fmla="*/ 970363 w 1799300"/>
              <a:gd name="connsiteY240" fmla="*/ 366569 h 2183723"/>
              <a:gd name="connsiteX241" fmla="*/ 967864 w 1799300"/>
              <a:gd name="connsiteY241" fmla="*/ 349519 h 2183723"/>
              <a:gd name="connsiteX242" fmla="*/ 975735 w 1799300"/>
              <a:gd name="connsiteY242" fmla="*/ 330369 h 2183723"/>
              <a:gd name="connsiteX243" fmla="*/ 967989 w 1799300"/>
              <a:gd name="connsiteY243" fmla="*/ 306030 h 2183723"/>
              <a:gd name="connsiteX244" fmla="*/ 958619 w 1799300"/>
              <a:gd name="connsiteY244" fmla="*/ 304424 h 2183723"/>
              <a:gd name="connsiteX245" fmla="*/ 941503 w 1799300"/>
              <a:gd name="connsiteY245" fmla="*/ 316408 h 2183723"/>
              <a:gd name="connsiteX246" fmla="*/ 930384 w 1799300"/>
              <a:gd name="connsiteY246" fmla="*/ 339512 h 2183723"/>
              <a:gd name="connsiteX247" fmla="*/ 939129 w 1799300"/>
              <a:gd name="connsiteY247" fmla="*/ 356562 h 2183723"/>
              <a:gd name="connsiteX248" fmla="*/ 938755 w 1799300"/>
              <a:gd name="connsiteY248" fmla="*/ 372376 h 2183723"/>
              <a:gd name="connsiteX249" fmla="*/ 964366 w 1799300"/>
              <a:gd name="connsiteY249" fmla="*/ 389055 h 2183723"/>
              <a:gd name="connsiteX250" fmla="*/ 971862 w 1799300"/>
              <a:gd name="connsiteY250" fmla="*/ 401039 h 2183723"/>
              <a:gd name="connsiteX251" fmla="*/ 962617 w 1799300"/>
              <a:gd name="connsiteY251" fmla="*/ 420683 h 2183723"/>
              <a:gd name="connsiteX252" fmla="*/ 953622 w 1799300"/>
              <a:gd name="connsiteY252" fmla="*/ 396715 h 2183723"/>
              <a:gd name="connsiteX253" fmla="*/ 934882 w 1799300"/>
              <a:gd name="connsiteY253" fmla="*/ 389302 h 2183723"/>
              <a:gd name="connsiteX254" fmla="*/ 921389 w 1799300"/>
              <a:gd name="connsiteY254" fmla="*/ 358044 h 2183723"/>
              <a:gd name="connsiteX255" fmla="*/ 915767 w 1799300"/>
              <a:gd name="connsiteY255" fmla="*/ 354832 h 2183723"/>
              <a:gd name="connsiteX256" fmla="*/ 892654 w 1799300"/>
              <a:gd name="connsiteY256" fmla="*/ 363727 h 2183723"/>
              <a:gd name="connsiteX257" fmla="*/ 890030 w 1799300"/>
              <a:gd name="connsiteY257" fmla="*/ 375094 h 2183723"/>
              <a:gd name="connsiteX258" fmla="*/ 914393 w 1799300"/>
              <a:gd name="connsiteY258" fmla="*/ 392267 h 2183723"/>
              <a:gd name="connsiteX259" fmla="*/ 925512 w 1799300"/>
              <a:gd name="connsiteY259" fmla="*/ 393132 h 2183723"/>
              <a:gd name="connsiteX260" fmla="*/ 931633 w 1799300"/>
              <a:gd name="connsiteY260" fmla="*/ 399680 h 2183723"/>
              <a:gd name="connsiteX261" fmla="*/ 916017 w 1799300"/>
              <a:gd name="connsiteY261" fmla="*/ 397950 h 2183723"/>
              <a:gd name="connsiteX262" fmla="*/ 900650 w 1799300"/>
              <a:gd name="connsiteY262" fmla="*/ 403757 h 2183723"/>
              <a:gd name="connsiteX263" fmla="*/ 911769 w 1799300"/>
              <a:gd name="connsiteY263" fmla="*/ 420436 h 2183723"/>
              <a:gd name="connsiteX264" fmla="*/ 893653 w 1799300"/>
              <a:gd name="connsiteY264" fmla="*/ 408823 h 2183723"/>
              <a:gd name="connsiteX265" fmla="*/ 890655 w 1799300"/>
              <a:gd name="connsiteY265" fmla="*/ 388067 h 2183723"/>
              <a:gd name="connsiteX266" fmla="*/ 883534 w 1799300"/>
              <a:gd name="connsiteY266" fmla="*/ 384236 h 2183723"/>
              <a:gd name="connsiteX267" fmla="*/ 879161 w 1799300"/>
              <a:gd name="connsiteY267" fmla="*/ 370399 h 2183723"/>
              <a:gd name="connsiteX268" fmla="*/ 869166 w 1799300"/>
              <a:gd name="connsiteY268" fmla="*/ 378677 h 2183723"/>
              <a:gd name="connsiteX269" fmla="*/ 866043 w 1799300"/>
              <a:gd name="connsiteY269" fmla="*/ 401410 h 2183723"/>
              <a:gd name="connsiteX270" fmla="*/ 874788 w 1799300"/>
              <a:gd name="connsiteY270" fmla="*/ 411294 h 2183723"/>
              <a:gd name="connsiteX271" fmla="*/ 872540 w 1799300"/>
              <a:gd name="connsiteY271" fmla="*/ 431556 h 2183723"/>
              <a:gd name="connsiteX272" fmla="*/ 857672 w 1799300"/>
              <a:gd name="connsiteY272" fmla="*/ 424637 h 2183723"/>
              <a:gd name="connsiteX273" fmla="*/ 845054 w 1799300"/>
              <a:gd name="connsiteY273" fmla="*/ 429332 h 2183723"/>
              <a:gd name="connsiteX274" fmla="*/ 828688 w 1799300"/>
              <a:gd name="connsiteY274" fmla="*/ 450582 h 2183723"/>
              <a:gd name="connsiteX275" fmla="*/ 832935 w 1799300"/>
              <a:gd name="connsiteY275" fmla="*/ 452435 h 2183723"/>
              <a:gd name="connsiteX276" fmla="*/ 844554 w 1799300"/>
              <a:gd name="connsiteY276" fmla="*/ 450212 h 2183723"/>
              <a:gd name="connsiteX277" fmla="*/ 856673 w 1799300"/>
              <a:gd name="connsiteY277" fmla="*/ 463431 h 2183723"/>
              <a:gd name="connsiteX278" fmla="*/ 841806 w 1799300"/>
              <a:gd name="connsiteY278" fmla="*/ 465408 h 2183723"/>
              <a:gd name="connsiteX279" fmla="*/ 831436 w 1799300"/>
              <a:gd name="connsiteY279" fmla="*/ 473068 h 2183723"/>
              <a:gd name="connsiteX280" fmla="*/ 841806 w 1799300"/>
              <a:gd name="connsiteY280" fmla="*/ 479493 h 2183723"/>
              <a:gd name="connsiteX281" fmla="*/ 835184 w 1799300"/>
              <a:gd name="connsiteY281" fmla="*/ 488017 h 2183723"/>
              <a:gd name="connsiteX282" fmla="*/ 822066 w 1799300"/>
              <a:gd name="connsiteY282" fmla="*/ 489253 h 2183723"/>
              <a:gd name="connsiteX283" fmla="*/ 822066 w 1799300"/>
              <a:gd name="connsiteY283" fmla="*/ 498519 h 2183723"/>
              <a:gd name="connsiteX284" fmla="*/ 827188 w 1799300"/>
              <a:gd name="connsiteY284" fmla="*/ 502473 h 2183723"/>
              <a:gd name="connsiteX285" fmla="*/ 816569 w 1799300"/>
              <a:gd name="connsiteY285" fmla="*/ 505314 h 2183723"/>
              <a:gd name="connsiteX286" fmla="*/ 808573 w 1799300"/>
              <a:gd name="connsiteY286" fmla="*/ 496419 h 2183723"/>
              <a:gd name="connsiteX287" fmla="*/ 795580 w 1799300"/>
              <a:gd name="connsiteY287" fmla="*/ 500372 h 2183723"/>
              <a:gd name="connsiteX288" fmla="*/ 784836 w 1799300"/>
              <a:gd name="connsiteY288" fmla="*/ 515939 h 2183723"/>
              <a:gd name="connsiteX289" fmla="*/ 789708 w 1799300"/>
              <a:gd name="connsiteY289" fmla="*/ 524341 h 2183723"/>
              <a:gd name="connsiteX290" fmla="*/ 784461 w 1799300"/>
              <a:gd name="connsiteY290" fmla="*/ 530024 h 2183723"/>
              <a:gd name="connsiteX291" fmla="*/ 766595 w 1799300"/>
              <a:gd name="connsiteY291" fmla="*/ 532124 h 2183723"/>
              <a:gd name="connsiteX292" fmla="*/ 758350 w 1799300"/>
              <a:gd name="connsiteY292" fmla="*/ 549298 h 2183723"/>
              <a:gd name="connsiteX293" fmla="*/ 773467 w 1799300"/>
              <a:gd name="connsiteY293" fmla="*/ 553498 h 2183723"/>
              <a:gd name="connsiteX294" fmla="*/ 812696 w 1799300"/>
              <a:gd name="connsiteY294" fmla="*/ 540526 h 2183723"/>
              <a:gd name="connsiteX295" fmla="*/ 822316 w 1799300"/>
              <a:gd name="connsiteY295" fmla="*/ 546332 h 2183723"/>
              <a:gd name="connsiteX296" fmla="*/ 838558 w 1799300"/>
              <a:gd name="connsiteY296" fmla="*/ 537437 h 2183723"/>
              <a:gd name="connsiteX297" fmla="*/ 848552 w 1799300"/>
              <a:gd name="connsiteY297" fmla="*/ 536325 h 2183723"/>
              <a:gd name="connsiteX298" fmla="*/ 849427 w 1799300"/>
              <a:gd name="connsiteY298" fmla="*/ 547939 h 2183723"/>
              <a:gd name="connsiteX299" fmla="*/ 838558 w 1799300"/>
              <a:gd name="connsiteY299" fmla="*/ 561405 h 2183723"/>
              <a:gd name="connsiteX300" fmla="*/ 836184 w 1799300"/>
              <a:gd name="connsiteY300" fmla="*/ 585868 h 2183723"/>
              <a:gd name="connsiteX301" fmla="*/ 832186 w 1799300"/>
              <a:gd name="connsiteY301" fmla="*/ 591181 h 2183723"/>
              <a:gd name="connsiteX302" fmla="*/ 824565 w 1799300"/>
              <a:gd name="connsiteY302" fmla="*/ 582903 h 2183723"/>
              <a:gd name="connsiteX303" fmla="*/ 821941 w 1799300"/>
              <a:gd name="connsiteY303" fmla="*/ 570672 h 2183723"/>
              <a:gd name="connsiteX304" fmla="*/ 807324 w 1799300"/>
              <a:gd name="connsiteY304" fmla="*/ 575366 h 2183723"/>
              <a:gd name="connsiteX305" fmla="*/ 800453 w 1799300"/>
              <a:gd name="connsiteY305" fmla="*/ 567830 h 2183723"/>
              <a:gd name="connsiteX306" fmla="*/ 782087 w 1799300"/>
              <a:gd name="connsiteY306" fmla="*/ 568324 h 2183723"/>
              <a:gd name="connsiteX307" fmla="*/ 788209 w 1799300"/>
              <a:gd name="connsiteY307" fmla="*/ 574625 h 2183723"/>
              <a:gd name="connsiteX308" fmla="*/ 783087 w 1799300"/>
              <a:gd name="connsiteY308" fmla="*/ 585127 h 2183723"/>
              <a:gd name="connsiteX309" fmla="*/ 769219 w 1799300"/>
              <a:gd name="connsiteY309" fmla="*/ 577837 h 2183723"/>
              <a:gd name="connsiteX310" fmla="*/ 759224 w 1799300"/>
              <a:gd name="connsiteY310" fmla="*/ 579320 h 2183723"/>
              <a:gd name="connsiteX311" fmla="*/ 773217 w 1799300"/>
              <a:gd name="connsiteY311" fmla="*/ 588710 h 2183723"/>
              <a:gd name="connsiteX312" fmla="*/ 779339 w 1799300"/>
              <a:gd name="connsiteY312" fmla="*/ 602547 h 2183723"/>
              <a:gd name="connsiteX313" fmla="*/ 770968 w 1799300"/>
              <a:gd name="connsiteY313" fmla="*/ 603288 h 2183723"/>
              <a:gd name="connsiteX314" fmla="*/ 765846 w 1799300"/>
              <a:gd name="connsiteY314" fmla="*/ 613790 h 2183723"/>
              <a:gd name="connsiteX315" fmla="*/ 769219 w 1799300"/>
              <a:gd name="connsiteY315" fmla="*/ 626639 h 2183723"/>
              <a:gd name="connsiteX316" fmla="*/ 766096 w 1799300"/>
              <a:gd name="connsiteY316" fmla="*/ 636029 h 2183723"/>
              <a:gd name="connsiteX317" fmla="*/ 757975 w 1799300"/>
              <a:gd name="connsiteY317" fmla="*/ 623674 h 2183723"/>
              <a:gd name="connsiteX318" fmla="*/ 757600 w 1799300"/>
              <a:gd name="connsiteY318" fmla="*/ 607489 h 2183723"/>
              <a:gd name="connsiteX319" fmla="*/ 744482 w 1799300"/>
              <a:gd name="connsiteY319" fmla="*/ 591922 h 2183723"/>
              <a:gd name="connsiteX320" fmla="*/ 732613 w 1799300"/>
              <a:gd name="connsiteY320" fmla="*/ 605759 h 2183723"/>
              <a:gd name="connsiteX321" fmla="*/ 719745 w 1799300"/>
              <a:gd name="connsiteY321" fmla="*/ 609466 h 2183723"/>
              <a:gd name="connsiteX322" fmla="*/ 713124 w 1799300"/>
              <a:gd name="connsiteY322" fmla="*/ 599458 h 2183723"/>
              <a:gd name="connsiteX323" fmla="*/ 717621 w 1799300"/>
              <a:gd name="connsiteY323" fmla="*/ 591675 h 2183723"/>
              <a:gd name="connsiteX324" fmla="*/ 707127 w 1799300"/>
              <a:gd name="connsiteY324" fmla="*/ 590686 h 2183723"/>
              <a:gd name="connsiteX325" fmla="*/ 693259 w 1799300"/>
              <a:gd name="connsiteY325" fmla="*/ 607118 h 2183723"/>
              <a:gd name="connsiteX326" fmla="*/ 706252 w 1799300"/>
              <a:gd name="connsiteY326" fmla="*/ 619597 h 2183723"/>
              <a:gd name="connsiteX327" fmla="*/ 725742 w 1799300"/>
              <a:gd name="connsiteY327" fmla="*/ 618114 h 2183723"/>
              <a:gd name="connsiteX328" fmla="*/ 742108 w 1799300"/>
              <a:gd name="connsiteY328" fmla="*/ 627010 h 2183723"/>
              <a:gd name="connsiteX329" fmla="*/ 733738 w 1799300"/>
              <a:gd name="connsiteY329" fmla="*/ 641094 h 2183723"/>
              <a:gd name="connsiteX330" fmla="*/ 700630 w 1799300"/>
              <a:gd name="connsiteY330" fmla="*/ 647272 h 2183723"/>
              <a:gd name="connsiteX331" fmla="*/ 693384 w 1799300"/>
              <a:gd name="connsiteY331" fmla="*/ 641341 h 2183723"/>
              <a:gd name="connsiteX332" fmla="*/ 680266 w 1799300"/>
              <a:gd name="connsiteY332" fmla="*/ 642577 h 2183723"/>
              <a:gd name="connsiteX333" fmla="*/ 674019 w 1799300"/>
              <a:gd name="connsiteY333" fmla="*/ 659379 h 2183723"/>
              <a:gd name="connsiteX334" fmla="*/ 685513 w 1799300"/>
              <a:gd name="connsiteY334" fmla="*/ 669140 h 2183723"/>
              <a:gd name="connsiteX335" fmla="*/ 675144 w 1799300"/>
              <a:gd name="connsiteY335" fmla="*/ 684707 h 2183723"/>
              <a:gd name="connsiteX336" fmla="*/ 688262 w 1799300"/>
              <a:gd name="connsiteY336" fmla="*/ 681371 h 2183723"/>
              <a:gd name="connsiteX337" fmla="*/ 704128 w 1799300"/>
              <a:gd name="connsiteY337" fmla="*/ 661480 h 2183723"/>
              <a:gd name="connsiteX338" fmla="*/ 718746 w 1799300"/>
              <a:gd name="connsiteY338" fmla="*/ 661480 h 2183723"/>
              <a:gd name="connsiteX339" fmla="*/ 727616 w 1799300"/>
              <a:gd name="connsiteY339" fmla="*/ 672846 h 2183723"/>
              <a:gd name="connsiteX340" fmla="*/ 703379 w 1799300"/>
              <a:gd name="connsiteY340" fmla="*/ 676676 h 2183723"/>
              <a:gd name="connsiteX341" fmla="*/ 700630 w 1799300"/>
              <a:gd name="connsiteY341" fmla="*/ 694714 h 2183723"/>
              <a:gd name="connsiteX342" fmla="*/ 710250 w 1799300"/>
              <a:gd name="connsiteY342" fmla="*/ 707316 h 2183723"/>
              <a:gd name="connsiteX343" fmla="*/ 730240 w 1799300"/>
              <a:gd name="connsiteY343" fmla="*/ 718189 h 2183723"/>
              <a:gd name="connsiteX344" fmla="*/ 730240 w 1799300"/>
              <a:gd name="connsiteY344" fmla="*/ 731903 h 2183723"/>
              <a:gd name="connsiteX345" fmla="*/ 716497 w 1799300"/>
              <a:gd name="connsiteY345" fmla="*/ 722142 h 2183723"/>
              <a:gd name="connsiteX346" fmla="*/ 705378 w 1799300"/>
              <a:gd name="connsiteY346" fmla="*/ 723995 h 2183723"/>
              <a:gd name="connsiteX347" fmla="*/ 690761 w 1799300"/>
              <a:gd name="connsiteY347" fmla="*/ 706699 h 2183723"/>
              <a:gd name="connsiteX348" fmla="*/ 682515 w 1799300"/>
              <a:gd name="connsiteY348" fmla="*/ 708428 h 2183723"/>
              <a:gd name="connsiteX349" fmla="*/ 671895 w 1799300"/>
              <a:gd name="connsiteY349" fmla="*/ 720536 h 2183723"/>
              <a:gd name="connsiteX350" fmla="*/ 684764 w 1799300"/>
              <a:gd name="connsiteY350" fmla="*/ 729555 h 2183723"/>
              <a:gd name="connsiteX351" fmla="*/ 668147 w 1799300"/>
              <a:gd name="connsiteY351" fmla="*/ 731655 h 2183723"/>
              <a:gd name="connsiteX352" fmla="*/ 652656 w 1799300"/>
              <a:gd name="connsiteY352" fmla="*/ 744010 h 2183723"/>
              <a:gd name="connsiteX353" fmla="*/ 653155 w 1799300"/>
              <a:gd name="connsiteY353" fmla="*/ 755006 h 2183723"/>
              <a:gd name="connsiteX354" fmla="*/ 670896 w 1799300"/>
              <a:gd name="connsiteY354" fmla="*/ 761801 h 2183723"/>
              <a:gd name="connsiteX355" fmla="*/ 685014 w 1799300"/>
              <a:gd name="connsiteY355" fmla="*/ 751547 h 2183723"/>
              <a:gd name="connsiteX356" fmla="*/ 695133 w 1799300"/>
              <a:gd name="connsiteY356" fmla="*/ 760813 h 2183723"/>
              <a:gd name="connsiteX357" fmla="*/ 710250 w 1799300"/>
              <a:gd name="connsiteY357" fmla="*/ 755377 h 2183723"/>
              <a:gd name="connsiteX358" fmla="*/ 715747 w 1799300"/>
              <a:gd name="connsiteY358" fmla="*/ 769585 h 2183723"/>
              <a:gd name="connsiteX359" fmla="*/ 727116 w 1799300"/>
              <a:gd name="connsiteY359" fmla="*/ 775268 h 2183723"/>
              <a:gd name="connsiteX360" fmla="*/ 727616 w 1799300"/>
              <a:gd name="connsiteY360" fmla="*/ 785523 h 2183723"/>
              <a:gd name="connsiteX361" fmla="*/ 703379 w 1799300"/>
              <a:gd name="connsiteY361" fmla="*/ 771438 h 2183723"/>
              <a:gd name="connsiteX362" fmla="*/ 684639 w 1799300"/>
              <a:gd name="connsiteY362" fmla="*/ 772179 h 2183723"/>
              <a:gd name="connsiteX363" fmla="*/ 675893 w 1799300"/>
              <a:gd name="connsiteY363" fmla="*/ 778110 h 2183723"/>
              <a:gd name="connsiteX364" fmla="*/ 650407 w 1799300"/>
              <a:gd name="connsiteY364" fmla="*/ 783299 h 2183723"/>
              <a:gd name="connsiteX365" fmla="*/ 651031 w 1799300"/>
              <a:gd name="connsiteY365" fmla="*/ 797013 h 2183723"/>
              <a:gd name="connsiteX366" fmla="*/ 636789 w 1799300"/>
              <a:gd name="connsiteY366" fmla="*/ 805167 h 2183723"/>
              <a:gd name="connsiteX367" fmla="*/ 630292 w 1799300"/>
              <a:gd name="connsiteY367" fmla="*/ 799978 h 2183723"/>
              <a:gd name="connsiteX368" fmla="*/ 608554 w 1799300"/>
              <a:gd name="connsiteY368" fmla="*/ 812580 h 2183723"/>
              <a:gd name="connsiteX369" fmla="*/ 596185 w 1799300"/>
              <a:gd name="connsiteY369" fmla="*/ 813815 h 2183723"/>
              <a:gd name="connsiteX370" fmla="*/ 594311 w 1799300"/>
              <a:gd name="connsiteY370" fmla="*/ 822464 h 2183723"/>
              <a:gd name="connsiteX371" fmla="*/ 608429 w 1799300"/>
              <a:gd name="connsiteY371" fmla="*/ 827653 h 2183723"/>
              <a:gd name="connsiteX372" fmla="*/ 619298 w 1799300"/>
              <a:gd name="connsiteY372" fmla="*/ 839884 h 2183723"/>
              <a:gd name="connsiteX373" fmla="*/ 607305 w 1799300"/>
              <a:gd name="connsiteY373" fmla="*/ 844950 h 2183723"/>
              <a:gd name="connsiteX374" fmla="*/ 600183 w 1799300"/>
              <a:gd name="connsiteY374" fmla="*/ 841861 h 2183723"/>
              <a:gd name="connsiteX375" fmla="*/ 595561 w 1799300"/>
              <a:gd name="connsiteY375" fmla="*/ 846185 h 2183723"/>
              <a:gd name="connsiteX376" fmla="*/ 607180 w 1799300"/>
              <a:gd name="connsiteY376" fmla="*/ 855946 h 2183723"/>
              <a:gd name="connsiteX377" fmla="*/ 603307 w 1799300"/>
              <a:gd name="connsiteY377" fmla="*/ 862988 h 2183723"/>
              <a:gd name="connsiteX378" fmla="*/ 586565 w 1799300"/>
              <a:gd name="connsiteY378" fmla="*/ 861011 h 2183723"/>
              <a:gd name="connsiteX379" fmla="*/ 584317 w 1799300"/>
              <a:gd name="connsiteY379" fmla="*/ 856316 h 2183723"/>
              <a:gd name="connsiteX380" fmla="*/ 578945 w 1799300"/>
              <a:gd name="connsiteY380" fmla="*/ 861999 h 2183723"/>
              <a:gd name="connsiteX381" fmla="*/ 591188 w 1799300"/>
              <a:gd name="connsiteY381" fmla="*/ 871142 h 2183723"/>
              <a:gd name="connsiteX382" fmla="*/ 583817 w 1799300"/>
              <a:gd name="connsiteY382" fmla="*/ 877690 h 2183723"/>
              <a:gd name="connsiteX383" fmla="*/ 586316 w 1799300"/>
              <a:gd name="connsiteY383" fmla="*/ 887821 h 2183723"/>
              <a:gd name="connsiteX384" fmla="*/ 596060 w 1799300"/>
              <a:gd name="connsiteY384" fmla="*/ 887450 h 2183723"/>
              <a:gd name="connsiteX385" fmla="*/ 586565 w 1799300"/>
              <a:gd name="connsiteY385" fmla="*/ 893998 h 2183723"/>
              <a:gd name="connsiteX386" fmla="*/ 575571 w 1799300"/>
              <a:gd name="connsiteY386" fmla="*/ 896469 h 2183723"/>
              <a:gd name="connsiteX387" fmla="*/ 569075 w 1799300"/>
              <a:gd name="connsiteY387" fmla="*/ 890539 h 2183723"/>
              <a:gd name="connsiteX388" fmla="*/ 569574 w 1799300"/>
              <a:gd name="connsiteY388" fmla="*/ 900794 h 2183723"/>
              <a:gd name="connsiteX389" fmla="*/ 564452 w 1799300"/>
              <a:gd name="connsiteY389" fmla="*/ 910678 h 2183723"/>
              <a:gd name="connsiteX390" fmla="*/ 574447 w 1799300"/>
              <a:gd name="connsiteY390" fmla="*/ 914384 h 2183723"/>
              <a:gd name="connsiteX391" fmla="*/ 599059 w 1799300"/>
              <a:gd name="connsiteY391" fmla="*/ 921550 h 2183723"/>
              <a:gd name="connsiteX392" fmla="*/ 603057 w 1799300"/>
              <a:gd name="connsiteY392" fmla="*/ 932422 h 2183723"/>
              <a:gd name="connsiteX393" fmla="*/ 612927 w 1799300"/>
              <a:gd name="connsiteY393" fmla="*/ 934770 h 2183723"/>
              <a:gd name="connsiteX394" fmla="*/ 626544 w 1799300"/>
              <a:gd name="connsiteY394" fmla="*/ 927974 h 2183723"/>
              <a:gd name="connsiteX395" fmla="*/ 615925 w 1799300"/>
              <a:gd name="connsiteY395" fmla="*/ 938723 h 2183723"/>
              <a:gd name="connsiteX396" fmla="*/ 616300 w 1799300"/>
              <a:gd name="connsiteY396" fmla="*/ 947001 h 2183723"/>
              <a:gd name="connsiteX397" fmla="*/ 601058 w 1799300"/>
              <a:gd name="connsiteY397" fmla="*/ 947619 h 2183723"/>
              <a:gd name="connsiteX398" fmla="*/ 593812 w 1799300"/>
              <a:gd name="connsiteY398" fmla="*/ 941071 h 2183723"/>
              <a:gd name="connsiteX399" fmla="*/ 568825 w 1799300"/>
              <a:gd name="connsiteY399" fmla="*/ 942800 h 2183723"/>
              <a:gd name="connsiteX400" fmla="*/ 552209 w 1799300"/>
              <a:gd name="connsiteY400" fmla="*/ 959356 h 2183723"/>
              <a:gd name="connsiteX401" fmla="*/ 557956 w 1799300"/>
              <a:gd name="connsiteY401" fmla="*/ 964668 h 2183723"/>
              <a:gd name="connsiteX402" fmla="*/ 576071 w 1799300"/>
              <a:gd name="connsiteY402" fmla="*/ 964668 h 2183723"/>
              <a:gd name="connsiteX403" fmla="*/ 577945 w 1799300"/>
              <a:gd name="connsiteY403" fmla="*/ 976158 h 2183723"/>
              <a:gd name="connsiteX404" fmla="*/ 587315 w 1799300"/>
              <a:gd name="connsiteY404" fmla="*/ 984065 h 2183723"/>
              <a:gd name="connsiteX405" fmla="*/ 587315 w 1799300"/>
              <a:gd name="connsiteY405" fmla="*/ 997779 h 2183723"/>
              <a:gd name="connsiteX406" fmla="*/ 576321 w 1799300"/>
              <a:gd name="connsiteY406" fmla="*/ 987278 h 2183723"/>
              <a:gd name="connsiteX407" fmla="*/ 567950 w 1799300"/>
              <a:gd name="connsiteY407" fmla="*/ 987648 h 2183723"/>
              <a:gd name="connsiteX408" fmla="*/ 560079 w 1799300"/>
              <a:gd name="connsiteY408" fmla="*/ 998274 h 2183723"/>
              <a:gd name="connsiteX409" fmla="*/ 561329 w 1799300"/>
              <a:gd name="connsiteY409" fmla="*/ 1009887 h 2183723"/>
              <a:gd name="connsiteX410" fmla="*/ 556581 w 1799300"/>
              <a:gd name="connsiteY410" fmla="*/ 1012852 h 2183723"/>
              <a:gd name="connsiteX411" fmla="*/ 565327 w 1799300"/>
              <a:gd name="connsiteY411" fmla="*/ 1022118 h 2183723"/>
              <a:gd name="connsiteX412" fmla="*/ 567950 w 1799300"/>
              <a:gd name="connsiteY412" fmla="*/ 1033732 h 2183723"/>
              <a:gd name="connsiteX413" fmla="*/ 560329 w 1799300"/>
              <a:gd name="connsiteY413" fmla="*/ 1034103 h 2183723"/>
              <a:gd name="connsiteX414" fmla="*/ 550210 w 1799300"/>
              <a:gd name="connsiteY414" fmla="*/ 1025578 h 2183723"/>
              <a:gd name="connsiteX415" fmla="*/ 544213 w 1799300"/>
              <a:gd name="connsiteY415" fmla="*/ 1030643 h 2183723"/>
              <a:gd name="connsiteX416" fmla="*/ 545587 w 1799300"/>
              <a:gd name="connsiteY416" fmla="*/ 1044975 h 2183723"/>
              <a:gd name="connsiteX417" fmla="*/ 560954 w 1799300"/>
              <a:gd name="connsiteY417" fmla="*/ 1048434 h 2183723"/>
              <a:gd name="connsiteX418" fmla="*/ 564077 w 1799300"/>
              <a:gd name="connsiteY418" fmla="*/ 1055847 h 2183723"/>
              <a:gd name="connsiteX419" fmla="*/ 563078 w 1799300"/>
              <a:gd name="connsiteY419" fmla="*/ 1065484 h 2183723"/>
              <a:gd name="connsiteX420" fmla="*/ 542339 w 1799300"/>
              <a:gd name="connsiteY420" fmla="*/ 1053253 h 2183723"/>
              <a:gd name="connsiteX421" fmla="*/ 534218 w 1799300"/>
              <a:gd name="connsiteY421" fmla="*/ 1058442 h 2183723"/>
              <a:gd name="connsiteX422" fmla="*/ 534218 w 1799300"/>
              <a:gd name="connsiteY422" fmla="*/ 1072897 h 2183723"/>
              <a:gd name="connsiteX423" fmla="*/ 539715 w 1799300"/>
              <a:gd name="connsiteY423" fmla="*/ 1074009 h 2183723"/>
              <a:gd name="connsiteX424" fmla="*/ 539715 w 1799300"/>
              <a:gd name="connsiteY424" fmla="*/ 1089823 h 2183723"/>
              <a:gd name="connsiteX425" fmla="*/ 547336 w 1799300"/>
              <a:gd name="connsiteY425" fmla="*/ 1104649 h 2183723"/>
              <a:gd name="connsiteX426" fmla="*/ 557706 w 1799300"/>
              <a:gd name="connsiteY426" fmla="*/ 1103537 h 2183723"/>
              <a:gd name="connsiteX427" fmla="*/ 564702 w 1799300"/>
              <a:gd name="connsiteY427" fmla="*/ 1089453 h 2183723"/>
              <a:gd name="connsiteX428" fmla="*/ 573073 w 1799300"/>
              <a:gd name="connsiteY428" fmla="*/ 1089082 h 2183723"/>
              <a:gd name="connsiteX429" fmla="*/ 566326 w 1799300"/>
              <a:gd name="connsiteY429" fmla="*/ 1109962 h 2183723"/>
              <a:gd name="connsiteX430" fmla="*/ 555332 w 1799300"/>
              <a:gd name="connsiteY430" fmla="*/ 1112556 h 2183723"/>
              <a:gd name="connsiteX431" fmla="*/ 540840 w 1799300"/>
              <a:gd name="connsiteY431" fmla="*/ 1129606 h 2183723"/>
              <a:gd name="connsiteX432" fmla="*/ 527597 w 1799300"/>
              <a:gd name="connsiteY432" fmla="*/ 1130224 h 2183723"/>
              <a:gd name="connsiteX433" fmla="*/ 516727 w 1799300"/>
              <a:gd name="connsiteY433" fmla="*/ 1135536 h 2183723"/>
              <a:gd name="connsiteX434" fmla="*/ 516353 w 1799300"/>
              <a:gd name="connsiteY434" fmla="*/ 1143814 h 2183723"/>
              <a:gd name="connsiteX435" fmla="*/ 502110 w 1799300"/>
              <a:gd name="connsiteY435" fmla="*/ 1150609 h 2183723"/>
              <a:gd name="connsiteX436" fmla="*/ 490741 w 1799300"/>
              <a:gd name="connsiteY436" fmla="*/ 1161481 h 2183723"/>
              <a:gd name="connsiteX437" fmla="*/ 503484 w 1799300"/>
              <a:gd name="connsiteY437" fmla="*/ 1167165 h 2183723"/>
              <a:gd name="connsiteX438" fmla="*/ 499611 w 1799300"/>
              <a:gd name="connsiteY438" fmla="*/ 1174825 h 2183723"/>
              <a:gd name="connsiteX439" fmla="*/ 476873 w 1799300"/>
              <a:gd name="connsiteY439" fmla="*/ 1177913 h 2183723"/>
              <a:gd name="connsiteX440" fmla="*/ 467128 w 1799300"/>
              <a:gd name="connsiteY440" fmla="*/ 1192739 h 2183723"/>
              <a:gd name="connsiteX441" fmla="*/ 468753 w 1799300"/>
              <a:gd name="connsiteY441" fmla="*/ 1199534 h 2183723"/>
              <a:gd name="connsiteX442" fmla="*/ 486993 w 1799300"/>
              <a:gd name="connsiteY442" fmla="*/ 1204229 h 2183723"/>
              <a:gd name="connsiteX443" fmla="*/ 473375 w 1799300"/>
              <a:gd name="connsiteY443" fmla="*/ 1211642 h 2183723"/>
              <a:gd name="connsiteX444" fmla="*/ 467128 w 1799300"/>
              <a:gd name="connsiteY444" fmla="*/ 1226962 h 2183723"/>
              <a:gd name="connsiteX445" fmla="*/ 453261 w 1799300"/>
              <a:gd name="connsiteY445" fmla="*/ 1228198 h 2183723"/>
              <a:gd name="connsiteX446" fmla="*/ 449888 w 1799300"/>
              <a:gd name="connsiteY446" fmla="*/ 1214607 h 2183723"/>
              <a:gd name="connsiteX447" fmla="*/ 440642 w 1799300"/>
              <a:gd name="connsiteY447" fmla="*/ 1209542 h 2183723"/>
              <a:gd name="connsiteX448" fmla="*/ 435395 w 1799300"/>
              <a:gd name="connsiteY448" fmla="*/ 1217943 h 2183723"/>
              <a:gd name="connsiteX449" fmla="*/ 423527 w 1799300"/>
              <a:gd name="connsiteY449" fmla="*/ 1218437 h 2183723"/>
              <a:gd name="connsiteX450" fmla="*/ 428149 w 1799300"/>
              <a:gd name="connsiteY450" fmla="*/ 1228568 h 2183723"/>
              <a:gd name="connsiteX451" fmla="*/ 420153 w 1799300"/>
              <a:gd name="connsiteY451" fmla="*/ 1236476 h 2183723"/>
              <a:gd name="connsiteX452" fmla="*/ 418529 w 1799300"/>
              <a:gd name="connsiteY452" fmla="*/ 1246854 h 2183723"/>
              <a:gd name="connsiteX453" fmla="*/ 423776 w 1799300"/>
              <a:gd name="connsiteY453" fmla="*/ 1255626 h 2183723"/>
              <a:gd name="connsiteX454" fmla="*/ 403037 w 1799300"/>
              <a:gd name="connsiteY454" fmla="*/ 1256490 h 2183723"/>
              <a:gd name="connsiteX455" fmla="*/ 394167 w 1799300"/>
              <a:gd name="connsiteY455" fmla="*/ 1261679 h 2183723"/>
              <a:gd name="connsiteX456" fmla="*/ 396291 w 1799300"/>
              <a:gd name="connsiteY456" fmla="*/ 1280212 h 2183723"/>
              <a:gd name="connsiteX457" fmla="*/ 380799 w 1799300"/>
              <a:gd name="connsiteY457" fmla="*/ 1291208 h 2183723"/>
              <a:gd name="connsiteX458" fmla="*/ 383173 w 1799300"/>
              <a:gd name="connsiteY458" fmla="*/ 1297261 h 2183723"/>
              <a:gd name="connsiteX459" fmla="*/ 381174 w 1799300"/>
              <a:gd name="connsiteY459" fmla="*/ 1315917 h 2183723"/>
              <a:gd name="connsiteX460" fmla="*/ 369805 w 1799300"/>
              <a:gd name="connsiteY460" fmla="*/ 1326048 h 2183723"/>
              <a:gd name="connsiteX461" fmla="*/ 354438 w 1799300"/>
              <a:gd name="connsiteY461" fmla="*/ 1341863 h 2183723"/>
              <a:gd name="connsiteX462" fmla="*/ 359560 w 1799300"/>
              <a:gd name="connsiteY462" fmla="*/ 1348534 h 2183723"/>
              <a:gd name="connsiteX463" fmla="*/ 377051 w 1799300"/>
              <a:gd name="connsiteY463" fmla="*/ 1336056 h 2183723"/>
              <a:gd name="connsiteX464" fmla="*/ 386796 w 1799300"/>
              <a:gd name="connsiteY464" fmla="*/ 1336303 h 2183723"/>
              <a:gd name="connsiteX465" fmla="*/ 385921 w 1799300"/>
              <a:gd name="connsiteY465" fmla="*/ 1346681 h 2183723"/>
              <a:gd name="connsiteX466" fmla="*/ 374302 w 1799300"/>
              <a:gd name="connsiteY466" fmla="*/ 1351994 h 2183723"/>
              <a:gd name="connsiteX467" fmla="*/ 373678 w 1799300"/>
              <a:gd name="connsiteY467" fmla="*/ 1369908 h 2183723"/>
              <a:gd name="connsiteX468" fmla="*/ 384672 w 1799300"/>
              <a:gd name="connsiteY468" fmla="*/ 1383128 h 2183723"/>
              <a:gd name="connsiteX469" fmla="*/ 403662 w 1799300"/>
              <a:gd name="connsiteY469" fmla="*/ 1371267 h 2183723"/>
              <a:gd name="connsiteX470" fmla="*/ 424276 w 1799300"/>
              <a:gd name="connsiteY470" fmla="*/ 1367684 h 2183723"/>
              <a:gd name="connsiteX471" fmla="*/ 450887 w 1799300"/>
              <a:gd name="connsiteY471" fmla="*/ 1339762 h 2183723"/>
              <a:gd name="connsiteX472" fmla="*/ 450387 w 1799300"/>
              <a:gd name="connsiteY472" fmla="*/ 1327407 h 2183723"/>
              <a:gd name="connsiteX473" fmla="*/ 436020 w 1799300"/>
              <a:gd name="connsiteY473" fmla="*/ 1332102 h 2183723"/>
              <a:gd name="connsiteX474" fmla="*/ 447764 w 1799300"/>
              <a:gd name="connsiteY474" fmla="*/ 1315176 h 2183723"/>
              <a:gd name="connsiteX475" fmla="*/ 450387 w 1799300"/>
              <a:gd name="connsiteY475" fmla="*/ 1295779 h 2183723"/>
              <a:gd name="connsiteX476" fmla="*/ 456634 w 1799300"/>
              <a:gd name="connsiteY476" fmla="*/ 1294173 h 2183723"/>
              <a:gd name="connsiteX477" fmla="*/ 464630 w 1799300"/>
              <a:gd name="connsiteY477" fmla="*/ 1286266 h 2183723"/>
              <a:gd name="connsiteX478" fmla="*/ 480746 w 1799300"/>
              <a:gd name="connsiteY478" fmla="*/ 1288366 h 2183723"/>
              <a:gd name="connsiteX479" fmla="*/ 490366 w 1799300"/>
              <a:gd name="connsiteY479" fmla="*/ 1287254 h 2183723"/>
              <a:gd name="connsiteX480" fmla="*/ 465379 w 1799300"/>
              <a:gd name="connsiteY480" fmla="*/ 1304798 h 2183723"/>
              <a:gd name="connsiteX481" fmla="*/ 465379 w 1799300"/>
              <a:gd name="connsiteY481" fmla="*/ 1316535 h 2183723"/>
              <a:gd name="connsiteX482" fmla="*/ 490491 w 1799300"/>
              <a:gd name="connsiteY482" fmla="*/ 1323083 h 2183723"/>
              <a:gd name="connsiteX483" fmla="*/ 482620 w 1799300"/>
              <a:gd name="connsiteY483" fmla="*/ 1334450 h 2183723"/>
              <a:gd name="connsiteX484" fmla="*/ 469502 w 1799300"/>
              <a:gd name="connsiteY484" fmla="*/ 1336426 h 2183723"/>
              <a:gd name="connsiteX485" fmla="*/ 445015 w 1799300"/>
              <a:gd name="connsiteY485" fmla="*/ 1364225 h 2183723"/>
              <a:gd name="connsiteX486" fmla="*/ 461382 w 1799300"/>
              <a:gd name="connsiteY486" fmla="*/ 1371761 h 2183723"/>
              <a:gd name="connsiteX487" fmla="*/ 452886 w 1799300"/>
              <a:gd name="connsiteY487" fmla="*/ 1383746 h 2183723"/>
              <a:gd name="connsiteX488" fmla="*/ 454260 w 1799300"/>
              <a:gd name="connsiteY488" fmla="*/ 1400178 h 2183723"/>
              <a:gd name="connsiteX489" fmla="*/ 438269 w 1799300"/>
              <a:gd name="connsiteY489" fmla="*/ 1399436 h 2183723"/>
              <a:gd name="connsiteX490" fmla="*/ 424526 w 1799300"/>
              <a:gd name="connsiteY490" fmla="*/ 1386958 h 2183723"/>
              <a:gd name="connsiteX491" fmla="*/ 405786 w 1799300"/>
              <a:gd name="connsiteY491" fmla="*/ 1388440 h 2183723"/>
              <a:gd name="connsiteX492" fmla="*/ 395166 w 1799300"/>
              <a:gd name="connsiteY492" fmla="*/ 1397830 h 2183723"/>
              <a:gd name="connsiteX493" fmla="*/ 395166 w 1799300"/>
              <a:gd name="connsiteY493" fmla="*/ 1412903 h 2183723"/>
              <a:gd name="connsiteX494" fmla="*/ 380924 w 1799300"/>
              <a:gd name="connsiteY494" fmla="*/ 1421799 h 2183723"/>
              <a:gd name="connsiteX495" fmla="*/ 367431 w 1799300"/>
              <a:gd name="connsiteY495" fmla="*/ 1429953 h 2183723"/>
              <a:gd name="connsiteX496" fmla="*/ 377301 w 1799300"/>
              <a:gd name="connsiteY496" fmla="*/ 1417845 h 2183723"/>
              <a:gd name="connsiteX497" fmla="*/ 384672 w 1799300"/>
              <a:gd name="connsiteY497" fmla="*/ 1412038 h 2183723"/>
              <a:gd name="connsiteX498" fmla="*/ 372928 w 1799300"/>
              <a:gd name="connsiteY498" fmla="*/ 1398077 h 2183723"/>
              <a:gd name="connsiteX499" fmla="*/ 372179 w 1799300"/>
              <a:gd name="connsiteY499" fmla="*/ 1381645 h 2183723"/>
              <a:gd name="connsiteX500" fmla="*/ 358936 w 1799300"/>
              <a:gd name="connsiteY500" fmla="*/ 1364348 h 2183723"/>
              <a:gd name="connsiteX501" fmla="*/ 346442 w 1799300"/>
              <a:gd name="connsiteY501" fmla="*/ 1364843 h 2183723"/>
              <a:gd name="connsiteX502" fmla="*/ 340071 w 1799300"/>
              <a:gd name="connsiteY502" fmla="*/ 1377445 h 2183723"/>
              <a:gd name="connsiteX503" fmla="*/ 322830 w 1799300"/>
              <a:gd name="connsiteY503" fmla="*/ 1380286 h 2183723"/>
              <a:gd name="connsiteX504" fmla="*/ 323204 w 1799300"/>
              <a:gd name="connsiteY504" fmla="*/ 1388564 h 2183723"/>
              <a:gd name="connsiteX505" fmla="*/ 345443 w 1799300"/>
              <a:gd name="connsiteY505" fmla="*/ 1387576 h 2183723"/>
              <a:gd name="connsiteX506" fmla="*/ 323454 w 1799300"/>
              <a:gd name="connsiteY506" fmla="*/ 1409073 h 2183723"/>
              <a:gd name="connsiteX507" fmla="*/ 307838 w 1799300"/>
              <a:gd name="connsiteY507" fmla="*/ 1402896 h 2183723"/>
              <a:gd name="connsiteX508" fmla="*/ 294844 w 1799300"/>
              <a:gd name="connsiteY508" fmla="*/ 1405490 h 2183723"/>
              <a:gd name="connsiteX509" fmla="*/ 278228 w 1799300"/>
              <a:gd name="connsiteY509" fmla="*/ 1422046 h 2183723"/>
              <a:gd name="connsiteX510" fmla="*/ 287973 w 1799300"/>
              <a:gd name="connsiteY510" fmla="*/ 1423652 h 2183723"/>
              <a:gd name="connsiteX511" fmla="*/ 296843 w 1799300"/>
              <a:gd name="connsiteY511" fmla="*/ 1419204 h 2183723"/>
              <a:gd name="connsiteX512" fmla="*/ 301841 w 1799300"/>
              <a:gd name="connsiteY512" fmla="*/ 1423775 h 2183723"/>
              <a:gd name="connsiteX513" fmla="*/ 283600 w 1799300"/>
              <a:gd name="connsiteY513" fmla="*/ 1436254 h 2183723"/>
              <a:gd name="connsiteX514" fmla="*/ 275730 w 1799300"/>
              <a:gd name="connsiteY514" fmla="*/ 1446879 h 2183723"/>
              <a:gd name="connsiteX515" fmla="*/ 266984 w 1799300"/>
              <a:gd name="connsiteY515" fmla="*/ 1438972 h 2183723"/>
              <a:gd name="connsiteX516" fmla="*/ 254491 w 1799300"/>
              <a:gd name="connsiteY516" fmla="*/ 1439466 h 2183723"/>
              <a:gd name="connsiteX517" fmla="*/ 252742 w 1799300"/>
              <a:gd name="connsiteY517" fmla="*/ 1447744 h 2183723"/>
              <a:gd name="connsiteX518" fmla="*/ 273356 w 1799300"/>
              <a:gd name="connsiteY518" fmla="*/ 1458616 h 2183723"/>
              <a:gd name="connsiteX519" fmla="*/ 296968 w 1799300"/>
              <a:gd name="connsiteY519" fmla="*/ 1457628 h 2183723"/>
              <a:gd name="connsiteX520" fmla="*/ 292596 w 1799300"/>
              <a:gd name="connsiteY520" fmla="*/ 1470106 h 2183723"/>
              <a:gd name="connsiteX521" fmla="*/ 303215 w 1799300"/>
              <a:gd name="connsiteY521" fmla="*/ 1473813 h 2183723"/>
              <a:gd name="connsiteX522" fmla="*/ 302965 w 1799300"/>
              <a:gd name="connsiteY522" fmla="*/ 1484808 h 2183723"/>
              <a:gd name="connsiteX523" fmla="*/ 281851 w 1799300"/>
              <a:gd name="connsiteY523" fmla="*/ 1479496 h 2183723"/>
              <a:gd name="connsiteX524" fmla="*/ 277853 w 1799300"/>
              <a:gd name="connsiteY524" fmla="*/ 1467265 h 2183723"/>
              <a:gd name="connsiteX525" fmla="*/ 261987 w 1799300"/>
              <a:gd name="connsiteY525" fmla="*/ 1467882 h 2183723"/>
              <a:gd name="connsiteX526" fmla="*/ 245371 w 1799300"/>
              <a:gd name="connsiteY526" fmla="*/ 1454910 h 2183723"/>
              <a:gd name="connsiteX527" fmla="*/ 241373 w 1799300"/>
              <a:gd name="connsiteY527" fmla="*/ 1444037 h 2183723"/>
              <a:gd name="connsiteX528" fmla="*/ 235126 w 1799300"/>
              <a:gd name="connsiteY528" fmla="*/ 1445026 h 2183723"/>
              <a:gd name="connsiteX529" fmla="*/ 232877 w 1799300"/>
              <a:gd name="connsiteY529" fmla="*/ 1458863 h 2183723"/>
              <a:gd name="connsiteX530" fmla="*/ 249743 w 1799300"/>
              <a:gd name="connsiteY530" fmla="*/ 1479496 h 2183723"/>
              <a:gd name="connsiteX531" fmla="*/ 266984 w 1799300"/>
              <a:gd name="connsiteY531" fmla="*/ 1491109 h 2183723"/>
              <a:gd name="connsiteX532" fmla="*/ 281601 w 1799300"/>
              <a:gd name="connsiteY532" fmla="*/ 1492468 h 2183723"/>
              <a:gd name="connsiteX533" fmla="*/ 289597 w 1799300"/>
              <a:gd name="connsiteY533" fmla="*/ 1500376 h 2183723"/>
              <a:gd name="connsiteX534" fmla="*/ 274355 w 1799300"/>
              <a:gd name="connsiteY534" fmla="*/ 1501735 h 2183723"/>
              <a:gd name="connsiteX535" fmla="*/ 248994 w 1799300"/>
              <a:gd name="connsiteY535" fmla="*/ 1493210 h 2183723"/>
              <a:gd name="connsiteX536" fmla="*/ 224257 w 1799300"/>
              <a:gd name="connsiteY536" fmla="*/ 1468129 h 2183723"/>
              <a:gd name="connsiteX537" fmla="*/ 213512 w 1799300"/>
              <a:gd name="connsiteY537" fmla="*/ 1475542 h 2183723"/>
              <a:gd name="connsiteX538" fmla="*/ 198520 w 1799300"/>
              <a:gd name="connsiteY538" fmla="*/ 1465164 h 2183723"/>
              <a:gd name="connsiteX539" fmla="*/ 180405 w 1799300"/>
              <a:gd name="connsiteY539" fmla="*/ 1465905 h 2183723"/>
              <a:gd name="connsiteX540" fmla="*/ 171160 w 1799300"/>
              <a:gd name="connsiteY540" fmla="*/ 1458740 h 2183723"/>
              <a:gd name="connsiteX541" fmla="*/ 164538 w 1799300"/>
              <a:gd name="connsiteY541" fmla="*/ 1467265 h 2183723"/>
              <a:gd name="connsiteX542" fmla="*/ 167911 w 1799300"/>
              <a:gd name="connsiteY542" fmla="*/ 1480855 h 2183723"/>
              <a:gd name="connsiteX543" fmla="*/ 158541 w 1799300"/>
              <a:gd name="connsiteY543" fmla="*/ 1490245 h 2183723"/>
              <a:gd name="connsiteX544" fmla="*/ 173034 w 1799300"/>
              <a:gd name="connsiteY544" fmla="*/ 1504082 h 2183723"/>
              <a:gd name="connsiteX545" fmla="*/ 202393 w 1799300"/>
              <a:gd name="connsiteY545" fmla="*/ 1493951 h 2183723"/>
              <a:gd name="connsiteX546" fmla="*/ 207516 w 1799300"/>
              <a:gd name="connsiteY546" fmla="*/ 1499881 h 2183723"/>
              <a:gd name="connsiteX547" fmla="*/ 194772 w 1799300"/>
              <a:gd name="connsiteY547" fmla="*/ 1509271 h 2183723"/>
              <a:gd name="connsiteX548" fmla="*/ 201893 w 1799300"/>
              <a:gd name="connsiteY548" fmla="*/ 1513101 h 2183723"/>
              <a:gd name="connsiteX549" fmla="*/ 224257 w 1799300"/>
              <a:gd name="connsiteY549" fmla="*/ 1501117 h 2183723"/>
              <a:gd name="connsiteX550" fmla="*/ 234626 w 1799300"/>
              <a:gd name="connsiteY550" fmla="*/ 1500623 h 2183723"/>
              <a:gd name="connsiteX551" fmla="*/ 229504 w 1799300"/>
              <a:gd name="connsiteY551" fmla="*/ 1510507 h 2183723"/>
              <a:gd name="connsiteX552" fmla="*/ 203643 w 1799300"/>
              <a:gd name="connsiteY552" fmla="*/ 1522614 h 2183723"/>
              <a:gd name="connsiteX553" fmla="*/ 193898 w 1799300"/>
              <a:gd name="connsiteY553" fmla="*/ 1538181 h 2183723"/>
              <a:gd name="connsiteX554" fmla="*/ 175657 w 1799300"/>
              <a:gd name="connsiteY554" fmla="*/ 1534104 h 2183723"/>
              <a:gd name="connsiteX555" fmla="*/ 159541 w 1799300"/>
              <a:gd name="connsiteY555" fmla="*/ 1514831 h 2183723"/>
              <a:gd name="connsiteX556" fmla="*/ 151920 w 1799300"/>
              <a:gd name="connsiteY556" fmla="*/ 1515201 h 2183723"/>
              <a:gd name="connsiteX557" fmla="*/ 143174 w 1799300"/>
              <a:gd name="connsiteY557" fmla="*/ 1523109 h 2183723"/>
              <a:gd name="connsiteX558" fmla="*/ 129432 w 1799300"/>
              <a:gd name="connsiteY558" fmla="*/ 1511989 h 2183723"/>
              <a:gd name="connsiteX559" fmla="*/ 118687 w 1799300"/>
              <a:gd name="connsiteY559" fmla="*/ 1519402 h 2183723"/>
              <a:gd name="connsiteX560" fmla="*/ 110817 w 1799300"/>
              <a:gd name="connsiteY560" fmla="*/ 1514954 h 2183723"/>
              <a:gd name="connsiteX561" fmla="*/ 97324 w 1799300"/>
              <a:gd name="connsiteY561" fmla="*/ 1523726 h 2183723"/>
              <a:gd name="connsiteX562" fmla="*/ 101821 w 1799300"/>
              <a:gd name="connsiteY562" fmla="*/ 1530398 h 2183723"/>
              <a:gd name="connsiteX563" fmla="*/ 130431 w 1799300"/>
              <a:gd name="connsiteY563" fmla="*/ 1533363 h 2183723"/>
              <a:gd name="connsiteX564" fmla="*/ 148921 w 1799300"/>
              <a:gd name="connsiteY564" fmla="*/ 1544235 h 2183723"/>
              <a:gd name="connsiteX565" fmla="*/ 171659 w 1799300"/>
              <a:gd name="connsiteY565" fmla="*/ 1554984 h 2183723"/>
              <a:gd name="connsiteX566" fmla="*/ 166037 w 1799300"/>
              <a:gd name="connsiteY566" fmla="*/ 1569686 h 2183723"/>
              <a:gd name="connsiteX567" fmla="*/ 174158 w 1799300"/>
              <a:gd name="connsiteY567" fmla="*/ 1581053 h 2183723"/>
              <a:gd name="connsiteX568" fmla="*/ 161290 w 1799300"/>
              <a:gd name="connsiteY568" fmla="*/ 1588466 h 2183723"/>
              <a:gd name="connsiteX569" fmla="*/ 155418 w 1799300"/>
              <a:gd name="connsiteY569" fmla="*/ 1581794 h 2183723"/>
              <a:gd name="connsiteX570" fmla="*/ 153669 w 1799300"/>
              <a:gd name="connsiteY570" fmla="*/ 1558443 h 2183723"/>
              <a:gd name="connsiteX571" fmla="*/ 138177 w 1799300"/>
              <a:gd name="connsiteY571" fmla="*/ 1553625 h 2183723"/>
              <a:gd name="connsiteX572" fmla="*/ 121686 w 1799300"/>
              <a:gd name="connsiteY572" fmla="*/ 1557084 h 2183723"/>
              <a:gd name="connsiteX573" fmla="*/ 128432 w 1799300"/>
              <a:gd name="connsiteY573" fmla="*/ 1568451 h 2183723"/>
              <a:gd name="connsiteX574" fmla="*/ 126058 w 1799300"/>
              <a:gd name="connsiteY574" fmla="*/ 1577470 h 2183723"/>
              <a:gd name="connsiteX575" fmla="*/ 105319 w 1799300"/>
              <a:gd name="connsiteY575" fmla="*/ 1565980 h 2183723"/>
              <a:gd name="connsiteX576" fmla="*/ 88703 w 1799300"/>
              <a:gd name="connsiteY576" fmla="*/ 1584636 h 2183723"/>
              <a:gd name="connsiteX577" fmla="*/ 106569 w 1799300"/>
              <a:gd name="connsiteY577" fmla="*/ 1595508 h 2183723"/>
              <a:gd name="connsiteX578" fmla="*/ 92701 w 1799300"/>
              <a:gd name="connsiteY578" fmla="*/ 1597485 h 2183723"/>
              <a:gd name="connsiteX579" fmla="*/ 83206 w 1799300"/>
              <a:gd name="connsiteY579" fmla="*/ 1602056 h 2183723"/>
              <a:gd name="connsiteX580" fmla="*/ 77584 w 1799300"/>
              <a:gd name="connsiteY580" fmla="*/ 1585130 h 2183723"/>
              <a:gd name="connsiteX581" fmla="*/ 51223 w 1799300"/>
              <a:gd name="connsiteY581" fmla="*/ 1585624 h 2183723"/>
              <a:gd name="connsiteX582" fmla="*/ 60343 w 1799300"/>
              <a:gd name="connsiteY582" fmla="*/ 1602427 h 2183723"/>
              <a:gd name="connsiteX583" fmla="*/ 49599 w 1799300"/>
              <a:gd name="connsiteY583" fmla="*/ 1610457 h 2183723"/>
              <a:gd name="connsiteX584" fmla="*/ 43977 w 1799300"/>
              <a:gd name="connsiteY584" fmla="*/ 1594149 h 2183723"/>
              <a:gd name="connsiteX585" fmla="*/ 28110 w 1799300"/>
              <a:gd name="connsiteY585" fmla="*/ 1581053 h 2183723"/>
              <a:gd name="connsiteX586" fmla="*/ 19865 w 1799300"/>
              <a:gd name="connsiteY586" fmla="*/ 1584142 h 2183723"/>
              <a:gd name="connsiteX587" fmla="*/ 22363 w 1799300"/>
              <a:gd name="connsiteY587" fmla="*/ 1593655 h 2183723"/>
              <a:gd name="connsiteX588" fmla="*/ 40354 w 1799300"/>
              <a:gd name="connsiteY588" fmla="*/ 1608728 h 2183723"/>
              <a:gd name="connsiteX589" fmla="*/ 33232 w 1799300"/>
              <a:gd name="connsiteY589" fmla="*/ 1619353 h 2183723"/>
              <a:gd name="connsiteX590" fmla="*/ 41103 w 1799300"/>
              <a:gd name="connsiteY590" fmla="*/ 1626642 h 2183723"/>
              <a:gd name="connsiteX591" fmla="*/ 60968 w 1799300"/>
              <a:gd name="connsiteY591" fmla="*/ 1619600 h 2183723"/>
              <a:gd name="connsiteX592" fmla="*/ 88203 w 1799300"/>
              <a:gd name="connsiteY592" fmla="*/ 1623924 h 2183723"/>
              <a:gd name="connsiteX593" fmla="*/ 106069 w 1799300"/>
              <a:gd name="connsiteY593" fmla="*/ 1634179 h 2183723"/>
              <a:gd name="connsiteX594" fmla="*/ 132430 w 1799300"/>
              <a:gd name="connsiteY594" fmla="*/ 1633067 h 2183723"/>
              <a:gd name="connsiteX595" fmla="*/ 140551 w 1799300"/>
              <a:gd name="connsiteY595" fmla="*/ 1626519 h 2183723"/>
              <a:gd name="connsiteX596" fmla="*/ 153794 w 1799300"/>
              <a:gd name="connsiteY596" fmla="*/ 1625901 h 2183723"/>
              <a:gd name="connsiteX597" fmla="*/ 137178 w 1799300"/>
              <a:gd name="connsiteY597" fmla="*/ 1643816 h 2183723"/>
              <a:gd name="connsiteX598" fmla="*/ 113440 w 1799300"/>
              <a:gd name="connsiteY598" fmla="*/ 1641345 h 2183723"/>
              <a:gd name="connsiteX599" fmla="*/ 104570 w 1799300"/>
              <a:gd name="connsiteY599" fmla="*/ 1646534 h 2183723"/>
              <a:gd name="connsiteX600" fmla="*/ 75460 w 1799300"/>
              <a:gd name="connsiteY600" fmla="*/ 1633314 h 2183723"/>
              <a:gd name="connsiteX601" fmla="*/ 57595 w 1799300"/>
              <a:gd name="connsiteY601" fmla="*/ 1638874 h 2183723"/>
              <a:gd name="connsiteX602" fmla="*/ 49099 w 1799300"/>
              <a:gd name="connsiteY602" fmla="*/ 1635785 h 2183723"/>
              <a:gd name="connsiteX603" fmla="*/ 35731 w 1799300"/>
              <a:gd name="connsiteY603" fmla="*/ 1648016 h 2183723"/>
              <a:gd name="connsiteX604" fmla="*/ 16491 w 1799300"/>
              <a:gd name="connsiteY604" fmla="*/ 1651599 h 2183723"/>
              <a:gd name="connsiteX605" fmla="*/ 15367 w 1799300"/>
              <a:gd name="connsiteY605" fmla="*/ 1659259 h 2183723"/>
              <a:gd name="connsiteX606" fmla="*/ 45726 w 1799300"/>
              <a:gd name="connsiteY606" fmla="*/ 1670996 h 2183723"/>
              <a:gd name="connsiteX607" fmla="*/ 35106 w 1799300"/>
              <a:gd name="connsiteY607" fmla="*/ 1683845 h 2183723"/>
              <a:gd name="connsiteX608" fmla="*/ 49849 w 1799300"/>
              <a:gd name="connsiteY608" fmla="*/ 1685946 h 2183723"/>
              <a:gd name="connsiteX609" fmla="*/ 59219 w 1799300"/>
              <a:gd name="connsiteY609" fmla="*/ 1679398 h 2183723"/>
              <a:gd name="connsiteX610" fmla="*/ 83581 w 1799300"/>
              <a:gd name="connsiteY610" fmla="*/ 1678409 h 2183723"/>
              <a:gd name="connsiteX611" fmla="*/ 65965 w 1799300"/>
              <a:gd name="connsiteY611" fmla="*/ 1691505 h 2183723"/>
              <a:gd name="connsiteX612" fmla="*/ 40354 w 1799300"/>
              <a:gd name="connsiteY612" fmla="*/ 1692617 h 2183723"/>
              <a:gd name="connsiteX613" fmla="*/ 33482 w 1799300"/>
              <a:gd name="connsiteY613" fmla="*/ 1696324 h 2183723"/>
              <a:gd name="connsiteX614" fmla="*/ 25736 w 1799300"/>
              <a:gd name="connsiteY614" fmla="*/ 1694594 h 2183723"/>
              <a:gd name="connsiteX615" fmla="*/ 25237 w 1799300"/>
              <a:gd name="connsiteY615" fmla="*/ 1700154 h 2183723"/>
              <a:gd name="connsiteX616" fmla="*/ 38605 w 1799300"/>
              <a:gd name="connsiteY616" fmla="*/ 1705096 h 2183723"/>
              <a:gd name="connsiteX617" fmla="*/ 48349 w 1799300"/>
              <a:gd name="connsiteY617" fmla="*/ 1704725 h 2183723"/>
              <a:gd name="connsiteX618" fmla="*/ 33482 w 1799300"/>
              <a:gd name="connsiteY618" fmla="*/ 1714238 h 2183723"/>
              <a:gd name="connsiteX619" fmla="*/ 26111 w 1799300"/>
              <a:gd name="connsiteY619" fmla="*/ 1716586 h 2183723"/>
              <a:gd name="connsiteX620" fmla="*/ 28485 w 1799300"/>
              <a:gd name="connsiteY620" fmla="*/ 1724740 h 2183723"/>
              <a:gd name="connsiteX621" fmla="*/ 36980 w 1799300"/>
              <a:gd name="connsiteY621" fmla="*/ 1730176 h 2183723"/>
              <a:gd name="connsiteX622" fmla="*/ 43602 w 1799300"/>
              <a:gd name="connsiteY622" fmla="*/ 1740184 h 2183723"/>
              <a:gd name="connsiteX623" fmla="*/ 64341 w 1799300"/>
              <a:gd name="connsiteY623" fmla="*/ 1738330 h 2183723"/>
              <a:gd name="connsiteX624" fmla="*/ 75085 w 1799300"/>
              <a:gd name="connsiteY624" fmla="*/ 1729929 h 2183723"/>
              <a:gd name="connsiteX625" fmla="*/ 102571 w 1799300"/>
              <a:gd name="connsiteY625" fmla="*/ 1724987 h 2183723"/>
              <a:gd name="connsiteX626" fmla="*/ 121561 w 1799300"/>
              <a:gd name="connsiteY626" fmla="*/ 1728941 h 2183723"/>
              <a:gd name="connsiteX627" fmla="*/ 128682 w 1799300"/>
              <a:gd name="connsiteY627" fmla="*/ 1733388 h 2183723"/>
              <a:gd name="connsiteX628" fmla="*/ 140801 w 1799300"/>
              <a:gd name="connsiteY628" fmla="*/ 1724616 h 2183723"/>
              <a:gd name="connsiteX629" fmla="*/ 140801 w 1799300"/>
              <a:gd name="connsiteY629" fmla="*/ 1713003 h 2183723"/>
              <a:gd name="connsiteX630" fmla="*/ 152919 w 1799300"/>
              <a:gd name="connsiteY630" fmla="*/ 1709049 h 2183723"/>
              <a:gd name="connsiteX631" fmla="*/ 157917 w 1799300"/>
              <a:gd name="connsiteY631" fmla="*/ 1718810 h 2183723"/>
              <a:gd name="connsiteX632" fmla="*/ 171410 w 1799300"/>
              <a:gd name="connsiteY632" fmla="*/ 1718192 h 2183723"/>
              <a:gd name="connsiteX633" fmla="*/ 190524 w 1799300"/>
              <a:gd name="connsiteY633" fmla="*/ 1702995 h 2183723"/>
              <a:gd name="connsiteX634" fmla="*/ 199645 w 1799300"/>
              <a:gd name="connsiteY634" fmla="*/ 1704972 h 2183723"/>
              <a:gd name="connsiteX635" fmla="*/ 196146 w 1799300"/>
              <a:gd name="connsiteY635" fmla="*/ 1712632 h 2183723"/>
              <a:gd name="connsiteX636" fmla="*/ 186776 w 1799300"/>
              <a:gd name="connsiteY636" fmla="*/ 1720169 h 2183723"/>
              <a:gd name="connsiteX637" fmla="*/ 204642 w 1799300"/>
              <a:gd name="connsiteY637" fmla="*/ 1723875 h 2183723"/>
              <a:gd name="connsiteX638" fmla="*/ 212638 w 1799300"/>
              <a:gd name="connsiteY638" fmla="*/ 1715350 h 2183723"/>
              <a:gd name="connsiteX639" fmla="*/ 208765 w 1799300"/>
              <a:gd name="connsiteY639" fmla="*/ 1705590 h 2183723"/>
              <a:gd name="connsiteX640" fmla="*/ 221008 w 1799300"/>
              <a:gd name="connsiteY640" fmla="*/ 1685822 h 2183723"/>
              <a:gd name="connsiteX641" fmla="*/ 218260 w 1799300"/>
              <a:gd name="connsiteY641" fmla="*/ 1700648 h 2183723"/>
              <a:gd name="connsiteX642" fmla="*/ 233127 w 1799300"/>
              <a:gd name="connsiteY642" fmla="*/ 1716462 h 2183723"/>
              <a:gd name="connsiteX643" fmla="*/ 223007 w 1799300"/>
              <a:gd name="connsiteY643" fmla="*/ 1730547 h 2183723"/>
              <a:gd name="connsiteX644" fmla="*/ 199020 w 1799300"/>
              <a:gd name="connsiteY644" fmla="*/ 1737342 h 2183723"/>
              <a:gd name="connsiteX645" fmla="*/ 187651 w 1799300"/>
              <a:gd name="connsiteY645" fmla="*/ 1746732 h 2183723"/>
              <a:gd name="connsiteX646" fmla="*/ 194397 w 1799300"/>
              <a:gd name="connsiteY646" fmla="*/ 1751921 h 2183723"/>
              <a:gd name="connsiteX647" fmla="*/ 186776 w 1799300"/>
              <a:gd name="connsiteY647" fmla="*/ 1766005 h 2183723"/>
              <a:gd name="connsiteX648" fmla="*/ 166037 w 1799300"/>
              <a:gd name="connsiteY648" fmla="*/ 1767611 h 2183723"/>
              <a:gd name="connsiteX649" fmla="*/ 165038 w 1799300"/>
              <a:gd name="connsiteY649" fmla="*/ 1759457 h 2183723"/>
              <a:gd name="connsiteX650" fmla="*/ 175033 w 1799300"/>
              <a:gd name="connsiteY650" fmla="*/ 1750809 h 2183723"/>
              <a:gd name="connsiteX651" fmla="*/ 171909 w 1799300"/>
              <a:gd name="connsiteY651" fmla="*/ 1734500 h 2183723"/>
              <a:gd name="connsiteX652" fmla="*/ 154793 w 1799300"/>
              <a:gd name="connsiteY652" fmla="*/ 1732771 h 2183723"/>
              <a:gd name="connsiteX653" fmla="*/ 136928 w 1799300"/>
              <a:gd name="connsiteY653" fmla="*/ 1751674 h 2183723"/>
              <a:gd name="connsiteX654" fmla="*/ 134554 w 1799300"/>
              <a:gd name="connsiteY654" fmla="*/ 1761434 h 2183723"/>
              <a:gd name="connsiteX655" fmla="*/ 121061 w 1799300"/>
              <a:gd name="connsiteY655" fmla="*/ 1745496 h 2183723"/>
              <a:gd name="connsiteX656" fmla="*/ 105319 w 1799300"/>
              <a:gd name="connsiteY656" fmla="*/ 1742778 h 2183723"/>
              <a:gd name="connsiteX657" fmla="*/ 85830 w 1799300"/>
              <a:gd name="connsiteY657" fmla="*/ 1746979 h 2183723"/>
              <a:gd name="connsiteX658" fmla="*/ 74211 w 1799300"/>
              <a:gd name="connsiteY658" fmla="*/ 1744014 h 2183723"/>
              <a:gd name="connsiteX659" fmla="*/ 52222 w 1799300"/>
              <a:gd name="connsiteY659" fmla="*/ 1755874 h 2183723"/>
              <a:gd name="connsiteX660" fmla="*/ 41103 w 1799300"/>
              <a:gd name="connsiteY660" fmla="*/ 1756368 h 2183723"/>
              <a:gd name="connsiteX661" fmla="*/ 27610 w 1799300"/>
              <a:gd name="connsiteY661" fmla="*/ 1748338 h 2183723"/>
              <a:gd name="connsiteX662" fmla="*/ 22863 w 1799300"/>
              <a:gd name="connsiteY662" fmla="*/ 1750315 h 2183723"/>
              <a:gd name="connsiteX663" fmla="*/ 30859 w 1799300"/>
              <a:gd name="connsiteY663" fmla="*/ 1766747 h 2183723"/>
              <a:gd name="connsiteX664" fmla="*/ 26736 w 1799300"/>
              <a:gd name="connsiteY664" fmla="*/ 1775766 h 2183723"/>
              <a:gd name="connsiteX665" fmla="*/ 35356 w 1799300"/>
              <a:gd name="connsiteY665" fmla="*/ 1782561 h 2183723"/>
              <a:gd name="connsiteX666" fmla="*/ 48349 w 1799300"/>
              <a:gd name="connsiteY666" fmla="*/ 1778978 h 2183723"/>
              <a:gd name="connsiteX667" fmla="*/ 55221 w 1799300"/>
              <a:gd name="connsiteY667" fmla="*/ 1770082 h 2183723"/>
              <a:gd name="connsiteX668" fmla="*/ 65590 w 1799300"/>
              <a:gd name="connsiteY668" fmla="*/ 1770082 h 2183723"/>
              <a:gd name="connsiteX669" fmla="*/ 54346 w 1799300"/>
              <a:gd name="connsiteY669" fmla="*/ 1783179 h 2183723"/>
              <a:gd name="connsiteX670" fmla="*/ 56345 w 1799300"/>
              <a:gd name="connsiteY670" fmla="*/ 1797881 h 2183723"/>
              <a:gd name="connsiteX671" fmla="*/ 49349 w 1799300"/>
              <a:gd name="connsiteY671" fmla="*/ 1804305 h 2183723"/>
              <a:gd name="connsiteX672" fmla="*/ 36231 w 1799300"/>
              <a:gd name="connsiteY672" fmla="*/ 1797634 h 2183723"/>
              <a:gd name="connsiteX673" fmla="*/ 42977 w 1799300"/>
              <a:gd name="connsiteY673" fmla="*/ 1817278 h 2183723"/>
              <a:gd name="connsiteX674" fmla="*/ 53722 w 1799300"/>
              <a:gd name="connsiteY674" fmla="*/ 1825679 h 2183723"/>
              <a:gd name="connsiteX675" fmla="*/ 78084 w 1799300"/>
              <a:gd name="connsiteY675" fmla="*/ 1796522 h 2183723"/>
              <a:gd name="connsiteX676" fmla="*/ 96449 w 1799300"/>
              <a:gd name="connsiteY676" fmla="*/ 1803193 h 2183723"/>
              <a:gd name="connsiteX677" fmla="*/ 89203 w 1799300"/>
              <a:gd name="connsiteY677" fmla="*/ 1811101 h 2183723"/>
              <a:gd name="connsiteX678" fmla="*/ 91827 w 1799300"/>
              <a:gd name="connsiteY678" fmla="*/ 1825432 h 2183723"/>
              <a:gd name="connsiteX679" fmla="*/ 70838 w 1799300"/>
              <a:gd name="connsiteY679" fmla="*/ 1838034 h 2183723"/>
              <a:gd name="connsiteX680" fmla="*/ 74586 w 1799300"/>
              <a:gd name="connsiteY680" fmla="*/ 1844088 h 2183723"/>
              <a:gd name="connsiteX681" fmla="*/ 87829 w 1799300"/>
              <a:gd name="connsiteY681" fmla="*/ 1845571 h 2183723"/>
              <a:gd name="connsiteX682" fmla="*/ 81332 w 1799300"/>
              <a:gd name="connsiteY682" fmla="*/ 1856814 h 2183723"/>
              <a:gd name="connsiteX683" fmla="*/ 91702 w 1799300"/>
              <a:gd name="connsiteY683" fmla="*/ 1870775 h 2183723"/>
              <a:gd name="connsiteX684" fmla="*/ 86205 w 1799300"/>
              <a:gd name="connsiteY684" fmla="*/ 1888195 h 2183723"/>
              <a:gd name="connsiteX685" fmla="*/ 91827 w 1799300"/>
              <a:gd name="connsiteY685" fmla="*/ 1888689 h 2183723"/>
              <a:gd name="connsiteX686" fmla="*/ 104820 w 1799300"/>
              <a:gd name="connsiteY686" fmla="*/ 1866821 h 2183723"/>
              <a:gd name="connsiteX687" fmla="*/ 117063 w 1799300"/>
              <a:gd name="connsiteY687" fmla="*/ 1859408 h 2183723"/>
              <a:gd name="connsiteX688" fmla="*/ 119062 w 1799300"/>
              <a:gd name="connsiteY688" fmla="*/ 1841493 h 2183723"/>
              <a:gd name="connsiteX689" fmla="*/ 151795 w 1799300"/>
              <a:gd name="connsiteY689" fmla="*/ 1826297 h 2183723"/>
              <a:gd name="connsiteX690" fmla="*/ 168411 w 1799300"/>
              <a:gd name="connsiteY690" fmla="*/ 1826915 h 2183723"/>
              <a:gd name="connsiteX691" fmla="*/ 182154 w 1799300"/>
              <a:gd name="connsiteY691" fmla="*/ 1822220 h 2183723"/>
              <a:gd name="connsiteX692" fmla="*/ 172784 w 1799300"/>
              <a:gd name="connsiteY692" fmla="*/ 1828768 h 2183723"/>
              <a:gd name="connsiteX693" fmla="*/ 156043 w 1799300"/>
              <a:gd name="connsiteY693" fmla="*/ 1842482 h 2183723"/>
              <a:gd name="connsiteX694" fmla="*/ 156917 w 1799300"/>
              <a:gd name="connsiteY694" fmla="*/ 1863732 h 2183723"/>
              <a:gd name="connsiteX695" fmla="*/ 163039 w 1799300"/>
              <a:gd name="connsiteY695" fmla="*/ 1876581 h 2183723"/>
              <a:gd name="connsiteX696" fmla="*/ 149421 w 1799300"/>
              <a:gd name="connsiteY696" fmla="*/ 1866203 h 2183723"/>
              <a:gd name="connsiteX697" fmla="*/ 145798 w 1799300"/>
              <a:gd name="connsiteY697" fmla="*/ 1847053 h 2183723"/>
              <a:gd name="connsiteX698" fmla="*/ 136053 w 1799300"/>
              <a:gd name="connsiteY698" fmla="*/ 1846806 h 2183723"/>
              <a:gd name="connsiteX699" fmla="*/ 125184 w 1799300"/>
              <a:gd name="connsiteY699" fmla="*/ 1868551 h 2183723"/>
              <a:gd name="connsiteX700" fmla="*/ 115689 w 1799300"/>
              <a:gd name="connsiteY700" fmla="*/ 1872381 h 2183723"/>
              <a:gd name="connsiteX701" fmla="*/ 132680 w 1799300"/>
              <a:gd name="connsiteY701" fmla="*/ 1877817 h 2183723"/>
              <a:gd name="connsiteX702" fmla="*/ 118937 w 1799300"/>
              <a:gd name="connsiteY702" fmla="*/ 1897708 h 2183723"/>
              <a:gd name="connsiteX703" fmla="*/ 107193 w 1799300"/>
              <a:gd name="connsiteY703" fmla="*/ 1898202 h 2183723"/>
              <a:gd name="connsiteX704" fmla="*/ 102196 w 1799300"/>
              <a:gd name="connsiteY704" fmla="*/ 1910804 h 2183723"/>
              <a:gd name="connsiteX705" fmla="*/ 111316 w 1799300"/>
              <a:gd name="connsiteY705" fmla="*/ 1914511 h 2183723"/>
              <a:gd name="connsiteX706" fmla="*/ 136303 w 1799300"/>
              <a:gd name="connsiteY706" fmla="*/ 1913399 h 2183723"/>
              <a:gd name="connsiteX707" fmla="*/ 142925 w 1799300"/>
              <a:gd name="connsiteY707" fmla="*/ 1923406 h 2183723"/>
              <a:gd name="connsiteX708" fmla="*/ 125059 w 1799300"/>
              <a:gd name="connsiteY708" fmla="*/ 1925507 h 2183723"/>
              <a:gd name="connsiteX709" fmla="*/ 119187 w 1799300"/>
              <a:gd name="connsiteY709" fmla="*/ 1936008 h 2183723"/>
              <a:gd name="connsiteX710" fmla="*/ 118313 w 1799300"/>
              <a:gd name="connsiteY710" fmla="*/ 1948487 h 2183723"/>
              <a:gd name="connsiteX711" fmla="*/ 98323 w 1799300"/>
              <a:gd name="connsiteY711" fmla="*/ 1936255 h 2183723"/>
              <a:gd name="connsiteX712" fmla="*/ 89453 w 1799300"/>
              <a:gd name="connsiteY712" fmla="*/ 1940703 h 2183723"/>
              <a:gd name="connsiteX713" fmla="*/ 86579 w 1799300"/>
              <a:gd name="connsiteY713" fmla="*/ 1955900 h 2183723"/>
              <a:gd name="connsiteX714" fmla="*/ 81582 w 1799300"/>
              <a:gd name="connsiteY714" fmla="*/ 1938232 h 2183723"/>
              <a:gd name="connsiteX715" fmla="*/ 70213 w 1799300"/>
              <a:gd name="connsiteY715" fmla="*/ 1946263 h 2183723"/>
              <a:gd name="connsiteX716" fmla="*/ 55221 w 1799300"/>
              <a:gd name="connsiteY716" fmla="*/ 1968255 h 2183723"/>
              <a:gd name="connsiteX717" fmla="*/ 62217 w 1799300"/>
              <a:gd name="connsiteY717" fmla="*/ 1984439 h 2183723"/>
              <a:gd name="connsiteX718" fmla="*/ 87579 w 1799300"/>
              <a:gd name="connsiteY718" fmla="*/ 2008779 h 2183723"/>
              <a:gd name="connsiteX719" fmla="*/ 91827 w 1799300"/>
              <a:gd name="connsiteY719" fmla="*/ 1994200 h 2183723"/>
              <a:gd name="connsiteX720" fmla="*/ 98323 w 1799300"/>
              <a:gd name="connsiteY720" fmla="*/ 1999389 h 2183723"/>
              <a:gd name="connsiteX721" fmla="*/ 111191 w 1799300"/>
              <a:gd name="connsiteY721" fmla="*/ 1992717 h 2183723"/>
              <a:gd name="connsiteX722" fmla="*/ 107318 w 1799300"/>
              <a:gd name="connsiteY722" fmla="*/ 1985304 h 2183723"/>
              <a:gd name="connsiteX723" fmla="*/ 114190 w 1799300"/>
              <a:gd name="connsiteY723" fmla="*/ 1967884 h 2183723"/>
              <a:gd name="connsiteX724" fmla="*/ 134179 w 1799300"/>
              <a:gd name="connsiteY724" fmla="*/ 1981474 h 2183723"/>
              <a:gd name="connsiteX725" fmla="*/ 125434 w 1799300"/>
              <a:gd name="connsiteY725" fmla="*/ 1987405 h 2183723"/>
              <a:gd name="connsiteX726" fmla="*/ 137053 w 1799300"/>
              <a:gd name="connsiteY726" fmla="*/ 1998647 h 2183723"/>
              <a:gd name="connsiteX727" fmla="*/ 133555 w 1799300"/>
              <a:gd name="connsiteY727" fmla="*/ 2013968 h 2183723"/>
              <a:gd name="connsiteX728" fmla="*/ 122061 w 1799300"/>
              <a:gd name="connsiteY728" fmla="*/ 2022740 h 2183723"/>
              <a:gd name="connsiteX729" fmla="*/ 133555 w 1799300"/>
              <a:gd name="connsiteY729" fmla="*/ 2047696 h 2183723"/>
              <a:gd name="connsiteX730" fmla="*/ 141425 w 1799300"/>
              <a:gd name="connsiteY730" fmla="*/ 2037689 h 2183723"/>
              <a:gd name="connsiteX731" fmla="*/ 163414 w 1799300"/>
              <a:gd name="connsiteY731" fmla="*/ 2030523 h 2183723"/>
              <a:gd name="connsiteX732" fmla="*/ 172909 w 1799300"/>
              <a:gd name="connsiteY732" fmla="*/ 2042507 h 2183723"/>
              <a:gd name="connsiteX733" fmla="*/ 154294 w 1799300"/>
              <a:gd name="connsiteY733" fmla="*/ 2044608 h 2183723"/>
              <a:gd name="connsiteX734" fmla="*/ 145548 w 1799300"/>
              <a:gd name="connsiteY734" fmla="*/ 2051897 h 2183723"/>
              <a:gd name="connsiteX735" fmla="*/ 155918 w 1799300"/>
              <a:gd name="connsiteY735" fmla="*/ 2066599 h 2183723"/>
              <a:gd name="connsiteX736" fmla="*/ 154169 w 1799300"/>
              <a:gd name="connsiteY736" fmla="*/ 2072900 h 2183723"/>
              <a:gd name="connsiteX737" fmla="*/ 120561 w 1799300"/>
              <a:gd name="connsiteY737" fmla="*/ 2050909 h 2183723"/>
              <a:gd name="connsiteX738" fmla="*/ 109692 w 1799300"/>
              <a:gd name="connsiteY738" fmla="*/ 2055480 h 2183723"/>
              <a:gd name="connsiteX739" fmla="*/ 98948 w 1799300"/>
              <a:gd name="connsiteY739" fmla="*/ 2047696 h 2183723"/>
              <a:gd name="connsiteX740" fmla="*/ 85080 w 1799300"/>
              <a:gd name="connsiteY740" fmla="*/ 2048932 h 2183723"/>
              <a:gd name="connsiteX741" fmla="*/ 85705 w 1799300"/>
              <a:gd name="connsiteY741" fmla="*/ 2062646 h 2183723"/>
              <a:gd name="connsiteX742" fmla="*/ 76460 w 1799300"/>
              <a:gd name="connsiteY742" fmla="*/ 2073394 h 2183723"/>
              <a:gd name="connsiteX743" fmla="*/ 101072 w 1799300"/>
              <a:gd name="connsiteY743" fmla="*/ 2110830 h 2183723"/>
              <a:gd name="connsiteX744" fmla="*/ 119937 w 1799300"/>
              <a:gd name="connsiteY744" fmla="*/ 2113424 h 2183723"/>
              <a:gd name="connsiteX745" fmla="*/ 145798 w 1799300"/>
              <a:gd name="connsiteY745" fmla="*/ 2133686 h 2183723"/>
              <a:gd name="connsiteX746" fmla="*/ 181029 w 1799300"/>
              <a:gd name="connsiteY746" fmla="*/ 2145176 h 2183723"/>
              <a:gd name="connsiteX747" fmla="*/ 185652 w 1799300"/>
              <a:gd name="connsiteY747" fmla="*/ 2156049 h 2183723"/>
              <a:gd name="connsiteX748" fmla="*/ 177531 w 1799300"/>
              <a:gd name="connsiteY748" fmla="*/ 2160496 h 2183723"/>
              <a:gd name="connsiteX749" fmla="*/ 191274 w 1799300"/>
              <a:gd name="connsiteY749" fmla="*/ 2172357 h 2183723"/>
              <a:gd name="connsiteX750" fmla="*/ 203143 w 1799300"/>
              <a:gd name="connsiteY750" fmla="*/ 2166056 h 2183723"/>
              <a:gd name="connsiteX751" fmla="*/ 196896 w 1799300"/>
              <a:gd name="connsiteY751" fmla="*/ 2148883 h 2183723"/>
              <a:gd name="connsiteX752" fmla="*/ 208015 w 1799300"/>
              <a:gd name="connsiteY752" fmla="*/ 2148018 h 2183723"/>
              <a:gd name="connsiteX753" fmla="*/ 219884 w 1799300"/>
              <a:gd name="connsiteY753" fmla="*/ 2156790 h 2183723"/>
              <a:gd name="connsiteX754" fmla="*/ 218010 w 1799300"/>
              <a:gd name="connsiteY754" fmla="*/ 2161979 h 2183723"/>
              <a:gd name="connsiteX755" fmla="*/ 237375 w 1799300"/>
              <a:gd name="connsiteY755" fmla="*/ 2183724 h 2183723"/>
              <a:gd name="connsiteX756" fmla="*/ 245246 w 1799300"/>
              <a:gd name="connsiteY756" fmla="*/ 2173098 h 2183723"/>
              <a:gd name="connsiteX757" fmla="*/ 252617 w 1799300"/>
              <a:gd name="connsiteY757" fmla="*/ 2176558 h 2183723"/>
              <a:gd name="connsiteX758" fmla="*/ 267859 w 1799300"/>
              <a:gd name="connsiteY758" fmla="*/ 2168774 h 2183723"/>
              <a:gd name="connsiteX759" fmla="*/ 286099 w 1799300"/>
              <a:gd name="connsiteY759" fmla="*/ 2149871 h 2183723"/>
              <a:gd name="connsiteX760" fmla="*/ 294345 w 1799300"/>
              <a:gd name="connsiteY760" fmla="*/ 2147771 h 2183723"/>
              <a:gd name="connsiteX761" fmla="*/ 301591 w 1799300"/>
              <a:gd name="connsiteY761" fmla="*/ 2138875 h 2183723"/>
              <a:gd name="connsiteX762" fmla="*/ 305839 w 1799300"/>
              <a:gd name="connsiteY762" fmla="*/ 2139740 h 2183723"/>
              <a:gd name="connsiteX763" fmla="*/ 310961 w 1799300"/>
              <a:gd name="connsiteY763" fmla="*/ 2152589 h 2183723"/>
              <a:gd name="connsiteX764" fmla="*/ 322080 w 1799300"/>
              <a:gd name="connsiteY764" fmla="*/ 2153207 h 2183723"/>
              <a:gd name="connsiteX765" fmla="*/ 352189 w 1799300"/>
              <a:gd name="connsiteY765" fmla="*/ 2120343 h 2183723"/>
              <a:gd name="connsiteX766" fmla="*/ 350315 w 1799300"/>
              <a:gd name="connsiteY766" fmla="*/ 2109471 h 2183723"/>
              <a:gd name="connsiteX767" fmla="*/ 335698 w 1799300"/>
              <a:gd name="connsiteY767" fmla="*/ 2092915 h 2183723"/>
              <a:gd name="connsiteX768" fmla="*/ 360560 w 1799300"/>
              <a:gd name="connsiteY768" fmla="*/ 2107000 h 2183723"/>
              <a:gd name="connsiteX769" fmla="*/ 379050 w 1799300"/>
              <a:gd name="connsiteY769" fmla="*/ 2086985 h 2183723"/>
              <a:gd name="connsiteX770" fmla="*/ 373553 w 1799300"/>
              <a:gd name="connsiteY770" fmla="*/ 2080684 h 2183723"/>
              <a:gd name="connsiteX771" fmla="*/ 384672 w 1799300"/>
              <a:gd name="connsiteY771" fmla="*/ 2072283 h 2183723"/>
              <a:gd name="connsiteX772" fmla="*/ 382048 w 1799300"/>
              <a:gd name="connsiteY772" fmla="*/ 2060051 h 2183723"/>
              <a:gd name="connsiteX773" fmla="*/ 395791 w 1799300"/>
              <a:gd name="connsiteY773" fmla="*/ 2050167 h 2183723"/>
              <a:gd name="connsiteX774" fmla="*/ 410908 w 1799300"/>
              <a:gd name="connsiteY774" fmla="*/ 2046832 h 2183723"/>
              <a:gd name="connsiteX775" fmla="*/ 414281 w 1799300"/>
              <a:gd name="connsiteY775" fmla="*/ 2035712 h 2183723"/>
              <a:gd name="connsiteX776" fmla="*/ 398915 w 1799300"/>
              <a:gd name="connsiteY776" fmla="*/ 2018168 h 2183723"/>
              <a:gd name="connsiteX777" fmla="*/ 403537 w 1799300"/>
              <a:gd name="connsiteY777" fmla="*/ 2005937 h 2183723"/>
              <a:gd name="connsiteX778" fmla="*/ 390044 w 1799300"/>
              <a:gd name="connsiteY778" fmla="*/ 1989381 h 2183723"/>
              <a:gd name="connsiteX779" fmla="*/ 373928 w 1799300"/>
              <a:gd name="connsiteY779" fmla="*/ 1978756 h 2183723"/>
              <a:gd name="connsiteX780" fmla="*/ 373928 w 1799300"/>
              <a:gd name="connsiteY780" fmla="*/ 1963683 h 2183723"/>
              <a:gd name="connsiteX781" fmla="*/ 383173 w 1799300"/>
              <a:gd name="connsiteY781" fmla="*/ 1968749 h 2183723"/>
              <a:gd name="connsiteX782" fmla="*/ 401288 w 1799300"/>
              <a:gd name="connsiteY782" fmla="*/ 1987157 h 2183723"/>
              <a:gd name="connsiteX783" fmla="*/ 409284 w 1799300"/>
              <a:gd name="connsiteY783" fmla="*/ 2011867 h 2183723"/>
              <a:gd name="connsiteX784" fmla="*/ 415906 w 1799300"/>
              <a:gd name="connsiteY784" fmla="*/ 2018415 h 2183723"/>
              <a:gd name="connsiteX785" fmla="*/ 427025 w 1799300"/>
              <a:gd name="connsiteY785" fmla="*/ 2019651 h 2183723"/>
              <a:gd name="connsiteX786" fmla="*/ 425026 w 1799300"/>
              <a:gd name="connsiteY786" fmla="*/ 2029658 h 2183723"/>
              <a:gd name="connsiteX787" fmla="*/ 433771 w 1799300"/>
              <a:gd name="connsiteY787" fmla="*/ 2039913 h 2183723"/>
              <a:gd name="connsiteX788" fmla="*/ 451012 w 1799300"/>
              <a:gd name="connsiteY788" fmla="*/ 2031264 h 2183723"/>
              <a:gd name="connsiteX789" fmla="*/ 446140 w 1799300"/>
              <a:gd name="connsiteY789" fmla="*/ 2021875 h 2183723"/>
              <a:gd name="connsiteX790" fmla="*/ 437894 w 1799300"/>
              <a:gd name="connsiteY790" fmla="*/ 2016068 h 2183723"/>
              <a:gd name="connsiteX791" fmla="*/ 443641 w 1799300"/>
              <a:gd name="connsiteY791" fmla="*/ 2004454 h 2183723"/>
              <a:gd name="connsiteX792" fmla="*/ 459133 w 1799300"/>
              <a:gd name="connsiteY792" fmla="*/ 2016809 h 2183723"/>
              <a:gd name="connsiteX793" fmla="*/ 460132 w 1799300"/>
              <a:gd name="connsiteY793" fmla="*/ 2023234 h 2183723"/>
              <a:gd name="connsiteX794" fmla="*/ 481996 w 1799300"/>
              <a:gd name="connsiteY794" fmla="*/ 2001119 h 2183723"/>
              <a:gd name="connsiteX795" fmla="*/ 486993 w 1799300"/>
              <a:gd name="connsiteY795" fmla="*/ 1981351 h 2183723"/>
              <a:gd name="connsiteX796" fmla="*/ 480746 w 1799300"/>
              <a:gd name="connsiteY796" fmla="*/ 1964177 h 2183723"/>
              <a:gd name="connsiteX797" fmla="*/ 468378 w 1799300"/>
              <a:gd name="connsiteY797" fmla="*/ 1959606 h 2183723"/>
              <a:gd name="connsiteX798" fmla="*/ 461756 w 1799300"/>
              <a:gd name="connsiteY798" fmla="*/ 1949969 h 2183723"/>
              <a:gd name="connsiteX799" fmla="*/ 469877 w 1799300"/>
              <a:gd name="connsiteY799" fmla="*/ 1944163 h 2183723"/>
              <a:gd name="connsiteX800" fmla="*/ 470877 w 1799300"/>
              <a:gd name="connsiteY800" fmla="*/ 1936255 h 2183723"/>
              <a:gd name="connsiteX801" fmla="*/ 479747 w 1799300"/>
              <a:gd name="connsiteY801" fmla="*/ 1934896 h 2183723"/>
              <a:gd name="connsiteX802" fmla="*/ 486243 w 1799300"/>
              <a:gd name="connsiteY802" fmla="*/ 1926742 h 2183723"/>
              <a:gd name="connsiteX803" fmla="*/ 476499 w 1799300"/>
              <a:gd name="connsiteY803" fmla="*/ 1916240 h 2183723"/>
              <a:gd name="connsiteX804" fmla="*/ 476499 w 1799300"/>
              <a:gd name="connsiteY804" fmla="*/ 1899438 h 2183723"/>
              <a:gd name="connsiteX805" fmla="*/ 489866 w 1799300"/>
              <a:gd name="connsiteY805" fmla="*/ 1888566 h 2183723"/>
              <a:gd name="connsiteX806" fmla="*/ 503234 w 1799300"/>
              <a:gd name="connsiteY806" fmla="*/ 1900673 h 2183723"/>
              <a:gd name="connsiteX807" fmla="*/ 493615 w 1799300"/>
              <a:gd name="connsiteY807" fmla="*/ 1917600 h 2183723"/>
              <a:gd name="connsiteX808" fmla="*/ 497987 w 1799300"/>
              <a:gd name="connsiteY808" fmla="*/ 1938974 h 2183723"/>
              <a:gd name="connsiteX809" fmla="*/ 494864 w 1799300"/>
              <a:gd name="connsiteY809" fmla="*/ 1953799 h 2183723"/>
              <a:gd name="connsiteX810" fmla="*/ 505983 w 1799300"/>
              <a:gd name="connsiteY810" fmla="*/ 1969737 h 2183723"/>
              <a:gd name="connsiteX811" fmla="*/ 509231 w 1799300"/>
              <a:gd name="connsiteY811" fmla="*/ 1981598 h 2183723"/>
              <a:gd name="connsiteX812" fmla="*/ 529096 w 1799300"/>
              <a:gd name="connsiteY812" fmla="*/ 2000254 h 2183723"/>
              <a:gd name="connsiteX813" fmla="*/ 550709 w 1799300"/>
              <a:gd name="connsiteY813" fmla="*/ 1997288 h 2183723"/>
              <a:gd name="connsiteX814" fmla="*/ 560079 w 1799300"/>
              <a:gd name="connsiteY814" fmla="*/ 2004454 h 2183723"/>
              <a:gd name="connsiteX815" fmla="*/ 554957 w 1799300"/>
              <a:gd name="connsiteY815" fmla="*/ 2011620 h 2183723"/>
              <a:gd name="connsiteX816" fmla="*/ 566576 w 1799300"/>
              <a:gd name="connsiteY816" fmla="*/ 2018786 h 2183723"/>
              <a:gd name="connsiteX817" fmla="*/ 577945 w 1799300"/>
              <a:gd name="connsiteY817" fmla="*/ 2036700 h 2183723"/>
              <a:gd name="connsiteX818" fmla="*/ 587065 w 1799300"/>
              <a:gd name="connsiteY818" fmla="*/ 2017921 h 2183723"/>
              <a:gd name="connsiteX819" fmla="*/ 580569 w 1799300"/>
              <a:gd name="connsiteY819" fmla="*/ 1961830 h 2183723"/>
              <a:gd name="connsiteX820" fmla="*/ 565701 w 1799300"/>
              <a:gd name="connsiteY820" fmla="*/ 1938232 h 2183723"/>
              <a:gd name="connsiteX821" fmla="*/ 572323 w 1799300"/>
              <a:gd name="connsiteY821" fmla="*/ 1922171 h 2183723"/>
              <a:gd name="connsiteX822" fmla="*/ 584567 w 1799300"/>
              <a:gd name="connsiteY822" fmla="*/ 1915129 h 2183723"/>
              <a:gd name="connsiteX823" fmla="*/ 574572 w 1799300"/>
              <a:gd name="connsiteY823" fmla="*/ 1897214 h 2183723"/>
              <a:gd name="connsiteX824" fmla="*/ 580069 w 1799300"/>
              <a:gd name="connsiteY824" fmla="*/ 1886465 h 2183723"/>
              <a:gd name="connsiteX825" fmla="*/ 608429 w 1799300"/>
              <a:gd name="connsiteY825" fmla="*/ 1882635 h 2183723"/>
              <a:gd name="connsiteX826" fmla="*/ 615800 w 1799300"/>
              <a:gd name="connsiteY826" fmla="*/ 1868551 h 2183723"/>
              <a:gd name="connsiteX827" fmla="*/ 613676 w 1799300"/>
              <a:gd name="connsiteY827" fmla="*/ 1849648 h 2183723"/>
              <a:gd name="connsiteX828" fmla="*/ 625670 w 1799300"/>
              <a:gd name="connsiteY828" fmla="*/ 1820985 h 2183723"/>
              <a:gd name="connsiteX829" fmla="*/ 611677 w 1799300"/>
              <a:gd name="connsiteY829" fmla="*/ 1803317 h 2183723"/>
              <a:gd name="connsiteX830" fmla="*/ 603307 w 1799300"/>
              <a:gd name="connsiteY830" fmla="*/ 1762422 h 2183723"/>
              <a:gd name="connsiteX831" fmla="*/ 584691 w 1799300"/>
              <a:gd name="connsiteY831" fmla="*/ 1729806 h 2183723"/>
              <a:gd name="connsiteX832" fmla="*/ 585316 w 1799300"/>
              <a:gd name="connsiteY832" fmla="*/ 1714733 h 2183723"/>
              <a:gd name="connsiteX833" fmla="*/ 626419 w 1799300"/>
              <a:gd name="connsiteY833" fmla="*/ 1699165 h 2183723"/>
              <a:gd name="connsiteX834" fmla="*/ 625795 w 1799300"/>
              <a:gd name="connsiteY834" fmla="*/ 1669761 h 2183723"/>
              <a:gd name="connsiteX835" fmla="*/ 633541 w 1799300"/>
              <a:gd name="connsiteY835" fmla="*/ 1649128 h 2183723"/>
              <a:gd name="connsiteX836" fmla="*/ 600308 w 1799300"/>
              <a:gd name="connsiteY836" fmla="*/ 1615894 h 2183723"/>
              <a:gd name="connsiteX837" fmla="*/ 573322 w 1799300"/>
              <a:gd name="connsiteY837" fmla="*/ 1603909 h 2183723"/>
              <a:gd name="connsiteX838" fmla="*/ 570449 w 1799300"/>
              <a:gd name="connsiteY838" fmla="*/ 1569933 h 2183723"/>
              <a:gd name="connsiteX839" fmla="*/ 574947 w 1799300"/>
              <a:gd name="connsiteY839" fmla="*/ 1536328 h 2183723"/>
              <a:gd name="connsiteX840" fmla="*/ 568700 w 1799300"/>
              <a:gd name="connsiteY840" fmla="*/ 1499881 h 2183723"/>
              <a:gd name="connsiteX841" fmla="*/ 557706 w 1799300"/>
              <a:gd name="connsiteY841" fmla="*/ 1475419 h 2183723"/>
              <a:gd name="connsiteX842" fmla="*/ 564452 w 1799300"/>
              <a:gd name="connsiteY842" fmla="*/ 1447003 h 2183723"/>
              <a:gd name="connsiteX843" fmla="*/ 557081 w 1799300"/>
              <a:gd name="connsiteY843" fmla="*/ 1399560 h 2183723"/>
              <a:gd name="connsiteX844" fmla="*/ 546462 w 1799300"/>
              <a:gd name="connsiteY844" fmla="*/ 1353476 h 2183723"/>
              <a:gd name="connsiteX845" fmla="*/ 551209 w 1799300"/>
              <a:gd name="connsiteY845" fmla="*/ 1312705 h 2183723"/>
              <a:gd name="connsiteX846" fmla="*/ 570074 w 1799300"/>
              <a:gd name="connsiteY846" fmla="*/ 1275888 h 2183723"/>
              <a:gd name="connsiteX847" fmla="*/ 589439 w 1799300"/>
              <a:gd name="connsiteY847" fmla="*/ 1263286 h 2183723"/>
              <a:gd name="connsiteX848" fmla="*/ 614176 w 1799300"/>
              <a:gd name="connsiteY848" fmla="*/ 1267486 h 2183723"/>
              <a:gd name="connsiteX849" fmla="*/ 645285 w 1799300"/>
              <a:gd name="connsiteY849" fmla="*/ 1268104 h 2183723"/>
              <a:gd name="connsiteX850" fmla="*/ 660152 w 1799300"/>
              <a:gd name="connsiteY850" fmla="*/ 1245865 h 2183723"/>
              <a:gd name="connsiteX851" fmla="*/ 656029 w 1799300"/>
              <a:gd name="connsiteY851" fmla="*/ 1212013 h 2183723"/>
              <a:gd name="connsiteX852" fmla="*/ 646909 w 1799300"/>
              <a:gd name="connsiteY852" fmla="*/ 1198670 h 2183723"/>
              <a:gd name="connsiteX853" fmla="*/ 647283 w 1799300"/>
              <a:gd name="connsiteY853" fmla="*/ 1176431 h 2183723"/>
              <a:gd name="connsiteX854" fmla="*/ 675019 w 1799300"/>
              <a:gd name="connsiteY854" fmla="*/ 1099954 h 2183723"/>
              <a:gd name="connsiteX855" fmla="*/ 674394 w 1799300"/>
              <a:gd name="connsiteY855" fmla="*/ 1056836 h 2183723"/>
              <a:gd name="connsiteX856" fmla="*/ 681890 w 1799300"/>
              <a:gd name="connsiteY856" fmla="*/ 1015200 h 2183723"/>
              <a:gd name="connsiteX857" fmla="*/ 690136 w 1799300"/>
              <a:gd name="connsiteY857" fmla="*/ 991973 h 2183723"/>
              <a:gd name="connsiteX858" fmla="*/ 688262 w 1799300"/>
              <a:gd name="connsiteY858" fmla="*/ 965904 h 2183723"/>
              <a:gd name="connsiteX859" fmla="*/ 674519 w 1799300"/>
              <a:gd name="connsiteY859" fmla="*/ 953425 h 2183723"/>
              <a:gd name="connsiteX860" fmla="*/ 674519 w 1799300"/>
              <a:gd name="connsiteY860" fmla="*/ 935140 h 2183723"/>
              <a:gd name="connsiteX861" fmla="*/ 702754 w 1799300"/>
              <a:gd name="connsiteY861" fmla="*/ 916855 h 2183723"/>
              <a:gd name="connsiteX862" fmla="*/ 733488 w 1799300"/>
              <a:gd name="connsiteY862" fmla="*/ 909071 h 2183723"/>
              <a:gd name="connsiteX863" fmla="*/ 747481 w 1799300"/>
              <a:gd name="connsiteY863" fmla="*/ 895975 h 2183723"/>
              <a:gd name="connsiteX864" fmla="*/ 747980 w 1799300"/>
              <a:gd name="connsiteY864" fmla="*/ 877567 h 2183723"/>
              <a:gd name="connsiteX865" fmla="*/ 771218 w 1799300"/>
              <a:gd name="connsiteY865" fmla="*/ 832718 h 2183723"/>
              <a:gd name="connsiteX866" fmla="*/ 795455 w 1799300"/>
              <a:gd name="connsiteY866" fmla="*/ 796271 h 2183723"/>
              <a:gd name="connsiteX867" fmla="*/ 803201 w 1799300"/>
              <a:gd name="connsiteY867" fmla="*/ 775021 h 2183723"/>
              <a:gd name="connsiteX868" fmla="*/ 792082 w 1799300"/>
              <a:gd name="connsiteY868" fmla="*/ 748582 h 2183723"/>
              <a:gd name="connsiteX869" fmla="*/ 780963 w 1799300"/>
              <a:gd name="connsiteY869" fmla="*/ 737215 h 2183723"/>
              <a:gd name="connsiteX870" fmla="*/ 778464 w 1799300"/>
              <a:gd name="connsiteY870" fmla="*/ 695456 h 2183723"/>
              <a:gd name="connsiteX871" fmla="*/ 790083 w 1799300"/>
              <a:gd name="connsiteY871" fmla="*/ 689031 h 2183723"/>
              <a:gd name="connsiteX872" fmla="*/ 800578 w 1799300"/>
              <a:gd name="connsiteY872" fmla="*/ 673464 h 2183723"/>
              <a:gd name="connsiteX873" fmla="*/ 804950 w 1799300"/>
              <a:gd name="connsiteY873" fmla="*/ 650978 h 2183723"/>
              <a:gd name="connsiteX874" fmla="*/ 817194 w 1799300"/>
              <a:gd name="connsiteY874" fmla="*/ 643936 h 2183723"/>
              <a:gd name="connsiteX875" fmla="*/ 829812 w 1799300"/>
              <a:gd name="connsiteY875" fmla="*/ 613296 h 2183723"/>
              <a:gd name="connsiteX876" fmla="*/ 848302 w 1799300"/>
              <a:gd name="connsiteY876" fmla="*/ 598099 h 2183723"/>
              <a:gd name="connsiteX877" fmla="*/ 869166 w 1799300"/>
              <a:gd name="connsiteY877" fmla="*/ 606377 h 2183723"/>
              <a:gd name="connsiteX878" fmla="*/ 878162 w 1799300"/>
              <a:gd name="connsiteY878" fmla="*/ 615890 h 2183723"/>
              <a:gd name="connsiteX879" fmla="*/ 889905 w 1799300"/>
              <a:gd name="connsiteY879" fmla="*/ 613419 h 2183723"/>
              <a:gd name="connsiteX880" fmla="*/ 903273 w 1799300"/>
              <a:gd name="connsiteY880" fmla="*/ 600447 h 2183723"/>
              <a:gd name="connsiteX881" fmla="*/ 891280 w 1799300"/>
              <a:gd name="connsiteY881" fmla="*/ 581914 h 2183723"/>
              <a:gd name="connsiteX882" fmla="*/ 901399 w 1799300"/>
              <a:gd name="connsiteY882" fmla="*/ 571660 h 2183723"/>
              <a:gd name="connsiteX883" fmla="*/ 901025 w 1799300"/>
              <a:gd name="connsiteY883" fmla="*/ 561900 h 2183723"/>
              <a:gd name="connsiteX884" fmla="*/ 905272 w 1799300"/>
              <a:gd name="connsiteY884" fmla="*/ 551892 h 2183723"/>
              <a:gd name="connsiteX885" fmla="*/ 889780 w 1799300"/>
              <a:gd name="connsiteY885" fmla="*/ 529653 h 2183723"/>
              <a:gd name="connsiteX886" fmla="*/ 898776 w 1799300"/>
              <a:gd name="connsiteY886" fmla="*/ 523352 h 2183723"/>
              <a:gd name="connsiteX887" fmla="*/ 925262 w 1799300"/>
              <a:gd name="connsiteY887" fmla="*/ 522858 h 2183723"/>
              <a:gd name="connsiteX888" fmla="*/ 944627 w 1799300"/>
              <a:gd name="connsiteY888" fmla="*/ 511492 h 2183723"/>
              <a:gd name="connsiteX889" fmla="*/ 975360 w 1799300"/>
              <a:gd name="connsiteY889" fmla="*/ 518040 h 2183723"/>
              <a:gd name="connsiteX890" fmla="*/ 994350 w 1799300"/>
              <a:gd name="connsiteY890" fmla="*/ 529653 h 2183723"/>
              <a:gd name="connsiteX891" fmla="*/ 1015589 w 1799300"/>
              <a:gd name="connsiteY891" fmla="*/ 530765 h 2183723"/>
              <a:gd name="connsiteX892" fmla="*/ 1027833 w 1799300"/>
              <a:gd name="connsiteY892" fmla="*/ 540031 h 2183723"/>
              <a:gd name="connsiteX893" fmla="*/ 1036953 w 1799300"/>
              <a:gd name="connsiteY893" fmla="*/ 536325 h 2183723"/>
              <a:gd name="connsiteX894" fmla="*/ 1045823 w 1799300"/>
              <a:gd name="connsiteY894" fmla="*/ 541143 h 2183723"/>
              <a:gd name="connsiteX895" fmla="*/ 1044824 w 1799300"/>
              <a:gd name="connsiteY895" fmla="*/ 518905 h 2183723"/>
              <a:gd name="connsiteX896" fmla="*/ 1034329 w 1799300"/>
              <a:gd name="connsiteY896" fmla="*/ 504944 h 2183723"/>
              <a:gd name="connsiteX897" fmla="*/ 1035703 w 1799300"/>
              <a:gd name="connsiteY897" fmla="*/ 476651 h 2183723"/>
              <a:gd name="connsiteX898" fmla="*/ 1049946 w 1799300"/>
              <a:gd name="connsiteY898" fmla="*/ 468126 h 2183723"/>
              <a:gd name="connsiteX899" fmla="*/ 1044449 w 1799300"/>
              <a:gd name="connsiteY899" fmla="*/ 449347 h 2183723"/>
              <a:gd name="connsiteX900" fmla="*/ 1029582 w 1799300"/>
              <a:gd name="connsiteY900" fmla="*/ 442057 h 2183723"/>
              <a:gd name="connsiteX901" fmla="*/ 1027458 w 1799300"/>
              <a:gd name="connsiteY901" fmla="*/ 423772 h 2183723"/>
              <a:gd name="connsiteX902" fmla="*/ 1048946 w 1799300"/>
              <a:gd name="connsiteY902" fmla="*/ 429455 h 2183723"/>
              <a:gd name="connsiteX903" fmla="*/ 1069311 w 1799300"/>
              <a:gd name="connsiteY903" fmla="*/ 424637 h 2183723"/>
              <a:gd name="connsiteX904" fmla="*/ 1076057 w 1799300"/>
              <a:gd name="connsiteY904" fmla="*/ 420930 h 2183723"/>
              <a:gd name="connsiteX905" fmla="*/ 1076057 w 1799300"/>
              <a:gd name="connsiteY905" fmla="*/ 420930 h 2183723"/>
              <a:gd name="connsiteX906" fmla="*/ 1079555 w 1799300"/>
              <a:gd name="connsiteY906" fmla="*/ 415247 h 2183723"/>
              <a:gd name="connsiteX907" fmla="*/ 1087426 w 1799300"/>
              <a:gd name="connsiteY907" fmla="*/ 418707 h 2183723"/>
              <a:gd name="connsiteX908" fmla="*/ 1093423 w 1799300"/>
              <a:gd name="connsiteY908" fmla="*/ 414382 h 2183723"/>
              <a:gd name="connsiteX909" fmla="*/ 1087551 w 1799300"/>
              <a:gd name="connsiteY909" fmla="*/ 400916 h 2183723"/>
              <a:gd name="connsiteX910" fmla="*/ 1090175 w 1799300"/>
              <a:gd name="connsiteY910" fmla="*/ 385101 h 2183723"/>
              <a:gd name="connsiteX911" fmla="*/ 1102293 w 1799300"/>
              <a:gd name="connsiteY911" fmla="*/ 374106 h 2183723"/>
              <a:gd name="connsiteX912" fmla="*/ 1119534 w 1799300"/>
              <a:gd name="connsiteY912" fmla="*/ 375959 h 2183723"/>
              <a:gd name="connsiteX913" fmla="*/ 1134276 w 1799300"/>
              <a:gd name="connsiteY913" fmla="*/ 395603 h 2183723"/>
              <a:gd name="connsiteX914" fmla="*/ 1174630 w 1799300"/>
              <a:gd name="connsiteY914" fmla="*/ 425378 h 2183723"/>
              <a:gd name="connsiteX915" fmla="*/ 1182751 w 1799300"/>
              <a:gd name="connsiteY915" fmla="*/ 444034 h 2183723"/>
              <a:gd name="connsiteX916" fmla="*/ 1198118 w 1799300"/>
              <a:gd name="connsiteY916" fmla="*/ 463061 h 2183723"/>
              <a:gd name="connsiteX917" fmla="*/ 1224354 w 1799300"/>
              <a:gd name="connsiteY917" fmla="*/ 472450 h 2183723"/>
              <a:gd name="connsiteX918" fmla="*/ 1267331 w 1799300"/>
              <a:gd name="connsiteY918" fmla="*/ 471956 h 2183723"/>
              <a:gd name="connsiteX919" fmla="*/ 1288820 w 1799300"/>
              <a:gd name="connsiteY919" fmla="*/ 449470 h 2183723"/>
              <a:gd name="connsiteX920" fmla="*/ 1300814 w 1799300"/>
              <a:gd name="connsiteY920" fmla="*/ 435880 h 2183723"/>
              <a:gd name="connsiteX921" fmla="*/ 1320053 w 1799300"/>
              <a:gd name="connsiteY921" fmla="*/ 435880 h 2183723"/>
              <a:gd name="connsiteX922" fmla="*/ 1351412 w 1799300"/>
              <a:gd name="connsiteY922" fmla="*/ 455277 h 2183723"/>
              <a:gd name="connsiteX923" fmla="*/ 1372026 w 1799300"/>
              <a:gd name="connsiteY923" fmla="*/ 457624 h 2183723"/>
              <a:gd name="connsiteX924" fmla="*/ 1381771 w 1799300"/>
              <a:gd name="connsiteY924" fmla="*/ 437610 h 2183723"/>
              <a:gd name="connsiteX925" fmla="*/ 1393390 w 1799300"/>
              <a:gd name="connsiteY925" fmla="*/ 430567 h 2183723"/>
              <a:gd name="connsiteX926" fmla="*/ 1407257 w 1799300"/>
              <a:gd name="connsiteY926" fmla="*/ 416236 h 2183723"/>
              <a:gd name="connsiteX927" fmla="*/ 1423124 w 1799300"/>
              <a:gd name="connsiteY927" fmla="*/ 416853 h 2183723"/>
              <a:gd name="connsiteX928" fmla="*/ 1438491 w 1799300"/>
              <a:gd name="connsiteY928" fmla="*/ 405734 h 2183723"/>
              <a:gd name="connsiteX929" fmla="*/ 1444613 w 1799300"/>
              <a:gd name="connsiteY929" fmla="*/ 393626 h 2183723"/>
              <a:gd name="connsiteX930" fmla="*/ 1437367 w 1799300"/>
              <a:gd name="connsiteY930" fmla="*/ 378183 h 2183723"/>
              <a:gd name="connsiteX931" fmla="*/ 1427622 w 1799300"/>
              <a:gd name="connsiteY931" fmla="*/ 351125 h 2183723"/>
              <a:gd name="connsiteX932" fmla="*/ 1430245 w 1799300"/>
              <a:gd name="connsiteY932" fmla="*/ 304548 h 2183723"/>
              <a:gd name="connsiteX933" fmla="*/ 1435617 w 1799300"/>
              <a:gd name="connsiteY933" fmla="*/ 289845 h 2183723"/>
              <a:gd name="connsiteX934" fmla="*/ 1426372 w 1799300"/>
              <a:gd name="connsiteY934" fmla="*/ 276502 h 2183723"/>
              <a:gd name="connsiteX935" fmla="*/ 1436742 w 1799300"/>
              <a:gd name="connsiteY935" fmla="*/ 269460 h 2183723"/>
              <a:gd name="connsiteX936" fmla="*/ 1450360 w 1799300"/>
              <a:gd name="connsiteY936" fmla="*/ 249198 h 2183723"/>
              <a:gd name="connsiteX937" fmla="*/ 1448611 w 1799300"/>
              <a:gd name="connsiteY937" fmla="*/ 238820 h 2183723"/>
              <a:gd name="connsiteX938" fmla="*/ 1467476 w 1799300"/>
              <a:gd name="connsiteY938" fmla="*/ 229553 h 2183723"/>
              <a:gd name="connsiteX939" fmla="*/ 1491463 w 1799300"/>
              <a:gd name="connsiteY939" fmla="*/ 233136 h 2183723"/>
              <a:gd name="connsiteX940" fmla="*/ 1505206 w 1799300"/>
              <a:gd name="connsiteY940" fmla="*/ 229306 h 2183723"/>
              <a:gd name="connsiteX941" fmla="*/ 1503457 w 1799300"/>
              <a:gd name="connsiteY941" fmla="*/ 221523 h 2183723"/>
              <a:gd name="connsiteX942" fmla="*/ 1517949 w 1799300"/>
              <a:gd name="connsiteY942" fmla="*/ 204473 h 2183723"/>
              <a:gd name="connsiteX943" fmla="*/ 1556928 w 1799300"/>
              <a:gd name="connsiteY943" fmla="*/ 202126 h 2183723"/>
              <a:gd name="connsiteX944" fmla="*/ 1574669 w 1799300"/>
              <a:gd name="connsiteY944" fmla="*/ 213122 h 2183723"/>
              <a:gd name="connsiteX945" fmla="*/ 1598157 w 1799300"/>
              <a:gd name="connsiteY945" fmla="*/ 240055 h 2183723"/>
              <a:gd name="connsiteX946" fmla="*/ 1611649 w 1799300"/>
              <a:gd name="connsiteY946" fmla="*/ 252657 h 2183723"/>
              <a:gd name="connsiteX947" fmla="*/ 1631764 w 1799300"/>
              <a:gd name="connsiteY947" fmla="*/ 258958 h 2183723"/>
              <a:gd name="connsiteX948" fmla="*/ 1662373 w 1799300"/>
              <a:gd name="connsiteY948" fmla="*/ 260935 h 2183723"/>
              <a:gd name="connsiteX949" fmla="*/ 1668370 w 1799300"/>
              <a:gd name="connsiteY949" fmla="*/ 275514 h 2183723"/>
              <a:gd name="connsiteX950" fmla="*/ 1687360 w 1799300"/>
              <a:gd name="connsiteY950" fmla="*/ 293799 h 2183723"/>
              <a:gd name="connsiteX951" fmla="*/ 1685111 w 1799300"/>
              <a:gd name="connsiteY951" fmla="*/ 312578 h 2183723"/>
              <a:gd name="connsiteX952" fmla="*/ 1669994 w 1799300"/>
              <a:gd name="connsiteY952" fmla="*/ 338523 h 2183723"/>
              <a:gd name="connsiteX953" fmla="*/ 1674866 w 1799300"/>
              <a:gd name="connsiteY953" fmla="*/ 375341 h 2183723"/>
              <a:gd name="connsiteX954" fmla="*/ 1674866 w 1799300"/>
              <a:gd name="connsiteY954" fmla="*/ 375341 h 2183723"/>
              <a:gd name="connsiteX955" fmla="*/ 93576 w 1799300"/>
              <a:gd name="connsiteY955" fmla="*/ 2021010 h 2183723"/>
              <a:gd name="connsiteX956" fmla="*/ 106069 w 1799300"/>
              <a:gd name="connsiteY956" fmla="*/ 2032376 h 2183723"/>
              <a:gd name="connsiteX957" fmla="*/ 92076 w 1799300"/>
              <a:gd name="connsiteY957" fmla="*/ 2037936 h 2183723"/>
              <a:gd name="connsiteX958" fmla="*/ 93701 w 1799300"/>
              <a:gd name="connsiteY958" fmla="*/ 2021133 h 2183723"/>
              <a:gd name="connsiteX959" fmla="*/ 93701 w 1799300"/>
              <a:gd name="connsiteY959" fmla="*/ 2021133 h 2183723"/>
              <a:gd name="connsiteX960" fmla="*/ 47600 w 1799300"/>
              <a:gd name="connsiteY960" fmla="*/ 1921677 h 2183723"/>
              <a:gd name="connsiteX961" fmla="*/ 58094 w 1799300"/>
              <a:gd name="connsiteY961" fmla="*/ 1917970 h 2183723"/>
              <a:gd name="connsiteX962" fmla="*/ 68464 w 1799300"/>
              <a:gd name="connsiteY962" fmla="*/ 1927978 h 2183723"/>
              <a:gd name="connsiteX963" fmla="*/ 62467 w 1799300"/>
              <a:gd name="connsiteY963" fmla="*/ 1941321 h 2183723"/>
              <a:gd name="connsiteX964" fmla="*/ 47725 w 1799300"/>
              <a:gd name="connsiteY964" fmla="*/ 1921677 h 2183723"/>
              <a:gd name="connsiteX965" fmla="*/ 47725 w 1799300"/>
              <a:gd name="connsiteY965" fmla="*/ 1921677 h 2183723"/>
              <a:gd name="connsiteX966" fmla="*/ 77834 w 1799300"/>
              <a:gd name="connsiteY966" fmla="*/ 1884983 h 2183723"/>
              <a:gd name="connsiteX967" fmla="*/ 77834 w 1799300"/>
              <a:gd name="connsiteY967" fmla="*/ 1899314 h 2183723"/>
              <a:gd name="connsiteX968" fmla="*/ 70588 w 1799300"/>
              <a:gd name="connsiteY968" fmla="*/ 1901538 h 2183723"/>
              <a:gd name="connsiteX969" fmla="*/ 77834 w 1799300"/>
              <a:gd name="connsiteY969" fmla="*/ 1884859 h 2183723"/>
              <a:gd name="connsiteX970" fmla="*/ 77834 w 1799300"/>
              <a:gd name="connsiteY970" fmla="*/ 1884859 h 2183723"/>
              <a:gd name="connsiteX971" fmla="*/ 61592 w 1799300"/>
              <a:gd name="connsiteY971" fmla="*/ 1877076 h 2183723"/>
              <a:gd name="connsiteX972" fmla="*/ 59594 w 1799300"/>
              <a:gd name="connsiteY972" fmla="*/ 1892890 h 2183723"/>
              <a:gd name="connsiteX973" fmla="*/ 45601 w 1799300"/>
              <a:gd name="connsiteY973" fmla="*/ 1890913 h 2183723"/>
              <a:gd name="connsiteX974" fmla="*/ 61592 w 1799300"/>
              <a:gd name="connsiteY974" fmla="*/ 1877199 h 2183723"/>
              <a:gd name="connsiteX975" fmla="*/ 61592 w 1799300"/>
              <a:gd name="connsiteY975" fmla="*/ 1877199 h 2183723"/>
              <a:gd name="connsiteX976" fmla="*/ 26861 w 1799300"/>
              <a:gd name="connsiteY976" fmla="*/ 1809742 h 2183723"/>
              <a:gd name="connsiteX977" fmla="*/ 12618 w 1799300"/>
              <a:gd name="connsiteY977" fmla="*/ 1801217 h 2183723"/>
              <a:gd name="connsiteX978" fmla="*/ 25362 w 1799300"/>
              <a:gd name="connsiteY978" fmla="*/ 1789603 h 2183723"/>
              <a:gd name="connsiteX979" fmla="*/ 26861 w 1799300"/>
              <a:gd name="connsiteY979" fmla="*/ 1809865 h 2183723"/>
              <a:gd name="connsiteX980" fmla="*/ 26861 w 1799300"/>
              <a:gd name="connsiteY980" fmla="*/ 1809865 h 2183723"/>
              <a:gd name="connsiteX981" fmla="*/ 20864 w 1799300"/>
              <a:gd name="connsiteY981" fmla="*/ 1823826 h 2183723"/>
              <a:gd name="connsiteX982" fmla="*/ 34107 w 1799300"/>
              <a:gd name="connsiteY982" fmla="*/ 1823826 h 2183723"/>
              <a:gd name="connsiteX983" fmla="*/ 27860 w 1799300"/>
              <a:gd name="connsiteY983" fmla="*/ 1832104 h 2183723"/>
              <a:gd name="connsiteX984" fmla="*/ 20989 w 1799300"/>
              <a:gd name="connsiteY984" fmla="*/ 1823826 h 2183723"/>
              <a:gd name="connsiteX985" fmla="*/ 20989 w 1799300"/>
              <a:gd name="connsiteY985" fmla="*/ 1823826 h 2183723"/>
              <a:gd name="connsiteX986" fmla="*/ 55221 w 1799300"/>
              <a:gd name="connsiteY986" fmla="*/ 1839393 h 2183723"/>
              <a:gd name="connsiteX987" fmla="*/ 69838 w 1799300"/>
              <a:gd name="connsiteY987" fmla="*/ 1856443 h 2183723"/>
              <a:gd name="connsiteX988" fmla="*/ 64591 w 1799300"/>
              <a:gd name="connsiteY988" fmla="*/ 1873616 h 2183723"/>
              <a:gd name="connsiteX989" fmla="*/ 55096 w 1799300"/>
              <a:gd name="connsiteY989" fmla="*/ 1839270 h 2183723"/>
              <a:gd name="connsiteX990" fmla="*/ 55096 w 1799300"/>
              <a:gd name="connsiteY990" fmla="*/ 1839270 h 2183723"/>
              <a:gd name="connsiteX991" fmla="*/ 31109 w 1799300"/>
              <a:gd name="connsiteY991" fmla="*/ 1863362 h 2183723"/>
              <a:gd name="connsiteX992" fmla="*/ 18615 w 1799300"/>
              <a:gd name="connsiteY992" fmla="*/ 1849524 h 2183723"/>
              <a:gd name="connsiteX993" fmla="*/ 35606 w 1799300"/>
              <a:gd name="connsiteY993" fmla="*/ 1843594 h 2183723"/>
              <a:gd name="connsiteX994" fmla="*/ 31234 w 1799300"/>
              <a:gd name="connsiteY994" fmla="*/ 1863485 h 2183723"/>
              <a:gd name="connsiteX995" fmla="*/ 31234 w 1799300"/>
              <a:gd name="connsiteY995" fmla="*/ 1863485 h 2183723"/>
              <a:gd name="connsiteX996" fmla="*/ 14617 w 1799300"/>
              <a:gd name="connsiteY996" fmla="*/ 1758592 h 2183723"/>
              <a:gd name="connsiteX997" fmla="*/ 0 w 1799300"/>
              <a:gd name="connsiteY997" fmla="*/ 1770947 h 2183723"/>
              <a:gd name="connsiteX998" fmla="*/ 9495 w 1799300"/>
              <a:gd name="connsiteY998" fmla="*/ 1776507 h 2183723"/>
              <a:gd name="connsiteX999" fmla="*/ 18365 w 1799300"/>
              <a:gd name="connsiteY999" fmla="*/ 1766994 h 2183723"/>
              <a:gd name="connsiteX1000" fmla="*/ 14617 w 1799300"/>
              <a:gd name="connsiteY1000" fmla="*/ 1758592 h 2183723"/>
              <a:gd name="connsiteX1001" fmla="*/ 14617 w 1799300"/>
              <a:gd name="connsiteY1001" fmla="*/ 1758592 h 2183723"/>
              <a:gd name="connsiteX1002" fmla="*/ 2499 w 1799300"/>
              <a:gd name="connsiteY1002" fmla="*/ 1632078 h 2183723"/>
              <a:gd name="connsiteX1003" fmla="*/ 23987 w 1799300"/>
              <a:gd name="connsiteY1003" fmla="*/ 1640974 h 2183723"/>
              <a:gd name="connsiteX1004" fmla="*/ 6996 w 1799300"/>
              <a:gd name="connsiteY1004" fmla="*/ 1644928 h 2183723"/>
              <a:gd name="connsiteX1005" fmla="*/ 2499 w 1799300"/>
              <a:gd name="connsiteY1005" fmla="*/ 1632078 h 2183723"/>
              <a:gd name="connsiteX1006" fmla="*/ 2499 w 1799300"/>
              <a:gd name="connsiteY1006" fmla="*/ 1632078 h 2183723"/>
              <a:gd name="connsiteX1007" fmla="*/ 7121 w 1799300"/>
              <a:gd name="connsiteY1007" fmla="*/ 1600450 h 2183723"/>
              <a:gd name="connsiteX1008" fmla="*/ 24737 w 1799300"/>
              <a:gd name="connsiteY1008" fmla="*/ 1610828 h 2183723"/>
              <a:gd name="connsiteX1009" fmla="*/ 16616 w 1799300"/>
              <a:gd name="connsiteY1009" fmla="*/ 1622318 h 2183723"/>
              <a:gd name="connsiteX1010" fmla="*/ 7121 w 1799300"/>
              <a:gd name="connsiteY1010" fmla="*/ 1600450 h 2183723"/>
              <a:gd name="connsiteX1011" fmla="*/ 7121 w 1799300"/>
              <a:gd name="connsiteY1011" fmla="*/ 1600450 h 2183723"/>
              <a:gd name="connsiteX1012" fmla="*/ 57095 w 1799300"/>
              <a:gd name="connsiteY1012" fmla="*/ 1561656 h 2183723"/>
              <a:gd name="connsiteX1013" fmla="*/ 63092 w 1799300"/>
              <a:gd name="connsiteY1013" fmla="*/ 1575864 h 2183723"/>
              <a:gd name="connsiteX1014" fmla="*/ 45976 w 1799300"/>
              <a:gd name="connsiteY1014" fmla="*/ 1577223 h 2183723"/>
              <a:gd name="connsiteX1015" fmla="*/ 57220 w 1799300"/>
              <a:gd name="connsiteY1015" fmla="*/ 1561656 h 2183723"/>
              <a:gd name="connsiteX1016" fmla="*/ 57220 w 1799300"/>
              <a:gd name="connsiteY1016" fmla="*/ 1561656 h 2183723"/>
              <a:gd name="connsiteX1017" fmla="*/ 73211 w 1799300"/>
              <a:gd name="connsiteY1017" fmla="*/ 1549795 h 2183723"/>
              <a:gd name="connsiteX1018" fmla="*/ 86579 w 1799300"/>
              <a:gd name="connsiteY1018" fmla="*/ 1553131 h 2183723"/>
              <a:gd name="connsiteX1019" fmla="*/ 93076 w 1799300"/>
              <a:gd name="connsiteY1019" fmla="*/ 1563385 h 2183723"/>
              <a:gd name="connsiteX1020" fmla="*/ 74960 w 1799300"/>
              <a:gd name="connsiteY1020" fmla="*/ 1575246 h 2183723"/>
              <a:gd name="connsiteX1021" fmla="*/ 73211 w 1799300"/>
              <a:gd name="connsiteY1021" fmla="*/ 1549795 h 2183723"/>
              <a:gd name="connsiteX1022" fmla="*/ 73211 w 1799300"/>
              <a:gd name="connsiteY1022" fmla="*/ 1549795 h 2183723"/>
              <a:gd name="connsiteX1023" fmla="*/ 231378 w 1799300"/>
              <a:gd name="connsiteY1023" fmla="*/ 1430200 h 2183723"/>
              <a:gd name="connsiteX1024" fmla="*/ 246870 w 1799300"/>
              <a:gd name="connsiteY1024" fmla="*/ 1411421 h 2183723"/>
              <a:gd name="connsiteX1025" fmla="*/ 252367 w 1799300"/>
              <a:gd name="connsiteY1025" fmla="*/ 1430941 h 2183723"/>
              <a:gd name="connsiteX1026" fmla="*/ 243372 w 1799300"/>
              <a:gd name="connsiteY1026" fmla="*/ 1439466 h 2183723"/>
              <a:gd name="connsiteX1027" fmla="*/ 231378 w 1799300"/>
              <a:gd name="connsiteY1027" fmla="*/ 1430200 h 2183723"/>
              <a:gd name="connsiteX1028" fmla="*/ 231378 w 1799300"/>
              <a:gd name="connsiteY1028" fmla="*/ 1430200 h 2183723"/>
              <a:gd name="connsiteX1029" fmla="*/ 235376 w 1799300"/>
              <a:gd name="connsiteY1029" fmla="*/ 1400178 h 2183723"/>
              <a:gd name="connsiteX1030" fmla="*/ 228754 w 1799300"/>
              <a:gd name="connsiteY1030" fmla="*/ 1407961 h 2183723"/>
              <a:gd name="connsiteX1031" fmla="*/ 210389 w 1799300"/>
              <a:gd name="connsiteY1031" fmla="*/ 1389429 h 2183723"/>
              <a:gd name="connsiteX1032" fmla="*/ 229504 w 1799300"/>
              <a:gd name="connsiteY1032" fmla="*/ 1386958 h 2183723"/>
              <a:gd name="connsiteX1033" fmla="*/ 235376 w 1799300"/>
              <a:gd name="connsiteY1033" fmla="*/ 1400178 h 2183723"/>
              <a:gd name="connsiteX1034" fmla="*/ 235376 w 1799300"/>
              <a:gd name="connsiteY1034" fmla="*/ 1400178 h 2183723"/>
              <a:gd name="connsiteX1035" fmla="*/ 251242 w 1799300"/>
              <a:gd name="connsiteY1035" fmla="*/ 1361383 h 2183723"/>
              <a:gd name="connsiteX1036" fmla="*/ 278603 w 1799300"/>
              <a:gd name="connsiteY1036" fmla="*/ 1335562 h 2183723"/>
              <a:gd name="connsiteX1037" fmla="*/ 291346 w 1799300"/>
              <a:gd name="connsiteY1037" fmla="*/ 1345816 h 2183723"/>
              <a:gd name="connsiteX1038" fmla="*/ 273106 w 1799300"/>
              <a:gd name="connsiteY1038" fmla="*/ 1359407 h 2183723"/>
              <a:gd name="connsiteX1039" fmla="*/ 251242 w 1799300"/>
              <a:gd name="connsiteY1039" fmla="*/ 1361383 h 2183723"/>
              <a:gd name="connsiteX1040" fmla="*/ 251242 w 1799300"/>
              <a:gd name="connsiteY1040" fmla="*/ 1361383 h 2183723"/>
              <a:gd name="connsiteX1041" fmla="*/ 256989 w 1799300"/>
              <a:gd name="connsiteY1041" fmla="*/ 1395606 h 2183723"/>
              <a:gd name="connsiteX1042" fmla="*/ 267359 w 1799300"/>
              <a:gd name="connsiteY1042" fmla="*/ 1374479 h 2183723"/>
              <a:gd name="connsiteX1043" fmla="*/ 285599 w 1799300"/>
              <a:gd name="connsiteY1043" fmla="*/ 1373368 h 2183723"/>
              <a:gd name="connsiteX1044" fmla="*/ 290472 w 1799300"/>
              <a:gd name="connsiteY1044" fmla="*/ 1363607 h 2183723"/>
              <a:gd name="connsiteX1045" fmla="*/ 304714 w 1799300"/>
              <a:gd name="connsiteY1045" fmla="*/ 1362372 h 2183723"/>
              <a:gd name="connsiteX1046" fmla="*/ 314459 w 1799300"/>
              <a:gd name="connsiteY1046" fmla="*/ 1372132 h 2183723"/>
              <a:gd name="connsiteX1047" fmla="*/ 301966 w 1799300"/>
              <a:gd name="connsiteY1047" fmla="*/ 1388811 h 2183723"/>
              <a:gd name="connsiteX1048" fmla="*/ 281352 w 1799300"/>
              <a:gd name="connsiteY1048" fmla="*/ 1388317 h 2183723"/>
              <a:gd name="connsiteX1049" fmla="*/ 269483 w 1799300"/>
              <a:gd name="connsiteY1049" fmla="*/ 1395730 h 2183723"/>
              <a:gd name="connsiteX1050" fmla="*/ 257239 w 1799300"/>
              <a:gd name="connsiteY1050" fmla="*/ 1395730 h 2183723"/>
              <a:gd name="connsiteX1051" fmla="*/ 483870 w 1799300"/>
              <a:gd name="connsiteY1051" fmla="*/ 1128000 h 2183723"/>
              <a:gd name="connsiteX1052" fmla="*/ 490241 w 1799300"/>
              <a:gd name="connsiteY1052" fmla="*/ 1114286 h 2183723"/>
              <a:gd name="connsiteX1053" fmla="*/ 513229 w 1799300"/>
              <a:gd name="connsiteY1053" fmla="*/ 1108973 h 2183723"/>
              <a:gd name="connsiteX1054" fmla="*/ 495364 w 1799300"/>
              <a:gd name="connsiteY1054" fmla="*/ 1132448 h 2183723"/>
              <a:gd name="connsiteX1055" fmla="*/ 483870 w 1799300"/>
              <a:gd name="connsiteY1055" fmla="*/ 1128000 h 2183723"/>
              <a:gd name="connsiteX1056" fmla="*/ 483870 w 1799300"/>
              <a:gd name="connsiteY1056" fmla="*/ 1128000 h 2183723"/>
              <a:gd name="connsiteX1057" fmla="*/ 466504 w 1799300"/>
              <a:gd name="connsiteY1057" fmla="*/ 1172107 h 2183723"/>
              <a:gd name="connsiteX1058" fmla="*/ 459757 w 1799300"/>
              <a:gd name="connsiteY1058" fmla="*/ 1161234 h 2183723"/>
              <a:gd name="connsiteX1059" fmla="*/ 443266 w 1799300"/>
              <a:gd name="connsiteY1059" fmla="*/ 1163211 h 2183723"/>
              <a:gd name="connsiteX1060" fmla="*/ 456509 w 1799300"/>
              <a:gd name="connsiteY1060" fmla="*/ 1147520 h 2183723"/>
              <a:gd name="connsiteX1061" fmla="*/ 481871 w 1799300"/>
              <a:gd name="connsiteY1061" fmla="*/ 1143443 h 2183723"/>
              <a:gd name="connsiteX1062" fmla="*/ 495239 w 1799300"/>
              <a:gd name="connsiteY1062" fmla="*/ 1137266 h 2183723"/>
              <a:gd name="connsiteX1063" fmla="*/ 475499 w 1799300"/>
              <a:gd name="connsiteY1063" fmla="*/ 1163705 h 2183723"/>
              <a:gd name="connsiteX1064" fmla="*/ 466504 w 1799300"/>
              <a:gd name="connsiteY1064" fmla="*/ 1171983 h 2183723"/>
              <a:gd name="connsiteX1065" fmla="*/ 466504 w 1799300"/>
              <a:gd name="connsiteY1065" fmla="*/ 1171983 h 2183723"/>
              <a:gd name="connsiteX1066" fmla="*/ 504859 w 1799300"/>
              <a:gd name="connsiteY1066" fmla="*/ 1017671 h 2183723"/>
              <a:gd name="connsiteX1067" fmla="*/ 512355 w 1799300"/>
              <a:gd name="connsiteY1067" fmla="*/ 1022242 h 2183723"/>
              <a:gd name="connsiteX1068" fmla="*/ 513479 w 1799300"/>
              <a:gd name="connsiteY1068" fmla="*/ 1032991 h 2183723"/>
              <a:gd name="connsiteX1069" fmla="*/ 504609 w 1799300"/>
              <a:gd name="connsiteY1069" fmla="*/ 1041886 h 2183723"/>
              <a:gd name="connsiteX1070" fmla="*/ 496238 w 1799300"/>
              <a:gd name="connsiteY1070" fmla="*/ 1032002 h 2183723"/>
              <a:gd name="connsiteX1071" fmla="*/ 504859 w 1799300"/>
              <a:gd name="connsiteY1071" fmla="*/ 1017547 h 2183723"/>
              <a:gd name="connsiteX1072" fmla="*/ 504859 w 1799300"/>
              <a:gd name="connsiteY1072" fmla="*/ 1017547 h 2183723"/>
              <a:gd name="connsiteX1073" fmla="*/ 537466 w 1799300"/>
              <a:gd name="connsiteY1073" fmla="*/ 981842 h 2183723"/>
              <a:gd name="connsiteX1074" fmla="*/ 545337 w 1799300"/>
              <a:gd name="connsiteY1074" fmla="*/ 972699 h 2183723"/>
              <a:gd name="connsiteX1075" fmla="*/ 562328 w 1799300"/>
              <a:gd name="connsiteY1075" fmla="*/ 974305 h 2183723"/>
              <a:gd name="connsiteX1076" fmla="*/ 541214 w 1799300"/>
              <a:gd name="connsiteY1076" fmla="*/ 992961 h 2183723"/>
              <a:gd name="connsiteX1077" fmla="*/ 537466 w 1799300"/>
              <a:gd name="connsiteY1077" fmla="*/ 981965 h 2183723"/>
              <a:gd name="connsiteX1078" fmla="*/ 537466 w 1799300"/>
              <a:gd name="connsiteY1078" fmla="*/ 981965 h 2183723"/>
              <a:gd name="connsiteX1079" fmla="*/ 524098 w 1799300"/>
              <a:gd name="connsiteY1079" fmla="*/ 950584 h 2183723"/>
              <a:gd name="connsiteX1080" fmla="*/ 540215 w 1799300"/>
              <a:gd name="connsiteY1080" fmla="*/ 932175 h 2183723"/>
              <a:gd name="connsiteX1081" fmla="*/ 544588 w 1799300"/>
              <a:gd name="connsiteY1081" fmla="*/ 949101 h 2183723"/>
              <a:gd name="connsiteX1082" fmla="*/ 531095 w 1799300"/>
              <a:gd name="connsiteY1082" fmla="*/ 972699 h 2183723"/>
              <a:gd name="connsiteX1083" fmla="*/ 524098 w 1799300"/>
              <a:gd name="connsiteY1083" fmla="*/ 950707 h 2183723"/>
              <a:gd name="connsiteX1084" fmla="*/ 524098 w 1799300"/>
              <a:gd name="connsiteY1084" fmla="*/ 950707 h 2183723"/>
              <a:gd name="connsiteX1085" fmla="*/ 630542 w 1799300"/>
              <a:gd name="connsiteY1085" fmla="*/ 781693 h 2183723"/>
              <a:gd name="connsiteX1086" fmla="*/ 636164 w 1799300"/>
              <a:gd name="connsiteY1086" fmla="*/ 772550 h 2183723"/>
              <a:gd name="connsiteX1087" fmla="*/ 646534 w 1799300"/>
              <a:gd name="connsiteY1087" fmla="*/ 774033 h 2183723"/>
              <a:gd name="connsiteX1088" fmla="*/ 639912 w 1799300"/>
              <a:gd name="connsiteY1088" fmla="*/ 789229 h 2183723"/>
              <a:gd name="connsiteX1089" fmla="*/ 630542 w 1799300"/>
              <a:gd name="connsiteY1089" fmla="*/ 781569 h 2183723"/>
              <a:gd name="connsiteX1090" fmla="*/ 630542 w 1799300"/>
              <a:gd name="connsiteY1090" fmla="*/ 781569 h 2183723"/>
              <a:gd name="connsiteX1091" fmla="*/ 516977 w 1799300"/>
              <a:gd name="connsiteY1091" fmla="*/ 693602 h 2183723"/>
              <a:gd name="connsiteX1092" fmla="*/ 524973 w 1799300"/>
              <a:gd name="connsiteY1092" fmla="*/ 702498 h 2183723"/>
              <a:gd name="connsiteX1093" fmla="*/ 520350 w 1799300"/>
              <a:gd name="connsiteY1093" fmla="*/ 711888 h 2183723"/>
              <a:gd name="connsiteX1094" fmla="*/ 510481 w 1799300"/>
              <a:gd name="connsiteY1094" fmla="*/ 706328 h 2183723"/>
              <a:gd name="connsiteX1095" fmla="*/ 516852 w 1799300"/>
              <a:gd name="connsiteY1095" fmla="*/ 693602 h 2183723"/>
              <a:gd name="connsiteX1096" fmla="*/ 516852 w 1799300"/>
              <a:gd name="connsiteY1096" fmla="*/ 693602 h 2183723"/>
              <a:gd name="connsiteX1097" fmla="*/ 545462 w 1799300"/>
              <a:gd name="connsiteY1097" fmla="*/ 646407 h 2183723"/>
              <a:gd name="connsiteX1098" fmla="*/ 525223 w 1799300"/>
              <a:gd name="connsiteY1098" fmla="*/ 667534 h 2183723"/>
              <a:gd name="connsiteX1099" fmla="*/ 524473 w 1799300"/>
              <a:gd name="connsiteY1099" fmla="*/ 649866 h 2183723"/>
              <a:gd name="connsiteX1100" fmla="*/ 539715 w 1799300"/>
              <a:gd name="connsiteY1100" fmla="*/ 621079 h 2183723"/>
              <a:gd name="connsiteX1101" fmla="*/ 545462 w 1799300"/>
              <a:gd name="connsiteY1101" fmla="*/ 646407 h 2183723"/>
              <a:gd name="connsiteX1102" fmla="*/ 545462 w 1799300"/>
              <a:gd name="connsiteY1102" fmla="*/ 646407 h 2183723"/>
              <a:gd name="connsiteX1103" fmla="*/ 558080 w 1799300"/>
              <a:gd name="connsiteY1103" fmla="*/ 632075 h 2183723"/>
              <a:gd name="connsiteX1104" fmla="*/ 550335 w 1799300"/>
              <a:gd name="connsiteY1104" fmla="*/ 621944 h 2183723"/>
              <a:gd name="connsiteX1105" fmla="*/ 557206 w 1799300"/>
              <a:gd name="connsiteY1105" fmla="*/ 612431 h 2183723"/>
              <a:gd name="connsiteX1106" fmla="*/ 565327 w 1799300"/>
              <a:gd name="connsiteY1106" fmla="*/ 616632 h 2183723"/>
              <a:gd name="connsiteX1107" fmla="*/ 558080 w 1799300"/>
              <a:gd name="connsiteY1107" fmla="*/ 631952 h 2183723"/>
              <a:gd name="connsiteX1108" fmla="*/ 558080 w 1799300"/>
              <a:gd name="connsiteY1108" fmla="*/ 631952 h 2183723"/>
              <a:gd name="connsiteX1109" fmla="*/ 609179 w 1799300"/>
              <a:gd name="connsiteY1109" fmla="*/ 589327 h 2183723"/>
              <a:gd name="connsiteX1110" fmla="*/ 607804 w 1799300"/>
              <a:gd name="connsiteY1110" fmla="*/ 604400 h 2183723"/>
              <a:gd name="connsiteX1111" fmla="*/ 575946 w 1799300"/>
              <a:gd name="connsiteY1111" fmla="*/ 630593 h 2183723"/>
              <a:gd name="connsiteX1112" fmla="*/ 579819 w 1799300"/>
              <a:gd name="connsiteY1112" fmla="*/ 598346 h 2183723"/>
              <a:gd name="connsiteX1113" fmla="*/ 609179 w 1799300"/>
              <a:gd name="connsiteY1113" fmla="*/ 589204 h 2183723"/>
              <a:gd name="connsiteX1114" fmla="*/ 609179 w 1799300"/>
              <a:gd name="connsiteY1114" fmla="*/ 589204 h 2183723"/>
              <a:gd name="connsiteX1115" fmla="*/ 637164 w 1799300"/>
              <a:gd name="connsiteY1115" fmla="*/ 548803 h 2183723"/>
              <a:gd name="connsiteX1116" fmla="*/ 646409 w 1799300"/>
              <a:gd name="connsiteY1116" fmla="*/ 532001 h 2183723"/>
              <a:gd name="connsiteX1117" fmla="*/ 662900 w 1799300"/>
              <a:gd name="connsiteY1117" fmla="*/ 544356 h 2183723"/>
              <a:gd name="connsiteX1118" fmla="*/ 637289 w 1799300"/>
              <a:gd name="connsiteY1118" fmla="*/ 548680 h 2183723"/>
              <a:gd name="connsiteX1119" fmla="*/ 637289 w 1799300"/>
              <a:gd name="connsiteY1119" fmla="*/ 548680 h 2183723"/>
              <a:gd name="connsiteX1120" fmla="*/ 661276 w 1799300"/>
              <a:gd name="connsiteY1120" fmla="*/ 554363 h 2183723"/>
              <a:gd name="connsiteX1121" fmla="*/ 662276 w 1799300"/>
              <a:gd name="connsiteY1121" fmla="*/ 590316 h 2183723"/>
              <a:gd name="connsiteX1122" fmla="*/ 642661 w 1799300"/>
              <a:gd name="connsiteY1122" fmla="*/ 582038 h 2183723"/>
              <a:gd name="connsiteX1123" fmla="*/ 618923 w 1799300"/>
              <a:gd name="connsiteY1123" fmla="*/ 598717 h 2183723"/>
              <a:gd name="connsiteX1124" fmla="*/ 620797 w 1799300"/>
              <a:gd name="connsiteY1124" fmla="*/ 580926 h 2183723"/>
              <a:gd name="connsiteX1125" fmla="*/ 661401 w 1799300"/>
              <a:gd name="connsiteY1125" fmla="*/ 554363 h 2183723"/>
              <a:gd name="connsiteX1126" fmla="*/ 661401 w 1799300"/>
              <a:gd name="connsiteY1126" fmla="*/ 554363 h 2183723"/>
              <a:gd name="connsiteX1127" fmla="*/ 669397 w 1799300"/>
              <a:gd name="connsiteY1127" fmla="*/ 465655 h 2183723"/>
              <a:gd name="connsiteX1128" fmla="*/ 676393 w 1799300"/>
              <a:gd name="connsiteY1128" fmla="*/ 489624 h 2183723"/>
              <a:gd name="connsiteX1129" fmla="*/ 678392 w 1799300"/>
              <a:gd name="connsiteY1129" fmla="*/ 519646 h 2183723"/>
              <a:gd name="connsiteX1130" fmla="*/ 654280 w 1799300"/>
              <a:gd name="connsiteY1130" fmla="*/ 527924 h 2183723"/>
              <a:gd name="connsiteX1131" fmla="*/ 644035 w 1799300"/>
              <a:gd name="connsiteY1131" fmla="*/ 519893 h 2183723"/>
              <a:gd name="connsiteX1132" fmla="*/ 665899 w 1799300"/>
              <a:gd name="connsiteY1132" fmla="*/ 503214 h 2183723"/>
              <a:gd name="connsiteX1133" fmla="*/ 653280 w 1799300"/>
              <a:gd name="connsiteY1133" fmla="*/ 503214 h 2183723"/>
              <a:gd name="connsiteX1134" fmla="*/ 630917 w 1799300"/>
              <a:gd name="connsiteY1134" fmla="*/ 522364 h 2183723"/>
              <a:gd name="connsiteX1135" fmla="*/ 623046 w 1799300"/>
              <a:gd name="connsiteY1135" fmla="*/ 510874 h 2183723"/>
              <a:gd name="connsiteX1136" fmla="*/ 628918 w 1799300"/>
              <a:gd name="connsiteY1136" fmla="*/ 492342 h 2183723"/>
              <a:gd name="connsiteX1137" fmla="*/ 646284 w 1799300"/>
              <a:gd name="connsiteY1137" fmla="*/ 495554 h 2183723"/>
              <a:gd name="connsiteX1138" fmla="*/ 661401 w 1799300"/>
              <a:gd name="connsiteY1138" fmla="*/ 476527 h 2183723"/>
              <a:gd name="connsiteX1139" fmla="*/ 657778 w 1799300"/>
              <a:gd name="connsiteY1139" fmla="*/ 468126 h 2183723"/>
              <a:gd name="connsiteX1140" fmla="*/ 669647 w 1799300"/>
              <a:gd name="connsiteY1140" fmla="*/ 465655 h 2183723"/>
              <a:gd name="connsiteX1141" fmla="*/ 669647 w 1799300"/>
              <a:gd name="connsiteY1141" fmla="*/ 465655 h 2183723"/>
              <a:gd name="connsiteX1142" fmla="*/ 689636 w 1799300"/>
              <a:gd name="connsiteY1142" fmla="*/ 475292 h 2183723"/>
              <a:gd name="connsiteX1143" fmla="*/ 680141 w 1799300"/>
              <a:gd name="connsiteY1143" fmla="*/ 469114 h 2183723"/>
              <a:gd name="connsiteX1144" fmla="*/ 680141 w 1799300"/>
              <a:gd name="connsiteY1144" fmla="*/ 442922 h 2183723"/>
              <a:gd name="connsiteX1145" fmla="*/ 703879 w 1799300"/>
              <a:gd name="connsiteY1145" fmla="*/ 422290 h 2183723"/>
              <a:gd name="connsiteX1146" fmla="*/ 703879 w 1799300"/>
              <a:gd name="connsiteY1146" fmla="*/ 405858 h 2183723"/>
              <a:gd name="connsiteX1147" fmla="*/ 727241 w 1799300"/>
              <a:gd name="connsiteY1147" fmla="*/ 395727 h 2183723"/>
              <a:gd name="connsiteX1148" fmla="*/ 732613 w 1799300"/>
              <a:gd name="connsiteY1148" fmla="*/ 412529 h 2183723"/>
              <a:gd name="connsiteX1149" fmla="*/ 713998 w 1799300"/>
              <a:gd name="connsiteY1149" fmla="*/ 427108 h 2183723"/>
              <a:gd name="connsiteX1150" fmla="*/ 712874 w 1799300"/>
              <a:gd name="connsiteY1150" fmla="*/ 445517 h 2183723"/>
              <a:gd name="connsiteX1151" fmla="*/ 689636 w 1799300"/>
              <a:gd name="connsiteY1151" fmla="*/ 475292 h 2183723"/>
              <a:gd name="connsiteX1152" fmla="*/ 689636 w 1799300"/>
              <a:gd name="connsiteY1152" fmla="*/ 475292 h 2183723"/>
              <a:gd name="connsiteX1153" fmla="*/ 750604 w 1799300"/>
              <a:gd name="connsiteY1153" fmla="*/ 483323 h 2183723"/>
              <a:gd name="connsiteX1154" fmla="*/ 775091 w 1799300"/>
              <a:gd name="connsiteY1154" fmla="*/ 504573 h 2183723"/>
              <a:gd name="connsiteX1155" fmla="*/ 745107 w 1799300"/>
              <a:gd name="connsiteY1155" fmla="*/ 540031 h 2183723"/>
              <a:gd name="connsiteX1156" fmla="*/ 724743 w 1799300"/>
              <a:gd name="connsiteY1156" fmla="*/ 552757 h 2183723"/>
              <a:gd name="connsiteX1157" fmla="*/ 717996 w 1799300"/>
              <a:gd name="connsiteY1157" fmla="*/ 567212 h 2183723"/>
              <a:gd name="connsiteX1158" fmla="*/ 703879 w 1799300"/>
              <a:gd name="connsiteY1158" fmla="*/ 563259 h 2183723"/>
              <a:gd name="connsiteX1159" fmla="*/ 705003 w 1799300"/>
              <a:gd name="connsiteY1159" fmla="*/ 545468 h 2183723"/>
              <a:gd name="connsiteX1160" fmla="*/ 684514 w 1799300"/>
              <a:gd name="connsiteY1160" fmla="*/ 574502 h 2183723"/>
              <a:gd name="connsiteX1161" fmla="*/ 674644 w 1799300"/>
              <a:gd name="connsiteY1161" fmla="*/ 574872 h 2183723"/>
              <a:gd name="connsiteX1162" fmla="*/ 677018 w 1799300"/>
              <a:gd name="connsiteY1162" fmla="*/ 552510 h 2183723"/>
              <a:gd name="connsiteX1163" fmla="*/ 686013 w 1799300"/>
              <a:gd name="connsiteY1163" fmla="*/ 546950 h 2183723"/>
              <a:gd name="connsiteX1164" fmla="*/ 682640 w 1799300"/>
              <a:gd name="connsiteY1164" fmla="*/ 530765 h 2183723"/>
              <a:gd name="connsiteX1165" fmla="*/ 694509 w 1799300"/>
              <a:gd name="connsiteY1165" fmla="*/ 515198 h 2183723"/>
              <a:gd name="connsiteX1166" fmla="*/ 693759 w 1799300"/>
              <a:gd name="connsiteY1166" fmla="*/ 498272 h 2183723"/>
              <a:gd name="connsiteX1167" fmla="*/ 714123 w 1799300"/>
              <a:gd name="connsiteY1167" fmla="*/ 463925 h 2183723"/>
              <a:gd name="connsiteX1168" fmla="*/ 705003 w 1799300"/>
              <a:gd name="connsiteY1168" fmla="*/ 512109 h 2183723"/>
              <a:gd name="connsiteX1169" fmla="*/ 710375 w 1799300"/>
              <a:gd name="connsiteY1169" fmla="*/ 528912 h 2183723"/>
              <a:gd name="connsiteX1170" fmla="*/ 721994 w 1799300"/>
              <a:gd name="connsiteY1170" fmla="*/ 505438 h 2183723"/>
              <a:gd name="connsiteX1171" fmla="*/ 751104 w 1799300"/>
              <a:gd name="connsiteY1171" fmla="*/ 502843 h 2183723"/>
              <a:gd name="connsiteX1172" fmla="*/ 739235 w 1799300"/>
              <a:gd name="connsiteY1172" fmla="*/ 487647 h 2183723"/>
              <a:gd name="connsiteX1173" fmla="*/ 737986 w 1799300"/>
              <a:gd name="connsiteY1173" fmla="*/ 474551 h 2183723"/>
              <a:gd name="connsiteX1174" fmla="*/ 750604 w 1799300"/>
              <a:gd name="connsiteY1174" fmla="*/ 483323 h 2183723"/>
              <a:gd name="connsiteX1175" fmla="*/ 750604 w 1799300"/>
              <a:gd name="connsiteY1175" fmla="*/ 483323 h 2183723"/>
              <a:gd name="connsiteX1176" fmla="*/ 747106 w 1799300"/>
              <a:gd name="connsiteY1176" fmla="*/ 463431 h 2183723"/>
              <a:gd name="connsiteX1177" fmla="*/ 741234 w 1799300"/>
              <a:gd name="connsiteY1177" fmla="*/ 458119 h 2183723"/>
              <a:gd name="connsiteX1178" fmla="*/ 754227 w 1799300"/>
              <a:gd name="connsiteY1178" fmla="*/ 451941 h 2183723"/>
              <a:gd name="connsiteX1179" fmla="*/ 773217 w 1799300"/>
              <a:gd name="connsiteY1179" fmla="*/ 460713 h 2183723"/>
              <a:gd name="connsiteX1180" fmla="*/ 773717 w 1799300"/>
              <a:gd name="connsiteY1180" fmla="*/ 473192 h 2183723"/>
              <a:gd name="connsiteX1181" fmla="*/ 747106 w 1799300"/>
              <a:gd name="connsiteY1181" fmla="*/ 463431 h 2183723"/>
              <a:gd name="connsiteX1182" fmla="*/ 747106 w 1799300"/>
              <a:gd name="connsiteY1182" fmla="*/ 463431 h 2183723"/>
              <a:gd name="connsiteX1183" fmla="*/ 798204 w 1799300"/>
              <a:gd name="connsiteY1183" fmla="*/ 487894 h 2183723"/>
              <a:gd name="connsiteX1184" fmla="*/ 803201 w 1799300"/>
              <a:gd name="connsiteY1184" fmla="*/ 465655 h 2183723"/>
              <a:gd name="connsiteX1185" fmla="*/ 813821 w 1799300"/>
              <a:gd name="connsiteY1185" fmla="*/ 480357 h 2183723"/>
              <a:gd name="connsiteX1186" fmla="*/ 798204 w 1799300"/>
              <a:gd name="connsiteY1186" fmla="*/ 487894 h 2183723"/>
              <a:gd name="connsiteX1187" fmla="*/ 798204 w 1799300"/>
              <a:gd name="connsiteY1187" fmla="*/ 487894 h 2183723"/>
              <a:gd name="connsiteX1188" fmla="*/ 856173 w 1799300"/>
              <a:gd name="connsiteY1188" fmla="*/ 387819 h 2183723"/>
              <a:gd name="connsiteX1189" fmla="*/ 853300 w 1799300"/>
              <a:gd name="connsiteY1189" fmla="*/ 398074 h 2183723"/>
              <a:gd name="connsiteX1190" fmla="*/ 857922 w 1799300"/>
              <a:gd name="connsiteY1190" fmla="*/ 412653 h 2183723"/>
              <a:gd name="connsiteX1191" fmla="*/ 838558 w 1799300"/>
              <a:gd name="connsiteY1191" fmla="*/ 417718 h 2183723"/>
              <a:gd name="connsiteX1192" fmla="*/ 831936 w 1799300"/>
              <a:gd name="connsiteY1192" fmla="*/ 428220 h 2183723"/>
              <a:gd name="connsiteX1193" fmla="*/ 810697 w 1799300"/>
              <a:gd name="connsiteY1193" fmla="*/ 427231 h 2183723"/>
              <a:gd name="connsiteX1194" fmla="*/ 806949 w 1799300"/>
              <a:gd name="connsiteY1194" fmla="*/ 449717 h 2183723"/>
              <a:gd name="connsiteX1195" fmla="*/ 798704 w 1799300"/>
              <a:gd name="connsiteY1195" fmla="*/ 450335 h 2183723"/>
              <a:gd name="connsiteX1196" fmla="*/ 797329 w 1799300"/>
              <a:gd name="connsiteY1196" fmla="*/ 433656 h 2183723"/>
              <a:gd name="connsiteX1197" fmla="*/ 781962 w 1799300"/>
              <a:gd name="connsiteY1197" fmla="*/ 432297 h 2183723"/>
              <a:gd name="connsiteX1198" fmla="*/ 796080 w 1799300"/>
              <a:gd name="connsiteY1198" fmla="*/ 412282 h 2183723"/>
              <a:gd name="connsiteX1199" fmla="*/ 777840 w 1799300"/>
              <a:gd name="connsiteY1199" fmla="*/ 411047 h 2183723"/>
              <a:gd name="connsiteX1200" fmla="*/ 784836 w 1799300"/>
              <a:gd name="connsiteY1200" fmla="*/ 389673 h 2183723"/>
              <a:gd name="connsiteX1201" fmla="*/ 808323 w 1799300"/>
              <a:gd name="connsiteY1201" fmla="*/ 387078 h 2183723"/>
              <a:gd name="connsiteX1202" fmla="*/ 786335 w 1799300"/>
              <a:gd name="connsiteY1202" fmla="*/ 377194 h 2183723"/>
              <a:gd name="connsiteX1203" fmla="*/ 796705 w 1799300"/>
              <a:gd name="connsiteY1203" fmla="*/ 357056 h 2183723"/>
              <a:gd name="connsiteX1204" fmla="*/ 811072 w 1799300"/>
              <a:gd name="connsiteY1204" fmla="*/ 366940 h 2183723"/>
              <a:gd name="connsiteX1205" fmla="*/ 805950 w 1799300"/>
              <a:gd name="connsiteY1205" fmla="*/ 347790 h 2183723"/>
              <a:gd name="connsiteX1206" fmla="*/ 833935 w 1799300"/>
              <a:gd name="connsiteY1206" fmla="*/ 349519 h 2183723"/>
              <a:gd name="connsiteX1207" fmla="*/ 837558 w 1799300"/>
              <a:gd name="connsiteY1207" fmla="*/ 363851 h 2183723"/>
              <a:gd name="connsiteX1208" fmla="*/ 850301 w 1799300"/>
              <a:gd name="connsiteY1208" fmla="*/ 367187 h 2183723"/>
              <a:gd name="connsiteX1209" fmla="*/ 856173 w 1799300"/>
              <a:gd name="connsiteY1209" fmla="*/ 387696 h 2183723"/>
              <a:gd name="connsiteX1210" fmla="*/ 856173 w 1799300"/>
              <a:gd name="connsiteY1210" fmla="*/ 387696 h 2183723"/>
              <a:gd name="connsiteX1211" fmla="*/ 854299 w 1799300"/>
              <a:gd name="connsiteY1211" fmla="*/ 334817 h 2183723"/>
              <a:gd name="connsiteX1212" fmla="*/ 878786 w 1799300"/>
              <a:gd name="connsiteY1212" fmla="*/ 332470 h 2183723"/>
              <a:gd name="connsiteX1213" fmla="*/ 878786 w 1799300"/>
              <a:gd name="connsiteY1213" fmla="*/ 318756 h 2183723"/>
              <a:gd name="connsiteX1214" fmla="*/ 900650 w 1799300"/>
              <a:gd name="connsiteY1214" fmla="*/ 317150 h 2183723"/>
              <a:gd name="connsiteX1215" fmla="*/ 910644 w 1799300"/>
              <a:gd name="connsiteY1215" fmla="*/ 302324 h 2183723"/>
              <a:gd name="connsiteX1216" fmla="*/ 923263 w 1799300"/>
              <a:gd name="connsiteY1216" fmla="*/ 319497 h 2183723"/>
              <a:gd name="connsiteX1217" fmla="*/ 911394 w 1799300"/>
              <a:gd name="connsiteY1217" fmla="*/ 335682 h 2183723"/>
              <a:gd name="connsiteX1218" fmla="*/ 912643 w 1799300"/>
              <a:gd name="connsiteY1218" fmla="*/ 348654 h 2183723"/>
              <a:gd name="connsiteX1219" fmla="*/ 890780 w 1799300"/>
              <a:gd name="connsiteY1219" fmla="*/ 350261 h 2183723"/>
              <a:gd name="connsiteX1220" fmla="*/ 873914 w 1799300"/>
              <a:gd name="connsiteY1220" fmla="*/ 357550 h 2183723"/>
              <a:gd name="connsiteX1221" fmla="*/ 854424 w 1799300"/>
              <a:gd name="connsiteY1221" fmla="*/ 334817 h 2183723"/>
              <a:gd name="connsiteX1222" fmla="*/ 854424 w 1799300"/>
              <a:gd name="connsiteY1222" fmla="*/ 334817 h 2183723"/>
              <a:gd name="connsiteX1223" fmla="*/ 923887 w 1799300"/>
              <a:gd name="connsiteY1223" fmla="*/ 231036 h 2183723"/>
              <a:gd name="connsiteX1224" fmla="*/ 918765 w 1799300"/>
              <a:gd name="connsiteY1224" fmla="*/ 218805 h 2183723"/>
              <a:gd name="connsiteX1225" fmla="*/ 934382 w 1799300"/>
              <a:gd name="connsiteY1225" fmla="*/ 212874 h 2183723"/>
              <a:gd name="connsiteX1226" fmla="*/ 923887 w 1799300"/>
              <a:gd name="connsiteY1226" fmla="*/ 231036 h 2183723"/>
              <a:gd name="connsiteX1227" fmla="*/ 923887 w 1799300"/>
              <a:gd name="connsiteY1227" fmla="*/ 231036 h 2183723"/>
              <a:gd name="connsiteX1228" fmla="*/ 892404 w 1799300"/>
              <a:gd name="connsiteY1228" fmla="*/ 267730 h 2183723"/>
              <a:gd name="connsiteX1229" fmla="*/ 892779 w 1799300"/>
              <a:gd name="connsiteY1229" fmla="*/ 246850 h 2183723"/>
              <a:gd name="connsiteX1230" fmla="*/ 916266 w 1799300"/>
              <a:gd name="connsiteY1230" fmla="*/ 239314 h 2183723"/>
              <a:gd name="connsiteX1231" fmla="*/ 914767 w 1799300"/>
              <a:gd name="connsiteY1231" fmla="*/ 251792 h 2183723"/>
              <a:gd name="connsiteX1232" fmla="*/ 892279 w 1799300"/>
              <a:gd name="connsiteY1232" fmla="*/ 267730 h 2183723"/>
              <a:gd name="connsiteX1233" fmla="*/ 892279 w 1799300"/>
              <a:gd name="connsiteY1233" fmla="*/ 267730 h 2183723"/>
              <a:gd name="connsiteX1234" fmla="*/ 954621 w 1799300"/>
              <a:gd name="connsiteY1234" fmla="*/ 297876 h 2183723"/>
              <a:gd name="connsiteX1235" fmla="*/ 958869 w 1799300"/>
              <a:gd name="connsiteY1235" fmla="*/ 273413 h 2183723"/>
              <a:gd name="connsiteX1236" fmla="*/ 967489 w 1799300"/>
              <a:gd name="connsiteY1236" fmla="*/ 290092 h 2183723"/>
              <a:gd name="connsiteX1237" fmla="*/ 954621 w 1799300"/>
              <a:gd name="connsiteY1237" fmla="*/ 297876 h 2183723"/>
              <a:gd name="connsiteX1238" fmla="*/ 954621 w 1799300"/>
              <a:gd name="connsiteY1238" fmla="*/ 297876 h 2183723"/>
              <a:gd name="connsiteX1239" fmla="*/ 945126 w 1799300"/>
              <a:gd name="connsiteY1239" fmla="*/ 293058 h 2183723"/>
              <a:gd name="connsiteX1240" fmla="*/ 940129 w 1799300"/>
              <a:gd name="connsiteY1240" fmla="*/ 301088 h 2183723"/>
              <a:gd name="connsiteX1241" fmla="*/ 927635 w 1799300"/>
              <a:gd name="connsiteY1241" fmla="*/ 301582 h 2183723"/>
              <a:gd name="connsiteX1242" fmla="*/ 903398 w 1799300"/>
              <a:gd name="connsiteY1242" fmla="*/ 279097 h 2183723"/>
              <a:gd name="connsiteX1243" fmla="*/ 930884 w 1799300"/>
              <a:gd name="connsiteY1243" fmla="*/ 254387 h 2183723"/>
              <a:gd name="connsiteX1244" fmla="*/ 937880 w 1799300"/>
              <a:gd name="connsiteY1244" fmla="*/ 264518 h 2183723"/>
              <a:gd name="connsiteX1245" fmla="*/ 953622 w 1799300"/>
              <a:gd name="connsiteY1245" fmla="*/ 261182 h 2183723"/>
              <a:gd name="connsiteX1246" fmla="*/ 956495 w 1799300"/>
              <a:gd name="connsiteY1246" fmla="*/ 266247 h 2183723"/>
              <a:gd name="connsiteX1247" fmla="*/ 942378 w 1799300"/>
              <a:gd name="connsiteY1247" fmla="*/ 277367 h 2183723"/>
              <a:gd name="connsiteX1248" fmla="*/ 945001 w 1799300"/>
              <a:gd name="connsiteY1248" fmla="*/ 292934 h 2183723"/>
              <a:gd name="connsiteX1249" fmla="*/ 945001 w 1799300"/>
              <a:gd name="connsiteY1249" fmla="*/ 292934 h 2183723"/>
              <a:gd name="connsiteX1250" fmla="*/ 991977 w 1799300"/>
              <a:gd name="connsiteY1250" fmla="*/ 248086 h 2183723"/>
              <a:gd name="connsiteX1251" fmla="*/ 983981 w 1799300"/>
              <a:gd name="connsiteY1251" fmla="*/ 255005 h 2183723"/>
              <a:gd name="connsiteX1252" fmla="*/ 963117 w 1799300"/>
              <a:gd name="connsiteY1252" fmla="*/ 247345 h 2183723"/>
              <a:gd name="connsiteX1253" fmla="*/ 961368 w 1799300"/>
              <a:gd name="connsiteY1253" fmla="*/ 231036 h 2183723"/>
              <a:gd name="connsiteX1254" fmla="*/ 953747 w 1799300"/>
              <a:gd name="connsiteY1254" fmla="*/ 207315 h 2183723"/>
              <a:gd name="connsiteX1255" fmla="*/ 963741 w 1799300"/>
              <a:gd name="connsiteY1255" fmla="*/ 200025 h 2183723"/>
              <a:gd name="connsiteX1256" fmla="*/ 968864 w 1799300"/>
              <a:gd name="connsiteY1256" fmla="*/ 224735 h 2183723"/>
              <a:gd name="connsiteX1257" fmla="*/ 986604 w 1799300"/>
              <a:gd name="connsiteY1257" fmla="*/ 237461 h 2183723"/>
              <a:gd name="connsiteX1258" fmla="*/ 992101 w 1799300"/>
              <a:gd name="connsiteY1258" fmla="*/ 248086 h 2183723"/>
              <a:gd name="connsiteX1259" fmla="*/ 992101 w 1799300"/>
              <a:gd name="connsiteY1259" fmla="*/ 248086 h 2183723"/>
              <a:gd name="connsiteX1260" fmla="*/ 1043449 w 1799300"/>
              <a:gd name="connsiteY1260" fmla="*/ 273166 h 2183723"/>
              <a:gd name="connsiteX1261" fmla="*/ 1032580 w 1799300"/>
              <a:gd name="connsiteY1261" fmla="*/ 258587 h 2183723"/>
              <a:gd name="connsiteX1262" fmla="*/ 1018837 w 1799300"/>
              <a:gd name="connsiteY1262" fmla="*/ 254263 h 2183723"/>
              <a:gd name="connsiteX1263" fmla="*/ 1015589 w 1799300"/>
              <a:gd name="connsiteY1263" fmla="*/ 224241 h 2183723"/>
              <a:gd name="connsiteX1264" fmla="*/ 1027333 w 1799300"/>
              <a:gd name="connsiteY1264" fmla="*/ 211886 h 2183723"/>
              <a:gd name="connsiteX1265" fmla="*/ 1046823 w 1799300"/>
              <a:gd name="connsiteY1265" fmla="*/ 225229 h 2183723"/>
              <a:gd name="connsiteX1266" fmla="*/ 1039701 w 1799300"/>
              <a:gd name="connsiteY1266" fmla="*/ 243638 h 2183723"/>
              <a:gd name="connsiteX1267" fmla="*/ 1050945 w 1799300"/>
              <a:gd name="connsiteY1267" fmla="*/ 257352 h 2183723"/>
              <a:gd name="connsiteX1268" fmla="*/ 1043699 w 1799300"/>
              <a:gd name="connsiteY1268" fmla="*/ 273413 h 2183723"/>
              <a:gd name="connsiteX1269" fmla="*/ 1043699 w 1799300"/>
              <a:gd name="connsiteY1269" fmla="*/ 273413 h 2183723"/>
              <a:gd name="connsiteX1270" fmla="*/ 1178253 w 1799300"/>
              <a:gd name="connsiteY1270" fmla="*/ 198419 h 2183723"/>
              <a:gd name="connsiteX1271" fmla="*/ 1160013 w 1799300"/>
              <a:gd name="connsiteY1271" fmla="*/ 191624 h 2183723"/>
              <a:gd name="connsiteX1272" fmla="*/ 1139649 w 1799300"/>
              <a:gd name="connsiteY1272" fmla="*/ 182605 h 2183723"/>
              <a:gd name="connsiteX1273" fmla="*/ 1152517 w 1799300"/>
              <a:gd name="connsiteY1273" fmla="*/ 172227 h 2183723"/>
              <a:gd name="connsiteX1274" fmla="*/ 1172131 w 1799300"/>
              <a:gd name="connsiteY1274" fmla="*/ 172721 h 2183723"/>
              <a:gd name="connsiteX1275" fmla="*/ 1181127 w 1799300"/>
              <a:gd name="connsiteY1275" fmla="*/ 181493 h 2183723"/>
              <a:gd name="connsiteX1276" fmla="*/ 1178253 w 1799300"/>
              <a:gd name="connsiteY1276" fmla="*/ 198296 h 2183723"/>
              <a:gd name="connsiteX1277" fmla="*/ 1178253 w 1799300"/>
              <a:gd name="connsiteY1277" fmla="*/ 198296 h 2183723"/>
              <a:gd name="connsiteX1278" fmla="*/ 1201491 w 1799300"/>
              <a:gd name="connsiteY1278" fmla="*/ 182729 h 2183723"/>
              <a:gd name="connsiteX1279" fmla="*/ 1179877 w 1799300"/>
              <a:gd name="connsiteY1279" fmla="*/ 158637 h 2183723"/>
              <a:gd name="connsiteX1280" fmla="*/ 1211111 w 1799300"/>
              <a:gd name="connsiteY1280" fmla="*/ 128985 h 2183723"/>
              <a:gd name="connsiteX1281" fmla="*/ 1217358 w 1799300"/>
              <a:gd name="connsiteY1281" fmla="*/ 149123 h 2183723"/>
              <a:gd name="connsiteX1282" fmla="*/ 1203490 w 1799300"/>
              <a:gd name="connsiteY1282" fmla="*/ 167161 h 2183723"/>
              <a:gd name="connsiteX1283" fmla="*/ 1201491 w 1799300"/>
              <a:gd name="connsiteY1283" fmla="*/ 182729 h 2183723"/>
              <a:gd name="connsiteX1284" fmla="*/ 1201491 w 1799300"/>
              <a:gd name="connsiteY1284" fmla="*/ 182729 h 2183723"/>
              <a:gd name="connsiteX1285" fmla="*/ 1160263 w 1799300"/>
              <a:gd name="connsiteY1285" fmla="*/ 150606 h 2183723"/>
              <a:gd name="connsiteX1286" fmla="*/ 1148144 w 1799300"/>
              <a:gd name="connsiteY1286" fmla="*/ 153818 h 2183723"/>
              <a:gd name="connsiteX1287" fmla="*/ 1118910 w 1799300"/>
              <a:gd name="connsiteY1287" fmla="*/ 146529 h 2183723"/>
              <a:gd name="connsiteX1288" fmla="*/ 1110789 w 1799300"/>
              <a:gd name="connsiteY1288" fmla="*/ 127873 h 2183723"/>
              <a:gd name="connsiteX1289" fmla="*/ 1127155 w 1799300"/>
              <a:gd name="connsiteY1289" fmla="*/ 130715 h 2183723"/>
              <a:gd name="connsiteX1290" fmla="*/ 1142272 w 1799300"/>
              <a:gd name="connsiteY1290" fmla="*/ 118236 h 2183723"/>
              <a:gd name="connsiteX1291" fmla="*/ 1153391 w 1799300"/>
              <a:gd name="connsiteY1291" fmla="*/ 129973 h 2183723"/>
              <a:gd name="connsiteX1292" fmla="*/ 1161887 w 1799300"/>
              <a:gd name="connsiteY1292" fmla="*/ 111564 h 2183723"/>
              <a:gd name="connsiteX1293" fmla="*/ 1173756 w 1799300"/>
              <a:gd name="connsiteY1293" fmla="*/ 117618 h 2183723"/>
              <a:gd name="connsiteX1294" fmla="*/ 1201741 w 1799300"/>
              <a:gd name="connsiteY1294" fmla="*/ 89820 h 2183723"/>
              <a:gd name="connsiteX1295" fmla="*/ 1205864 w 1799300"/>
              <a:gd name="connsiteY1295" fmla="*/ 101433 h 2183723"/>
              <a:gd name="connsiteX1296" fmla="*/ 1160263 w 1799300"/>
              <a:gd name="connsiteY1296" fmla="*/ 150729 h 2183723"/>
              <a:gd name="connsiteX1297" fmla="*/ 1160263 w 1799300"/>
              <a:gd name="connsiteY1297" fmla="*/ 150729 h 2183723"/>
              <a:gd name="connsiteX1298" fmla="*/ 1215858 w 1799300"/>
              <a:gd name="connsiteY1298" fmla="*/ 110823 h 2183723"/>
              <a:gd name="connsiteX1299" fmla="*/ 1240595 w 1799300"/>
              <a:gd name="connsiteY1299" fmla="*/ 100569 h 2183723"/>
              <a:gd name="connsiteX1300" fmla="*/ 1262459 w 1799300"/>
              <a:gd name="connsiteY1300" fmla="*/ 115147 h 2183723"/>
              <a:gd name="connsiteX1301" fmla="*/ 1256837 w 1799300"/>
              <a:gd name="connsiteY1301" fmla="*/ 131085 h 2183723"/>
              <a:gd name="connsiteX1302" fmla="*/ 1232350 w 1799300"/>
              <a:gd name="connsiteY1302" fmla="*/ 141340 h 2183723"/>
              <a:gd name="connsiteX1303" fmla="*/ 1230226 w 1799300"/>
              <a:gd name="connsiteY1303" fmla="*/ 124043 h 2183723"/>
              <a:gd name="connsiteX1304" fmla="*/ 1215733 w 1799300"/>
              <a:gd name="connsiteY1304" fmla="*/ 110823 h 2183723"/>
              <a:gd name="connsiteX1305" fmla="*/ 1215733 w 1799300"/>
              <a:gd name="connsiteY1305" fmla="*/ 110823 h 2183723"/>
              <a:gd name="connsiteX1306" fmla="*/ 1263333 w 1799300"/>
              <a:gd name="connsiteY1306" fmla="*/ 65110 h 2183723"/>
              <a:gd name="connsiteX1307" fmla="*/ 1258461 w 1799300"/>
              <a:gd name="connsiteY1307" fmla="*/ 74129 h 2183723"/>
              <a:gd name="connsiteX1308" fmla="*/ 1250590 w 1799300"/>
              <a:gd name="connsiteY1308" fmla="*/ 77094 h 2183723"/>
              <a:gd name="connsiteX1309" fmla="*/ 1238222 w 1799300"/>
              <a:gd name="connsiteY1309" fmla="*/ 59550 h 2183723"/>
              <a:gd name="connsiteX1310" fmla="*/ 1253963 w 1799300"/>
              <a:gd name="connsiteY1310" fmla="*/ 54979 h 2183723"/>
              <a:gd name="connsiteX1311" fmla="*/ 1263333 w 1799300"/>
              <a:gd name="connsiteY1311" fmla="*/ 65110 h 2183723"/>
              <a:gd name="connsiteX1312" fmla="*/ 1263333 w 1799300"/>
              <a:gd name="connsiteY1312" fmla="*/ 65110 h 2183723"/>
              <a:gd name="connsiteX1313" fmla="*/ 1301438 w 1799300"/>
              <a:gd name="connsiteY1313" fmla="*/ 35211 h 2183723"/>
              <a:gd name="connsiteX1314" fmla="*/ 1288820 w 1799300"/>
              <a:gd name="connsiteY1314" fmla="*/ 35211 h 2183723"/>
              <a:gd name="connsiteX1315" fmla="*/ 1294567 w 1799300"/>
              <a:gd name="connsiteY1315" fmla="*/ 22609 h 2183723"/>
              <a:gd name="connsiteX1316" fmla="*/ 1307435 w 1799300"/>
              <a:gd name="connsiteY1316" fmla="*/ 21745 h 2183723"/>
              <a:gd name="connsiteX1317" fmla="*/ 1301438 w 1799300"/>
              <a:gd name="connsiteY1317" fmla="*/ 35211 h 2183723"/>
              <a:gd name="connsiteX1318" fmla="*/ 1301438 w 1799300"/>
              <a:gd name="connsiteY1318" fmla="*/ 35211 h 2183723"/>
              <a:gd name="connsiteX1319" fmla="*/ 1327300 w 1799300"/>
              <a:gd name="connsiteY1319" fmla="*/ 43613 h 2183723"/>
              <a:gd name="connsiteX1320" fmla="*/ 1327924 w 1799300"/>
              <a:gd name="connsiteY1320" fmla="*/ 34717 h 2183723"/>
              <a:gd name="connsiteX1321" fmla="*/ 1335545 w 1799300"/>
              <a:gd name="connsiteY1321" fmla="*/ 26810 h 2183723"/>
              <a:gd name="connsiteX1322" fmla="*/ 1347039 w 1799300"/>
              <a:gd name="connsiteY1322" fmla="*/ 31628 h 2183723"/>
              <a:gd name="connsiteX1323" fmla="*/ 1355285 w 1799300"/>
              <a:gd name="connsiteY1323" fmla="*/ 23351 h 2183723"/>
              <a:gd name="connsiteX1324" fmla="*/ 1356659 w 1799300"/>
              <a:gd name="connsiteY1324" fmla="*/ 8896 h 2183723"/>
              <a:gd name="connsiteX1325" fmla="*/ 1367653 w 1799300"/>
              <a:gd name="connsiteY1325" fmla="*/ 16926 h 2183723"/>
              <a:gd name="connsiteX1326" fmla="*/ 1382396 w 1799300"/>
              <a:gd name="connsiteY1326" fmla="*/ 19891 h 2183723"/>
              <a:gd name="connsiteX1327" fmla="*/ 1371027 w 1799300"/>
              <a:gd name="connsiteY1327" fmla="*/ 35211 h 2183723"/>
              <a:gd name="connsiteX1328" fmla="*/ 1393265 w 1799300"/>
              <a:gd name="connsiteY1328" fmla="*/ 34594 h 2183723"/>
              <a:gd name="connsiteX1329" fmla="*/ 1386268 w 1799300"/>
              <a:gd name="connsiteY1329" fmla="*/ 55226 h 2183723"/>
              <a:gd name="connsiteX1330" fmla="*/ 1367903 w 1799300"/>
              <a:gd name="connsiteY1330" fmla="*/ 60292 h 2183723"/>
              <a:gd name="connsiteX1331" fmla="*/ 1347789 w 1799300"/>
              <a:gd name="connsiteY1331" fmla="*/ 46084 h 2183723"/>
              <a:gd name="connsiteX1332" fmla="*/ 1327425 w 1799300"/>
              <a:gd name="connsiteY1332" fmla="*/ 43613 h 218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Lst>
            <a:rect l="l" t="t" r="r" b="b"/>
            <a:pathLst>
              <a:path w="1799300" h="2183723">
                <a:moveTo>
                  <a:pt x="1674991" y="377194"/>
                </a:moveTo>
                <a:lnTo>
                  <a:pt x="1685860" y="374847"/>
                </a:lnTo>
                <a:lnTo>
                  <a:pt x="1685111" y="342971"/>
                </a:lnTo>
                <a:lnTo>
                  <a:pt x="1708598" y="318632"/>
                </a:lnTo>
                <a:lnTo>
                  <a:pt x="1730337" y="314802"/>
                </a:lnTo>
                <a:lnTo>
                  <a:pt x="1743705" y="295158"/>
                </a:lnTo>
                <a:lnTo>
                  <a:pt x="1740582" y="269336"/>
                </a:lnTo>
                <a:lnTo>
                  <a:pt x="1755823" y="267359"/>
                </a:lnTo>
                <a:lnTo>
                  <a:pt x="1775063" y="274031"/>
                </a:lnTo>
                <a:lnTo>
                  <a:pt x="1785683" y="259452"/>
                </a:lnTo>
                <a:lnTo>
                  <a:pt x="1784059" y="240920"/>
                </a:lnTo>
                <a:lnTo>
                  <a:pt x="1778811" y="240549"/>
                </a:lnTo>
                <a:lnTo>
                  <a:pt x="1764944" y="230913"/>
                </a:lnTo>
                <a:lnTo>
                  <a:pt x="1757947" y="231160"/>
                </a:lnTo>
                <a:lnTo>
                  <a:pt x="1751951" y="235237"/>
                </a:lnTo>
                <a:lnTo>
                  <a:pt x="1751701" y="245862"/>
                </a:lnTo>
                <a:lnTo>
                  <a:pt x="1744080" y="238943"/>
                </a:lnTo>
                <a:lnTo>
                  <a:pt x="1739082" y="228936"/>
                </a:lnTo>
                <a:lnTo>
                  <a:pt x="1728963" y="228936"/>
                </a:lnTo>
                <a:cubicBezTo>
                  <a:pt x="1728963" y="228936"/>
                  <a:pt x="1731461" y="238820"/>
                  <a:pt x="1731461" y="238820"/>
                </a:cubicBezTo>
                <a:lnTo>
                  <a:pt x="1729837" y="258093"/>
                </a:lnTo>
                <a:lnTo>
                  <a:pt x="1723091" y="254263"/>
                </a:lnTo>
                <a:lnTo>
                  <a:pt x="1714595" y="241908"/>
                </a:lnTo>
                <a:lnTo>
                  <a:pt x="1701477" y="251051"/>
                </a:lnTo>
                <a:lnTo>
                  <a:pt x="1697354" y="261182"/>
                </a:lnTo>
                <a:lnTo>
                  <a:pt x="1692232" y="246974"/>
                </a:lnTo>
                <a:lnTo>
                  <a:pt x="1686985" y="227700"/>
                </a:lnTo>
                <a:lnTo>
                  <a:pt x="1679988" y="226959"/>
                </a:lnTo>
                <a:lnTo>
                  <a:pt x="1671868" y="207438"/>
                </a:lnTo>
                <a:lnTo>
                  <a:pt x="1664497" y="203608"/>
                </a:lnTo>
                <a:lnTo>
                  <a:pt x="1649380" y="206326"/>
                </a:lnTo>
                <a:lnTo>
                  <a:pt x="1636012" y="201384"/>
                </a:lnTo>
                <a:lnTo>
                  <a:pt x="1614398" y="199902"/>
                </a:lnTo>
                <a:lnTo>
                  <a:pt x="1603029" y="186311"/>
                </a:lnTo>
                <a:lnTo>
                  <a:pt x="1606652" y="182729"/>
                </a:lnTo>
                <a:lnTo>
                  <a:pt x="1634013" y="188782"/>
                </a:lnTo>
                <a:lnTo>
                  <a:pt x="1656001" y="185076"/>
                </a:lnTo>
                <a:lnTo>
                  <a:pt x="1675116" y="187670"/>
                </a:lnTo>
                <a:lnTo>
                  <a:pt x="1711222" y="190883"/>
                </a:lnTo>
                <a:lnTo>
                  <a:pt x="1735834" y="181246"/>
                </a:lnTo>
                <a:lnTo>
                  <a:pt x="1750701" y="148382"/>
                </a:lnTo>
                <a:lnTo>
                  <a:pt x="1784933" y="138004"/>
                </a:lnTo>
                <a:lnTo>
                  <a:pt x="1799300" y="125031"/>
                </a:lnTo>
                <a:lnTo>
                  <a:pt x="1799051" y="119842"/>
                </a:lnTo>
                <a:lnTo>
                  <a:pt x="1787807" y="116506"/>
                </a:lnTo>
                <a:lnTo>
                  <a:pt x="1784059" y="109464"/>
                </a:lnTo>
                <a:lnTo>
                  <a:pt x="1771065" y="105881"/>
                </a:lnTo>
                <a:lnTo>
                  <a:pt x="1755324" y="109341"/>
                </a:lnTo>
                <a:lnTo>
                  <a:pt x="1732086" y="91797"/>
                </a:lnTo>
                <a:lnTo>
                  <a:pt x="1719967" y="92291"/>
                </a:lnTo>
                <a:lnTo>
                  <a:pt x="1706100" y="108970"/>
                </a:lnTo>
                <a:lnTo>
                  <a:pt x="1696855" y="109341"/>
                </a:lnTo>
                <a:lnTo>
                  <a:pt x="1693731" y="103287"/>
                </a:lnTo>
                <a:lnTo>
                  <a:pt x="1707849" y="93403"/>
                </a:lnTo>
                <a:lnTo>
                  <a:pt x="1709723" y="81048"/>
                </a:lnTo>
                <a:lnTo>
                  <a:pt x="1691732" y="74994"/>
                </a:lnTo>
                <a:lnTo>
                  <a:pt x="1687984" y="70299"/>
                </a:lnTo>
                <a:lnTo>
                  <a:pt x="1675241" y="71535"/>
                </a:lnTo>
                <a:lnTo>
                  <a:pt x="1664372" y="92167"/>
                </a:lnTo>
                <a:lnTo>
                  <a:pt x="1657750" y="92414"/>
                </a:lnTo>
                <a:lnTo>
                  <a:pt x="1658500" y="77959"/>
                </a:lnTo>
                <a:lnTo>
                  <a:pt x="1650629" y="79689"/>
                </a:lnTo>
                <a:lnTo>
                  <a:pt x="1643758" y="90561"/>
                </a:lnTo>
                <a:lnTo>
                  <a:pt x="1635762" y="90191"/>
                </a:lnTo>
                <a:lnTo>
                  <a:pt x="1632264" y="81048"/>
                </a:lnTo>
                <a:lnTo>
                  <a:pt x="1643633" y="72276"/>
                </a:lnTo>
                <a:lnTo>
                  <a:pt x="1643133" y="61651"/>
                </a:lnTo>
                <a:lnTo>
                  <a:pt x="1625392" y="51767"/>
                </a:lnTo>
                <a:lnTo>
                  <a:pt x="1608026" y="52138"/>
                </a:lnTo>
                <a:lnTo>
                  <a:pt x="1597532" y="59056"/>
                </a:lnTo>
                <a:lnTo>
                  <a:pt x="1595908" y="84137"/>
                </a:lnTo>
                <a:lnTo>
                  <a:pt x="1584039" y="89820"/>
                </a:lnTo>
                <a:lnTo>
                  <a:pt x="1583040" y="98468"/>
                </a:lnTo>
                <a:lnTo>
                  <a:pt x="1594534" y="123672"/>
                </a:lnTo>
                <a:lnTo>
                  <a:pt x="1593659" y="135039"/>
                </a:lnTo>
                <a:lnTo>
                  <a:pt x="1584664" y="143934"/>
                </a:lnTo>
                <a:lnTo>
                  <a:pt x="1576418" y="128491"/>
                </a:lnTo>
                <a:lnTo>
                  <a:pt x="1565299" y="127996"/>
                </a:lnTo>
                <a:lnTo>
                  <a:pt x="1562800" y="133927"/>
                </a:lnTo>
                <a:lnTo>
                  <a:pt x="1547808" y="131826"/>
                </a:lnTo>
                <a:lnTo>
                  <a:pt x="1526070" y="142699"/>
                </a:lnTo>
                <a:lnTo>
                  <a:pt x="1542311" y="117989"/>
                </a:lnTo>
                <a:lnTo>
                  <a:pt x="1555679" y="114035"/>
                </a:lnTo>
                <a:lnTo>
                  <a:pt x="1563550" y="96492"/>
                </a:lnTo>
                <a:lnTo>
                  <a:pt x="1560801" y="88090"/>
                </a:lnTo>
                <a:lnTo>
                  <a:pt x="1554180" y="89326"/>
                </a:lnTo>
                <a:lnTo>
                  <a:pt x="1536814" y="103410"/>
                </a:lnTo>
                <a:lnTo>
                  <a:pt x="1526320" y="100816"/>
                </a:lnTo>
                <a:lnTo>
                  <a:pt x="1528443" y="92909"/>
                </a:lnTo>
                <a:lnTo>
                  <a:pt x="1539812" y="82778"/>
                </a:lnTo>
                <a:lnTo>
                  <a:pt x="1540562" y="75241"/>
                </a:lnTo>
                <a:lnTo>
                  <a:pt x="1524446" y="72152"/>
                </a:lnTo>
                <a:lnTo>
                  <a:pt x="1520947" y="65481"/>
                </a:lnTo>
                <a:lnTo>
                  <a:pt x="1533941" y="60786"/>
                </a:lnTo>
                <a:lnTo>
                  <a:pt x="1539688" y="65728"/>
                </a:lnTo>
                <a:lnTo>
                  <a:pt x="1559052" y="64863"/>
                </a:lnTo>
                <a:lnTo>
                  <a:pt x="1568922" y="36323"/>
                </a:lnTo>
                <a:lnTo>
                  <a:pt x="1565299" y="24833"/>
                </a:lnTo>
                <a:lnTo>
                  <a:pt x="1547558" y="30022"/>
                </a:lnTo>
                <a:lnTo>
                  <a:pt x="1538938" y="24833"/>
                </a:lnTo>
                <a:lnTo>
                  <a:pt x="1541811" y="11737"/>
                </a:lnTo>
                <a:lnTo>
                  <a:pt x="1536439" y="0"/>
                </a:lnTo>
                <a:lnTo>
                  <a:pt x="1525070" y="10749"/>
                </a:lnTo>
                <a:lnTo>
                  <a:pt x="1515325" y="10131"/>
                </a:lnTo>
                <a:lnTo>
                  <a:pt x="1504581" y="1730"/>
                </a:lnTo>
                <a:lnTo>
                  <a:pt x="1491963" y="14579"/>
                </a:lnTo>
                <a:lnTo>
                  <a:pt x="1492962" y="23104"/>
                </a:lnTo>
                <a:lnTo>
                  <a:pt x="1504331" y="35953"/>
                </a:lnTo>
                <a:lnTo>
                  <a:pt x="1497460" y="46207"/>
                </a:lnTo>
                <a:lnTo>
                  <a:pt x="1489589" y="46578"/>
                </a:lnTo>
                <a:lnTo>
                  <a:pt x="1475971" y="29034"/>
                </a:lnTo>
                <a:lnTo>
                  <a:pt x="1466976" y="37929"/>
                </a:lnTo>
                <a:lnTo>
                  <a:pt x="1462853" y="53497"/>
                </a:lnTo>
                <a:lnTo>
                  <a:pt x="1467351" y="59798"/>
                </a:lnTo>
                <a:lnTo>
                  <a:pt x="1481218" y="59550"/>
                </a:lnTo>
                <a:lnTo>
                  <a:pt x="1488090" y="65481"/>
                </a:lnTo>
                <a:lnTo>
                  <a:pt x="1486965" y="73017"/>
                </a:lnTo>
                <a:lnTo>
                  <a:pt x="1476221" y="78330"/>
                </a:lnTo>
                <a:lnTo>
                  <a:pt x="1476721" y="90932"/>
                </a:lnTo>
                <a:lnTo>
                  <a:pt x="1466226" y="96862"/>
                </a:lnTo>
                <a:lnTo>
                  <a:pt x="1466726" y="108846"/>
                </a:lnTo>
                <a:lnTo>
                  <a:pt x="1470099" y="114159"/>
                </a:lnTo>
                <a:lnTo>
                  <a:pt x="1460354" y="121078"/>
                </a:lnTo>
                <a:lnTo>
                  <a:pt x="1466976" y="138622"/>
                </a:lnTo>
                <a:lnTo>
                  <a:pt x="1462103" y="144676"/>
                </a:lnTo>
                <a:lnTo>
                  <a:pt x="1449985" y="137016"/>
                </a:lnTo>
                <a:lnTo>
                  <a:pt x="1439615" y="145664"/>
                </a:lnTo>
                <a:lnTo>
                  <a:pt x="1437491" y="152583"/>
                </a:lnTo>
                <a:lnTo>
                  <a:pt x="1426122" y="161355"/>
                </a:lnTo>
                <a:lnTo>
                  <a:pt x="1424373" y="144305"/>
                </a:lnTo>
                <a:lnTo>
                  <a:pt x="1437866" y="111812"/>
                </a:lnTo>
                <a:lnTo>
                  <a:pt x="1423124" y="107240"/>
                </a:lnTo>
                <a:lnTo>
                  <a:pt x="1424123" y="98963"/>
                </a:lnTo>
                <a:lnTo>
                  <a:pt x="1434118" y="88214"/>
                </a:lnTo>
                <a:lnTo>
                  <a:pt x="1433244" y="60910"/>
                </a:lnTo>
                <a:lnTo>
                  <a:pt x="1427372" y="52261"/>
                </a:lnTo>
                <a:lnTo>
                  <a:pt x="1418751" y="53002"/>
                </a:lnTo>
                <a:lnTo>
                  <a:pt x="1397513" y="91302"/>
                </a:lnTo>
                <a:lnTo>
                  <a:pt x="1397762" y="112182"/>
                </a:lnTo>
                <a:lnTo>
                  <a:pt x="1375899" y="144552"/>
                </a:lnTo>
                <a:lnTo>
                  <a:pt x="1371276" y="167038"/>
                </a:lnTo>
                <a:lnTo>
                  <a:pt x="1376524" y="176428"/>
                </a:lnTo>
                <a:lnTo>
                  <a:pt x="1374900" y="194713"/>
                </a:lnTo>
                <a:lnTo>
                  <a:pt x="1352411" y="221399"/>
                </a:lnTo>
                <a:lnTo>
                  <a:pt x="1340543" y="227330"/>
                </a:lnTo>
                <a:lnTo>
                  <a:pt x="1339918" y="211639"/>
                </a:lnTo>
                <a:lnTo>
                  <a:pt x="1333921" y="200643"/>
                </a:lnTo>
                <a:lnTo>
                  <a:pt x="1348164" y="176057"/>
                </a:lnTo>
                <a:lnTo>
                  <a:pt x="1344291" y="160490"/>
                </a:lnTo>
                <a:lnTo>
                  <a:pt x="1350038" y="148258"/>
                </a:lnTo>
                <a:lnTo>
                  <a:pt x="1342042" y="132815"/>
                </a:lnTo>
                <a:lnTo>
                  <a:pt x="1367403" y="102545"/>
                </a:lnTo>
                <a:lnTo>
                  <a:pt x="1371151" y="84878"/>
                </a:lnTo>
                <a:lnTo>
                  <a:pt x="1375149" y="81666"/>
                </a:lnTo>
                <a:lnTo>
                  <a:pt x="1373026" y="71782"/>
                </a:lnTo>
                <a:lnTo>
                  <a:pt x="1358783" y="71041"/>
                </a:lnTo>
                <a:lnTo>
                  <a:pt x="1343541" y="56956"/>
                </a:lnTo>
                <a:lnTo>
                  <a:pt x="1336420" y="59674"/>
                </a:lnTo>
                <a:lnTo>
                  <a:pt x="1339543" y="75612"/>
                </a:lnTo>
                <a:lnTo>
                  <a:pt x="1329673" y="87720"/>
                </a:lnTo>
                <a:lnTo>
                  <a:pt x="1328299" y="72029"/>
                </a:lnTo>
                <a:lnTo>
                  <a:pt x="1315681" y="60910"/>
                </a:lnTo>
                <a:lnTo>
                  <a:pt x="1300689" y="58439"/>
                </a:lnTo>
                <a:lnTo>
                  <a:pt x="1289819" y="64740"/>
                </a:lnTo>
                <a:lnTo>
                  <a:pt x="1293193" y="86484"/>
                </a:lnTo>
                <a:lnTo>
                  <a:pt x="1288070" y="97356"/>
                </a:lnTo>
                <a:lnTo>
                  <a:pt x="1280075" y="88461"/>
                </a:lnTo>
                <a:lnTo>
                  <a:pt x="1269830" y="83025"/>
                </a:lnTo>
                <a:lnTo>
                  <a:pt x="1262459" y="90932"/>
                </a:lnTo>
                <a:lnTo>
                  <a:pt x="1265207" y="97603"/>
                </a:lnTo>
                <a:lnTo>
                  <a:pt x="1286571" y="110453"/>
                </a:lnTo>
                <a:lnTo>
                  <a:pt x="1292068" y="125649"/>
                </a:lnTo>
                <a:lnTo>
                  <a:pt x="1287446" y="131332"/>
                </a:lnTo>
                <a:lnTo>
                  <a:pt x="1278076" y="122560"/>
                </a:lnTo>
                <a:lnTo>
                  <a:pt x="1267456" y="132938"/>
                </a:lnTo>
                <a:lnTo>
                  <a:pt x="1266832" y="142575"/>
                </a:lnTo>
                <a:lnTo>
                  <a:pt x="1272329" y="149247"/>
                </a:lnTo>
                <a:lnTo>
                  <a:pt x="1267081" y="155301"/>
                </a:lnTo>
                <a:lnTo>
                  <a:pt x="1250340" y="145417"/>
                </a:lnTo>
                <a:lnTo>
                  <a:pt x="1241720" y="146405"/>
                </a:lnTo>
                <a:lnTo>
                  <a:pt x="1233224" y="165679"/>
                </a:lnTo>
                <a:lnTo>
                  <a:pt x="1221356" y="171362"/>
                </a:lnTo>
                <a:lnTo>
                  <a:pt x="1221605" y="178157"/>
                </a:lnTo>
                <a:lnTo>
                  <a:pt x="1229101" y="182976"/>
                </a:lnTo>
                <a:lnTo>
                  <a:pt x="1212610" y="194589"/>
                </a:lnTo>
                <a:lnTo>
                  <a:pt x="1209362" y="208056"/>
                </a:lnTo>
                <a:lnTo>
                  <a:pt x="1223854" y="221770"/>
                </a:lnTo>
                <a:lnTo>
                  <a:pt x="1213984" y="232519"/>
                </a:lnTo>
                <a:lnTo>
                  <a:pt x="1228102" y="238449"/>
                </a:lnTo>
                <a:lnTo>
                  <a:pt x="1234599" y="244750"/>
                </a:lnTo>
                <a:lnTo>
                  <a:pt x="1227352" y="252904"/>
                </a:lnTo>
                <a:lnTo>
                  <a:pt x="1204739" y="251792"/>
                </a:lnTo>
                <a:lnTo>
                  <a:pt x="1197868" y="228442"/>
                </a:lnTo>
                <a:lnTo>
                  <a:pt x="1186999" y="225847"/>
                </a:lnTo>
                <a:lnTo>
                  <a:pt x="1196619" y="214481"/>
                </a:lnTo>
                <a:lnTo>
                  <a:pt x="1182126" y="207562"/>
                </a:lnTo>
                <a:lnTo>
                  <a:pt x="1166634" y="209909"/>
                </a:lnTo>
                <a:lnTo>
                  <a:pt x="1146520" y="209415"/>
                </a:lnTo>
                <a:lnTo>
                  <a:pt x="1117535" y="188659"/>
                </a:lnTo>
                <a:lnTo>
                  <a:pt x="1109165" y="188659"/>
                </a:lnTo>
                <a:cubicBezTo>
                  <a:pt x="1109165" y="188659"/>
                  <a:pt x="1100294" y="200396"/>
                  <a:pt x="1100294" y="200396"/>
                </a:cubicBezTo>
                <a:lnTo>
                  <a:pt x="1093548" y="188659"/>
                </a:lnTo>
                <a:lnTo>
                  <a:pt x="1079930" y="201879"/>
                </a:lnTo>
                <a:lnTo>
                  <a:pt x="1063439" y="206326"/>
                </a:lnTo>
                <a:lnTo>
                  <a:pt x="1063064" y="213863"/>
                </a:lnTo>
                <a:lnTo>
                  <a:pt x="1083803" y="236225"/>
                </a:lnTo>
                <a:lnTo>
                  <a:pt x="1097921" y="235237"/>
                </a:lnTo>
                <a:lnTo>
                  <a:pt x="1106291" y="244132"/>
                </a:lnTo>
                <a:lnTo>
                  <a:pt x="1127030" y="244626"/>
                </a:lnTo>
                <a:lnTo>
                  <a:pt x="1118785" y="261800"/>
                </a:lnTo>
                <a:lnTo>
                  <a:pt x="1120159" y="277490"/>
                </a:lnTo>
                <a:lnTo>
                  <a:pt x="1135151" y="295652"/>
                </a:lnTo>
                <a:lnTo>
                  <a:pt x="1133652" y="308130"/>
                </a:lnTo>
                <a:lnTo>
                  <a:pt x="1121158" y="299729"/>
                </a:lnTo>
                <a:lnTo>
                  <a:pt x="1108165" y="280085"/>
                </a:lnTo>
                <a:lnTo>
                  <a:pt x="1091924" y="274278"/>
                </a:lnTo>
                <a:lnTo>
                  <a:pt x="1082054" y="263406"/>
                </a:lnTo>
                <a:lnTo>
                  <a:pt x="1077931" y="278973"/>
                </a:lnTo>
                <a:lnTo>
                  <a:pt x="1064938" y="290834"/>
                </a:lnTo>
                <a:lnTo>
                  <a:pt x="1060815" y="269460"/>
                </a:lnTo>
                <a:lnTo>
                  <a:pt x="1047822" y="281320"/>
                </a:lnTo>
                <a:lnTo>
                  <a:pt x="1047822" y="290587"/>
                </a:lnTo>
                <a:cubicBezTo>
                  <a:pt x="1047822" y="290587"/>
                  <a:pt x="1032580" y="304918"/>
                  <a:pt x="1032580" y="304918"/>
                </a:cubicBezTo>
                <a:lnTo>
                  <a:pt x="1034204" y="319250"/>
                </a:lnTo>
                <a:lnTo>
                  <a:pt x="1053694" y="327033"/>
                </a:lnTo>
                <a:lnTo>
                  <a:pt x="1062314" y="343465"/>
                </a:lnTo>
                <a:lnTo>
                  <a:pt x="1047697" y="341736"/>
                </a:lnTo>
                <a:lnTo>
                  <a:pt x="1039451" y="334199"/>
                </a:lnTo>
                <a:lnTo>
                  <a:pt x="1027833" y="352855"/>
                </a:lnTo>
                <a:lnTo>
                  <a:pt x="1024334" y="367063"/>
                </a:lnTo>
                <a:lnTo>
                  <a:pt x="1004970" y="383619"/>
                </a:lnTo>
                <a:lnTo>
                  <a:pt x="1004220" y="373982"/>
                </a:lnTo>
                <a:lnTo>
                  <a:pt x="1017338" y="363851"/>
                </a:lnTo>
                <a:lnTo>
                  <a:pt x="1012216" y="351373"/>
                </a:lnTo>
                <a:lnTo>
                  <a:pt x="1023960" y="325551"/>
                </a:lnTo>
                <a:lnTo>
                  <a:pt x="1011716" y="275019"/>
                </a:lnTo>
                <a:lnTo>
                  <a:pt x="998973" y="283791"/>
                </a:lnTo>
                <a:lnTo>
                  <a:pt x="979733" y="317520"/>
                </a:lnTo>
                <a:lnTo>
                  <a:pt x="980233" y="339388"/>
                </a:lnTo>
                <a:lnTo>
                  <a:pt x="983731" y="348160"/>
                </a:lnTo>
                <a:lnTo>
                  <a:pt x="970363" y="366569"/>
                </a:lnTo>
                <a:lnTo>
                  <a:pt x="967864" y="349519"/>
                </a:lnTo>
                <a:lnTo>
                  <a:pt x="975735" y="330369"/>
                </a:lnTo>
                <a:lnTo>
                  <a:pt x="967989" y="306030"/>
                </a:lnTo>
                <a:lnTo>
                  <a:pt x="958619" y="304424"/>
                </a:lnTo>
                <a:lnTo>
                  <a:pt x="941503" y="316408"/>
                </a:lnTo>
                <a:lnTo>
                  <a:pt x="930384" y="339512"/>
                </a:lnTo>
                <a:lnTo>
                  <a:pt x="939129" y="356562"/>
                </a:lnTo>
                <a:lnTo>
                  <a:pt x="938755" y="372376"/>
                </a:lnTo>
                <a:lnTo>
                  <a:pt x="964366" y="389055"/>
                </a:lnTo>
                <a:lnTo>
                  <a:pt x="971862" y="401039"/>
                </a:lnTo>
                <a:lnTo>
                  <a:pt x="962617" y="420683"/>
                </a:lnTo>
                <a:lnTo>
                  <a:pt x="953622" y="396715"/>
                </a:lnTo>
                <a:lnTo>
                  <a:pt x="934882" y="389302"/>
                </a:lnTo>
                <a:lnTo>
                  <a:pt x="921389" y="358044"/>
                </a:lnTo>
                <a:lnTo>
                  <a:pt x="915767" y="354832"/>
                </a:lnTo>
                <a:lnTo>
                  <a:pt x="892654" y="363727"/>
                </a:lnTo>
                <a:lnTo>
                  <a:pt x="890030" y="375094"/>
                </a:lnTo>
                <a:lnTo>
                  <a:pt x="914393" y="392267"/>
                </a:lnTo>
                <a:lnTo>
                  <a:pt x="925512" y="393132"/>
                </a:lnTo>
                <a:lnTo>
                  <a:pt x="931633" y="399680"/>
                </a:lnTo>
                <a:lnTo>
                  <a:pt x="916017" y="397950"/>
                </a:lnTo>
                <a:lnTo>
                  <a:pt x="900650" y="403757"/>
                </a:lnTo>
                <a:lnTo>
                  <a:pt x="911769" y="420436"/>
                </a:lnTo>
                <a:lnTo>
                  <a:pt x="893653" y="408823"/>
                </a:lnTo>
                <a:lnTo>
                  <a:pt x="890655" y="388067"/>
                </a:lnTo>
                <a:lnTo>
                  <a:pt x="883534" y="384236"/>
                </a:lnTo>
                <a:lnTo>
                  <a:pt x="879161" y="370399"/>
                </a:lnTo>
                <a:lnTo>
                  <a:pt x="869166" y="378677"/>
                </a:lnTo>
                <a:lnTo>
                  <a:pt x="866043" y="401410"/>
                </a:lnTo>
                <a:lnTo>
                  <a:pt x="874788" y="411294"/>
                </a:lnTo>
                <a:lnTo>
                  <a:pt x="872540" y="431556"/>
                </a:lnTo>
                <a:lnTo>
                  <a:pt x="857672" y="424637"/>
                </a:lnTo>
                <a:lnTo>
                  <a:pt x="845054" y="429332"/>
                </a:lnTo>
                <a:lnTo>
                  <a:pt x="828688" y="450582"/>
                </a:lnTo>
                <a:lnTo>
                  <a:pt x="832935" y="452435"/>
                </a:lnTo>
                <a:lnTo>
                  <a:pt x="844554" y="450212"/>
                </a:lnTo>
                <a:lnTo>
                  <a:pt x="856673" y="463431"/>
                </a:lnTo>
                <a:lnTo>
                  <a:pt x="841806" y="465408"/>
                </a:lnTo>
                <a:lnTo>
                  <a:pt x="831436" y="473068"/>
                </a:lnTo>
                <a:lnTo>
                  <a:pt x="841806" y="479493"/>
                </a:lnTo>
                <a:lnTo>
                  <a:pt x="835184" y="488017"/>
                </a:lnTo>
                <a:lnTo>
                  <a:pt x="822066" y="489253"/>
                </a:lnTo>
                <a:lnTo>
                  <a:pt x="822066" y="498519"/>
                </a:lnTo>
                <a:cubicBezTo>
                  <a:pt x="822066" y="498519"/>
                  <a:pt x="827188" y="502473"/>
                  <a:pt x="827188" y="502473"/>
                </a:cubicBezTo>
                <a:lnTo>
                  <a:pt x="816569" y="505314"/>
                </a:lnTo>
                <a:lnTo>
                  <a:pt x="808573" y="496419"/>
                </a:lnTo>
                <a:lnTo>
                  <a:pt x="795580" y="500372"/>
                </a:lnTo>
                <a:lnTo>
                  <a:pt x="784836" y="515939"/>
                </a:lnTo>
                <a:lnTo>
                  <a:pt x="789708" y="524341"/>
                </a:lnTo>
                <a:lnTo>
                  <a:pt x="784461" y="530024"/>
                </a:lnTo>
                <a:lnTo>
                  <a:pt x="766595" y="532124"/>
                </a:lnTo>
                <a:lnTo>
                  <a:pt x="758350" y="549298"/>
                </a:lnTo>
                <a:lnTo>
                  <a:pt x="773467" y="553498"/>
                </a:lnTo>
                <a:lnTo>
                  <a:pt x="812696" y="540526"/>
                </a:lnTo>
                <a:lnTo>
                  <a:pt x="822316" y="546332"/>
                </a:lnTo>
                <a:lnTo>
                  <a:pt x="838558" y="537437"/>
                </a:lnTo>
                <a:lnTo>
                  <a:pt x="848552" y="536325"/>
                </a:lnTo>
                <a:lnTo>
                  <a:pt x="849427" y="547939"/>
                </a:lnTo>
                <a:lnTo>
                  <a:pt x="838558" y="561405"/>
                </a:lnTo>
                <a:lnTo>
                  <a:pt x="836184" y="585868"/>
                </a:lnTo>
                <a:lnTo>
                  <a:pt x="832186" y="591181"/>
                </a:lnTo>
                <a:lnTo>
                  <a:pt x="824565" y="582903"/>
                </a:lnTo>
                <a:lnTo>
                  <a:pt x="821941" y="570672"/>
                </a:lnTo>
                <a:lnTo>
                  <a:pt x="807324" y="575366"/>
                </a:lnTo>
                <a:lnTo>
                  <a:pt x="800453" y="567830"/>
                </a:lnTo>
                <a:lnTo>
                  <a:pt x="782087" y="568324"/>
                </a:lnTo>
                <a:lnTo>
                  <a:pt x="788209" y="574625"/>
                </a:lnTo>
                <a:lnTo>
                  <a:pt x="783087" y="585127"/>
                </a:lnTo>
                <a:lnTo>
                  <a:pt x="769219" y="577837"/>
                </a:lnTo>
                <a:lnTo>
                  <a:pt x="759224" y="579320"/>
                </a:lnTo>
                <a:lnTo>
                  <a:pt x="773217" y="588710"/>
                </a:lnTo>
                <a:lnTo>
                  <a:pt x="779339" y="602547"/>
                </a:lnTo>
                <a:lnTo>
                  <a:pt x="770968" y="603288"/>
                </a:lnTo>
                <a:lnTo>
                  <a:pt x="765846" y="613790"/>
                </a:lnTo>
                <a:lnTo>
                  <a:pt x="769219" y="626639"/>
                </a:lnTo>
                <a:lnTo>
                  <a:pt x="766096" y="636029"/>
                </a:lnTo>
                <a:lnTo>
                  <a:pt x="757975" y="623674"/>
                </a:lnTo>
                <a:lnTo>
                  <a:pt x="757600" y="607489"/>
                </a:lnTo>
                <a:lnTo>
                  <a:pt x="744482" y="591922"/>
                </a:lnTo>
                <a:lnTo>
                  <a:pt x="732613" y="605759"/>
                </a:lnTo>
                <a:lnTo>
                  <a:pt x="719745" y="609466"/>
                </a:lnTo>
                <a:lnTo>
                  <a:pt x="713124" y="599458"/>
                </a:lnTo>
                <a:lnTo>
                  <a:pt x="717621" y="591675"/>
                </a:lnTo>
                <a:lnTo>
                  <a:pt x="707127" y="590686"/>
                </a:lnTo>
                <a:lnTo>
                  <a:pt x="693259" y="607118"/>
                </a:lnTo>
                <a:lnTo>
                  <a:pt x="706252" y="619597"/>
                </a:lnTo>
                <a:lnTo>
                  <a:pt x="725742" y="618114"/>
                </a:lnTo>
                <a:lnTo>
                  <a:pt x="742108" y="627010"/>
                </a:lnTo>
                <a:lnTo>
                  <a:pt x="733738" y="641094"/>
                </a:lnTo>
                <a:lnTo>
                  <a:pt x="700630" y="647272"/>
                </a:lnTo>
                <a:lnTo>
                  <a:pt x="693384" y="641341"/>
                </a:lnTo>
                <a:lnTo>
                  <a:pt x="680266" y="642577"/>
                </a:lnTo>
                <a:lnTo>
                  <a:pt x="674019" y="659379"/>
                </a:lnTo>
                <a:lnTo>
                  <a:pt x="685513" y="669140"/>
                </a:lnTo>
                <a:lnTo>
                  <a:pt x="675144" y="684707"/>
                </a:lnTo>
                <a:lnTo>
                  <a:pt x="688262" y="681371"/>
                </a:lnTo>
                <a:lnTo>
                  <a:pt x="704128" y="661480"/>
                </a:lnTo>
                <a:lnTo>
                  <a:pt x="718746" y="661480"/>
                </a:lnTo>
                <a:cubicBezTo>
                  <a:pt x="718746" y="661480"/>
                  <a:pt x="727616" y="672846"/>
                  <a:pt x="727616" y="672846"/>
                </a:cubicBezTo>
                <a:lnTo>
                  <a:pt x="703379" y="676676"/>
                </a:lnTo>
                <a:lnTo>
                  <a:pt x="700630" y="694714"/>
                </a:lnTo>
                <a:lnTo>
                  <a:pt x="710250" y="707316"/>
                </a:lnTo>
                <a:lnTo>
                  <a:pt x="730240" y="718189"/>
                </a:lnTo>
                <a:lnTo>
                  <a:pt x="730240" y="731903"/>
                </a:lnTo>
                <a:cubicBezTo>
                  <a:pt x="730240" y="731903"/>
                  <a:pt x="716497" y="722142"/>
                  <a:pt x="716497" y="722142"/>
                </a:cubicBezTo>
                <a:lnTo>
                  <a:pt x="705378" y="723995"/>
                </a:lnTo>
                <a:lnTo>
                  <a:pt x="690761" y="706699"/>
                </a:lnTo>
                <a:lnTo>
                  <a:pt x="682515" y="708428"/>
                </a:lnTo>
                <a:lnTo>
                  <a:pt x="671895" y="720536"/>
                </a:lnTo>
                <a:lnTo>
                  <a:pt x="684764" y="729555"/>
                </a:lnTo>
                <a:lnTo>
                  <a:pt x="668147" y="731655"/>
                </a:lnTo>
                <a:lnTo>
                  <a:pt x="652656" y="744010"/>
                </a:lnTo>
                <a:lnTo>
                  <a:pt x="653155" y="755006"/>
                </a:lnTo>
                <a:lnTo>
                  <a:pt x="670896" y="761801"/>
                </a:lnTo>
                <a:lnTo>
                  <a:pt x="685014" y="751547"/>
                </a:lnTo>
                <a:lnTo>
                  <a:pt x="695133" y="760813"/>
                </a:lnTo>
                <a:lnTo>
                  <a:pt x="710250" y="755377"/>
                </a:lnTo>
                <a:lnTo>
                  <a:pt x="715747" y="769585"/>
                </a:lnTo>
                <a:lnTo>
                  <a:pt x="727116" y="775268"/>
                </a:lnTo>
                <a:lnTo>
                  <a:pt x="727616" y="785523"/>
                </a:lnTo>
                <a:lnTo>
                  <a:pt x="703379" y="771438"/>
                </a:lnTo>
                <a:lnTo>
                  <a:pt x="684639" y="772179"/>
                </a:lnTo>
                <a:lnTo>
                  <a:pt x="675893" y="778110"/>
                </a:lnTo>
                <a:lnTo>
                  <a:pt x="650407" y="783299"/>
                </a:lnTo>
                <a:lnTo>
                  <a:pt x="651031" y="797013"/>
                </a:lnTo>
                <a:lnTo>
                  <a:pt x="636789" y="805167"/>
                </a:lnTo>
                <a:lnTo>
                  <a:pt x="630292" y="799978"/>
                </a:lnTo>
                <a:lnTo>
                  <a:pt x="608554" y="812580"/>
                </a:lnTo>
                <a:lnTo>
                  <a:pt x="596185" y="813815"/>
                </a:lnTo>
                <a:lnTo>
                  <a:pt x="594311" y="822464"/>
                </a:lnTo>
                <a:lnTo>
                  <a:pt x="608429" y="827653"/>
                </a:lnTo>
                <a:lnTo>
                  <a:pt x="619298" y="839884"/>
                </a:lnTo>
                <a:lnTo>
                  <a:pt x="607305" y="844950"/>
                </a:lnTo>
                <a:lnTo>
                  <a:pt x="600183" y="841861"/>
                </a:lnTo>
                <a:lnTo>
                  <a:pt x="595561" y="846185"/>
                </a:lnTo>
                <a:lnTo>
                  <a:pt x="607180" y="855946"/>
                </a:lnTo>
                <a:lnTo>
                  <a:pt x="603307" y="862988"/>
                </a:lnTo>
                <a:lnTo>
                  <a:pt x="586565" y="861011"/>
                </a:lnTo>
                <a:lnTo>
                  <a:pt x="584317" y="856316"/>
                </a:lnTo>
                <a:lnTo>
                  <a:pt x="578945" y="861999"/>
                </a:lnTo>
                <a:lnTo>
                  <a:pt x="591188" y="871142"/>
                </a:lnTo>
                <a:lnTo>
                  <a:pt x="583817" y="877690"/>
                </a:lnTo>
                <a:lnTo>
                  <a:pt x="586316" y="887821"/>
                </a:lnTo>
                <a:lnTo>
                  <a:pt x="596060" y="887450"/>
                </a:lnTo>
                <a:lnTo>
                  <a:pt x="586565" y="893998"/>
                </a:lnTo>
                <a:lnTo>
                  <a:pt x="575571" y="896469"/>
                </a:lnTo>
                <a:lnTo>
                  <a:pt x="569075" y="890539"/>
                </a:lnTo>
                <a:lnTo>
                  <a:pt x="569574" y="900794"/>
                </a:lnTo>
                <a:lnTo>
                  <a:pt x="564452" y="910678"/>
                </a:lnTo>
                <a:lnTo>
                  <a:pt x="574447" y="914384"/>
                </a:lnTo>
                <a:lnTo>
                  <a:pt x="599059" y="921550"/>
                </a:lnTo>
                <a:lnTo>
                  <a:pt x="603057" y="932422"/>
                </a:lnTo>
                <a:lnTo>
                  <a:pt x="612927" y="934770"/>
                </a:lnTo>
                <a:lnTo>
                  <a:pt x="626544" y="927974"/>
                </a:lnTo>
                <a:lnTo>
                  <a:pt x="615925" y="938723"/>
                </a:lnTo>
                <a:lnTo>
                  <a:pt x="616300" y="947001"/>
                </a:lnTo>
                <a:lnTo>
                  <a:pt x="601058" y="947619"/>
                </a:lnTo>
                <a:lnTo>
                  <a:pt x="593812" y="941071"/>
                </a:lnTo>
                <a:lnTo>
                  <a:pt x="568825" y="942800"/>
                </a:lnTo>
                <a:lnTo>
                  <a:pt x="552209" y="959356"/>
                </a:lnTo>
                <a:lnTo>
                  <a:pt x="557956" y="964668"/>
                </a:lnTo>
                <a:lnTo>
                  <a:pt x="576071" y="964668"/>
                </a:lnTo>
                <a:cubicBezTo>
                  <a:pt x="576071" y="964668"/>
                  <a:pt x="577945" y="976158"/>
                  <a:pt x="577945" y="976158"/>
                </a:cubicBezTo>
                <a:lnTo>
                  <a:pt x="587315" y="984065"/>
                </a:lnTo>
                <a:lnTo>
                  <a:pt x="587315" y="997779"/>
                </a:lnTo>
                <a:cubicBezTo>
                  <a:pt x="587315" y="997779"/>
                  <a:pt x="576321" y="987278"/>
                  <a:pt x="576321" y="987278"/>
                </a:cubicBezTo>
                <a:lnTo>
                  <a:pt x="567950" y="987648"/>
                </a:lnTo>
                <a:lnTo>
                  <a:pt x="560079" y="998274"/>
                </a:lnTo>
                <a:lnTo>
                  <a:pt x="561329" y="1009887"/>
                </a:lnTo>
                <a:lnTo>
                  <a:pt x="556581" y="1012852"/>
                </a:lnTo>
                <a:lnTo>
                  <a:pt x="565327" y="1022118"/>
                </a:lnTo>
                <a:lnTo>
                  <a:pt x="567950" y="1033732"/>
                </a:lnTo>
                <a:lnTo>
                  <a:pt x="560329" y="1034103"/>
                </a:lnTo>
                <a:lnTo>
                  <a:pt x="550210" y="1025578"/>
                </a:lnTo>
                <a:lnTo>
                  <a:pt x="544213" y="1030643"/>
                </a:lnTo>
                <a:lnTo>
                  <a:pt x="545587" y="1044975"/>
                </a:lnTo>
                <a:lnTo>
                  <a:pt x="560954" y="1048434"/>
                </a:lnTo>
                <a:lnTo>
                  <a:pt x="564077" y="1055847"/>
                </a:lnTo>
                <a:lnTo>
                  <a:pt x="563078" y="1065484"/>
                </a:lnTo>
                <a:lnTo>
                  <a:pt x="542339" y="1053253"/>
                </a:lnTo>
                <a:lnTo>
                  <a:pt x="534218" y="1058442"/>
                </a:lnTo>
                <a:lnTo>
                  <a:pt x="534218" y="1072897"/>
                </a:lnTo>
                <a:cubicBezTo>
                  <a:pt x="534218" y="1072897"/>
                  <a:pt x="539715" y="1074009"/>
                  <a:pt x="539715" y="1074009"/>
                </a:cubicBezTo>
                <a:lnTo>
                  <a:pt x="539715" y="1089823"/>
                </a:lnTo>
                <a:cubicBezTo>
                  <a:pt x="539715" y="1089823"/>
                  <a:pt x="547336" y="1104649"/>
                  <a:pt x="547336" y="1104649"/>
                </a:cubicBezTo>
                <a:lnTo>
                  <a:pt x="557706" y="1103537"/>
                </a:lnTo>
                <a:lnTo>
                  <a:pt x="564702" y="1089453"/>
                </a:lnTo>
                <a:lnTo>
                  <a:pt x="573073" y="1089082"/>
                </a:lnTo>
                <a:lnTo>
                  <a:pt x="566326" y="1109962"/>
                </a:lnTo>
                <a:lnTo>
                  <a:pt x="555332" y="1112556"/>
                </a:lnTo>
                <a:lnTo>
                  <a:pt x="540840" y="1129606"/>
                </a:lnTo>
                <a:lnTo>
                  <a:pt x="527597" y="1130224"/>
                </a:lnTo>
                <a:lnTo>
                  <a:pt x="516727" y="1135536"/>
                </a:lnTo>
                <a:lnTo>
                  <a:pt x="516353" y="1143814"/>
                </a:lnTo>
                <a:lnTo>
                  <a:pt x="502110" y="1150609"/>
                </a:lnTo>
                <a:lnTo>
                  <a:pt x="490741" y="1161481"/>
                </a:lnTo>
                <a:lnTo>
                  <a:pt x="503484" y="1167165"/>
                </a:lnTo>
                <a:lnTo>
                  <a:pt x="499611" y="1174825"/>
                </a:lnTo>
                <a:lnTo>
                  <a:pt x="476873" y="1177913"/>
                </a:lnTo>
                <a:lnTo>
                  <a:pt x="467128" y="1192739"/>
                </a:lnTo>
                <a:lnTo>
                  <a:pt x="468753" y="1199534"/>
                </a:lnTo>
                <a:lnTo>
                  <a:pt x="486993" y="1204229"/>
                </a:lnTo>
                <a:lnTo>
                  <a:pt x="473375" y="1211642"/>
                </a:lnTo>
                <a:lnTo>
                  <a:pt x="467128" y="1226962"/>
                </a:lnTo>
                <a:lnTo>
                  <a:pt x="453261" y="1228198"/>
                </a:lnTo>
                <a:lnTo>
                  <a:pt x="449888" y="1214607"/>
                </a:lnTo>
                <a:lnTo>
                  <a:pt x="440642" y="1209542"/>
                </a:lnTo>
                <a:lnTo>
                  <a:pt x="435395" y="1217943"/>
                </a:lnTo>
                <a:lnTo>
                  <a:pt x="423527" y="1218437"/>
                </a:lnTo>
                <a:lnTo>
                  <a:pt x="428149" y="1228568"/>
                </a:lnTo>
                <a:lnTo>
                  <a:pt x="420153" y="1236476"/>
                </a:lnTo>
                <a:lnTo>
                  <a:pt x="418529" y="1246854"/>
                </a:lnTo>
                <a:lnTo>
                  <a:pt x="423776" y="1255626"/>
                </a:lnTo>
                <a:lnTo>
                  <a:pt x="403037" y="1256490"/>
                </a:lnTo>
                <a:lnTo>
                  <a:pt x="394167" y="1261679"/>
                </a:lnTo>
                <a:lnTo>
                  <a:pt x="396291" y="1280212"/>
                </a:lnTo>
                <a:lnTo>
                  <a:pt x="380799" y="1291208"/>
                </a:lnTo>
                <a:lnTo>
                  <a:pt x="383173" y="1297261"/>
                </a:lnTo>
                <a:lnTo>
                  <a:pt x="381174" y="1315917"/>
                </a:lnTo>
                <a:lnTo>
                  <a:pt x="369805" y="1326048"/>
                </a:lnTo>
                <a:lnTo>
                  <a:pt x="354438" y="1341863"/>
                </a:lnTo>
                <a:lnTo>
                  <a:pt x="359560" y="1348534"/>
                </a:lnTo>
                <a:lnTo>
                  <a:pt x="377051" y="1336056"/>
                </a:lnTo>
                <a:lnTo>
                  <a:pt x="386796" y="1336303"/>
                </a:lnTo>
                <a:lnTo>
                  <a:pt x="385921" y="1346681"/>
                </a:lnTo>
                <a:lnTo>
                  <a:pt x="374302" y="1351994"/>
                </a:lnTo>
                <a:lnTo>
                  <a:pt x="373678" y="1369908"/>
                </a:lnTo>
                <a:lnTo>
                  <a:pt x="384672" y="1383128"/>
                </a:lnTo>
                <a:lnTo>
                  <a:pt x="403662" y="1371267"/>
                </a:lnTo>
                <a:lnTo>
                  <a:pt x="424276" y="1367684"/>
                </a:lnTo>
                <a:lnTo>
                  <a:pt x="450887" y="1339762"/>
                </a:lnTo>
                <a:lnTo>
                  <a:pt x="450387" y="1327407"/>
                </a:lnTo>
                <a:lnTo>
                  <a:pt x="436020" y="1332102"/>
                </a:lnTo>
                <a:lnTo>
                  <a:pt x="447764" y="1315176"/>
                </a:lnTo>
                <a:lnTo>
                  <a:pt x="450387" y="1295779"/>
                </a:lnTo>
                <a:lnTo>
                  <a:pt x="456634" y="1294173"/>
                </a:lnTo>
                <a:lnTo>
                  <a:pt x="464630" y="1286266"/>
                </a:lnTo>
                <a:lnTo>
                  <a:pt x="480746" y="1288366"/>
                </a:lnTo>
                <a:lnTo>
                  <a:pt x="490366" y="1287254"/>
                </a:lnTo>
                <a:lnTo>
                  <a:pt x="465379" y="1304798"/>
                </a:lnTo>
                <a:lnTo>
                  <a:pt x="465379" y="1316535"/>
                </a:lnTo>
                <a:cubicBezTo>
                  <a:pt x="465379" y="1316535"/>
                  <a:pt x="490491" y="1323083"/>
                  <a:pt x="490491" y="1323083"/>
                </a:cubicBezTo>
                <a:lnTo>
                  <a:pt x="482620" y="1334450"/>
                </a:lnTo>
                <a:lnTo>
                  <a:pt x="469502" y="1336426"/>
                </a:lnTo>
                <a:lnTo>
                  <a:pt x="445015" y="1364225"/>
                </a:lnTo>
                <a:lnTo>
                  <a:pt x="461382" y="1371761"/>
                </a:lnTo>
                <a:lnTo>
                  <a:pt x="452886" y="1383746"/>
                </a:lnTo>
                <a:lnTo>
                  <a:pt x="454260" y="1400178"/>
                </a:lnTo>
                <a:lnTo>
                  <a:pt x="438269" y="1399436"/>
                </a:lnTo>
                <a:lnTo>
                  <a:pt x="424526" y="1386958"/>
                </a:lnTo>
                <a:lnTo>
                  <a:pt x="405786" y="1388440"/>
                </a:lnTo>
                <a:lnTo>
                  <a:pt x="395166" y="1397830"/>
                </a:lnTo>
                <a:lnTo>
                  <a:pt x="395166" y="1412903"/>
                </a:lnTo>
                <a:cubicBezTo>
                  <a:pt x="395166" y="1412903"/>
                  <a:pt x="380924" y="1421799"/>
                  <a:pt x="380924" y="1421799"/>
                </a:cubicBezTo>
                <a:lnTo>
                  <a:pt x="367431" y="1429953"/>
                </a:lnTo>
                <a:lnTo>
                  <a:pt x="377301" y="1417845"/>
                </a:lnTo>
                <a:lnTo>
                  <a:pt x="384672" y="1412038"/>
                </a:lnTo>
                <a:lnTo>
                  <a:pt x="372928" y="1398077"/>
                </a:lnTo>
                <a:lnTo>
                  <a:pt x="372179" y="1381645"/>
                </a:lnTo>
                <a:lnTo>
                  <a:pt x="358936" y="1364348"/>
                </a:lnTo>
                <a:lnTo>
                  <a:pt x="346442" y="1364843"/>
                </a:lnTo>
                <a:lnTo>
                  <a:pt x="340071" y="1377445"/>
                </a:lnTo>
                <a:lnTo>
                  <a:pt x="322830" y="1380286"/>
                </a:lnTo>
                <a:lnTo>
                  <a:pt x="323204" y="1388564"/>
                </a:lnTo>
                <a:lnTo>
                  <a:pt x="345443" y="1387576"/>
                </a:lnTo>
                <a:lnTo>
                  <a:pt x="323454" y="1409073"/>
                </a:lnTo>
                <a:lnTo>
                  <a:pt x="307838" y="1402896"/>
                </a:lnTo>
                <a:lnTo>
                  <a:pt x="294844" y="1405490"/>
                </a:lnTo>
                <a:lnTo>
                  <a:pt x="278228" y="1422046"/>
                </a:lnTo>
                <a:lnTo>
                  <a:pt x="287973" y="1423652"/>
                </a:lnTo>
                <a:lnTo>
                  <a:pt x="296843" y="1419204"/>
                </a:lnTo>
                <a:lnTo>
                  <a:pt x="301841" y="1423775"/>
                </a:lnTo>
                <a:lnTo>
                  <a:pt x="283600" y="1436254"/>
                </a:lnTo>
                <a:lnTo>
                  <a:pt x="275730" y="1446879"/>
                </a:lnTo>
                <a:lnTo>
                  <a:pt x="266984" y="1438972"/>
                </a:lnTo>
                <a:lnTo>
                  <a:pt x="254491" y="1439466"/>
                </a:lnTo>
                <a:lnTo>
                  <a:pt x="252742" y="1447744"/>
                </a:lnTo>
                <a:lnTo>
                  <a:pt x="273356" y="1458616"/>
                </a:lnTo>
                <a:lnTo>
                  <a:pt x="296968" y="1457628"/>
                </a:lnTo>
                <a:lnTo>
                  <a:pt x="292596" y="1470106"/>
                </a:lnTo>
                <a:lnTo>
                  <a:pt x="303215" y="1473813"/>
                </a:lnTo>
                <a:lnTo>
                  <a:pt x="302965" y="1484808"/>
                </a:lnTo>
                <a:lnTo>
                  <a:pt x="281851" y="1479496"/>
                </a:lnTo>
                <a:lnTo>
                  <a:pt x="277853" y="1467265"/>
                </a:lnTo>
                <a:lnTo>
                  <a:pt x="261987" y="1467882"/>
                </a:lnTo>
                <a:lnTo>
                  <a:pt x="245371" y="1454910"/>
                </a:lnTo>
                <a:lnTo>
                  <a:pt x="241373" y="1444037"/>
                </a:lnTo>
                <a:lnTo>
                  <a:pt x="235126" y="1445026"/>
                </a:lnTo>
                <a:lnTo>
                  <a:pt x="232877" y="1458863"/>
                </a:lnTo>
                <a:lnTo>
                  <a:pt x="249743" y="1479496"/>
                </a:lnTo>
                <a:lnTo>
                  <a:pt x="266984" y="1491109"/>
                </a:lnTo>
                <a:lnTo>
                  <a:pt x="281601" y="1492468"/>
                </a:lnTo>
                <a:lnTo>
                  <a:pt x="289597" y="1500376"/>
                </a:lnTo>
                <a:lnTo>
                  <a:pt x="274355" y="1501735"/>
                </a:lnTo>
                <a:lnTo>
                  <a:pt x="248994" y="1493210"/>
                </a:lnTo>
                <a:lnTo>
                  <a:pt x="224257" y="1468129"/>
                </a:lnTo>
                <a:lnTo>
                  <a:pt x="213512" y="1475542"/>
                </a:lnTo>
                <a:lnTo>
                  <a:pt x="198520" y="1465164"/>
                </a:lnTo>
                <a:lnTo>
                  <a:pt x="180405" y="1465905"/>
                </a:lnTo>
                <a:lnTo>
                  <a:pt x="171160" y="1458740"/>
                </a:lnTo>
                <a:lnTo>
                  <a:pt x="164538" y="1467265"/>
                </a:lnTo>
                <a:lnTo>
                  <a:pt x="167911" y="1480855"/>
                </a:lnTo>
                <a:lnTo>
                  <a:pt x="158541" y="1490245"/>
                </a:lnTo>
                <a:lnTo>
                  <a:pt x="173034" y="1504082"/>
                </a:lnTo>
                <a:lnTo>
                  <a:pt x="202393" y="1493951"/>
                </a:lnTo>
                <a:lnTo>
                  <a:pt x="207516" y="1499881"/>
                </a:lnTo>
                <a:lnTo>
                  <a:pt x="194772" y="1509271"/>
                </a:lnTo>
                <a:lnTo>
                  <a:pt x="201893" y="1513101"/>
                </a:lnTo>
                <a:lnTo>
                  <a:pt x="224257" y="1501117"/>
                </a:lnTo>
                <a:lnTo>
                  <a:pt x="234626" y="1500623"/>
                </a:lnTo>
                <a:lnTo>
                  <a:pt x="229504" y="1510507"/>
                </a:lnTo>
                <a:lnTo>
                  <a:pt x="203643" y="1522614"/>
                </a:lnTo>
                <a:lnTo>
                  <a:pt x="193898" y="1538181"/>
                </a:lnTo>
                <a:lnTo>
                  <a:pt x="175657" y="1534104"/>
                </a:lnTo>
                <a:lnTo>
                  <a:pt x="159541" y="1514831"/>
                </a:lnTo>
                <a:lnTo>
                  <a:pt x="151920" y="1515201"/>
                </a:lnTo>
                <a:lnTo>
                  <a:pt x="143174" y="1523109"/>
                </a:lnTo>
                <a:lnTo>
                  <a:pt x="129432" y="1511989"/>
                </a:lnTo>
                <a:lnTo>
                  <a:pt x="118687" y="1519402"/>
                </a:lnTo>
                <a:lnTo>
                  <a:pt x="110817" y="1514954"/>
                </a:lnTo>
                <a:lnTo>
                  <a:pt x="97324" y="1523726"/>
                </a:lnTo>
                <a:lnTo>
                  <a:pt x="101821" y="1530398"/>
                </a:lnTo>
                <a:lnTo>
                  <a:pt x="130431" y="1533363"/>
                </a:lnTo>
                <a:lnTo>
                  <a:pt x="148921" y="1544235"/>
                </a:lnTo>
                <a:lnTo>
                  <a:pt x="171659" y="1554984"/>
                </a:lnTo>
                <a:lnTo>
                  <a:pt x="166037" y="1569686"/>
                </a:lnTo>
                <a:lnTo>
                  <a:pt x="174158" y="1581053"/>
                </a:lnTo>
                <a:lnTo>
                  <a:pt x="161290" y="1588466"/>
                </a:lnTo>
                <a:lnTo>
                  <a:pt x="155418" y="1581794"/>
                </a:lnTo>
                <a:lnTo>
                  <a:pt x="153669" y="1558443"/>
                </a:lnTo>
                <a:lnTo>
                  <a:pt x="138177" y="1553625"/>
                </a:lnTo>
                <a:lnTo>
                  <a:pt x="121686" y="1557084"/>
                </a:lnTo>
                <a:lnTo>
                  <a:pt x="128432" y="1568451"/>
                </a:lnTo>
                <a:lnTo>
                  <a:pt x="126058" y="1577470"/>
                </a:lnTo>
                <a:lnTo>
                  <a:pt x="105319" y="1565980"/>
                </a:lnTo>
                <a:lnTo>
                  <a:pt x="88703" y="1584636"/>
                </a:lnTo>
                <a:lnTo>
                  <a:pt x="106569" y="1595508"/>
                </a:lnTo>
                <a:lnTo>
                  <a:pt x="92701" y="1597485"/>
                </a:lnTo>
                <a:lnTo>
                  <a:pt x="83206" y="1602056"/>
                </a:lnTo>
                <a:lnTo>
                  <a:pt x="77584" y="1585130"/>
                </a:lnTo>
                <a:lnTo>
                  <a:pt x="51223" y="1585624"/>
                </a:lnTo>
                <a:lnTo>
                  <a:pt x="60343" y="1602427"/>
                </a:lnTo>
                <a:lnTo>
                  <a:pt x="49599" y="1610457"/>
                </a:lnTo>
                <a:lnTo>
                  <a:pt x="43977" y="1594149"/>
                </a:lnTo>
                <a:lnTo>
                  <a:pt x="28110" y="1581053"/>
                </a:lnTo>
                <a:lnTo>
                  <a:pt x="19865" y="1584142"/>
                </a:lnTo>
                <a:lnTo>
                  <a:pt x="22363" y="1593655"/>
                </a:lnTo>
                <a:lnTo>
                  <a:pt x="40354" y="1608728"/>
                </a:lnTo>
                <a:lnTo>
                  <a:pt x="33232" y="1619353"/>
                </a:lnTo>
                <a:lnTo>
                  <a:pt x="41103" y="1626642"/>
                </a:lnTo>
                <a:lnTo>
                  <a:pt x="60968" y="1619600"/>
                </a:lnTo>
                <a:lnTo>
                  <a:pt x="88203" y="1623924"/>
                </a:lnTo>
                <a:lnTo>
                  <a:pt x="106069" y="1634179"/>
                </a:lnTo>
                <a:lnTo>
                  <a:pt x="132430" y="1633067"/>
                </a:lnTo>
                <a:lnTo>
                  <a:pt x="140551" y="1626519"/>
                </a:lnTo>
                <a:lnTo>
                  <a:pt x="153794" y="1625901"/>
                </a:lnTo>
                <a:lnTo>
                  <a:pt x="137178" y="1643816"/>
                </a:lnTo>
                <a:lnTo>
                  <a:pt x="113440" y="1641345"/>
                </a:lnTo>
                <a:lnTo>
                  <a:pt x="104570" y="1646534"/>
                </a:lnTo>
                <a:lnTo>
                  <a:pt x="75460" y="1633314"/>
                </a:lnTo>
                <a:lnTo>
                  <a:pt x="57595" y="1638874"/>
                </a:lnTo>
                <a:lnTo>
                  <a:pt x="49099" y="1635785"/>
                </a:lnTo>
                <a:lnTo>
                  <a:pt x="35731" y="1648016"/>
                </a:lnTo>
                <a:lnTo>
                  <a:pt x="16491" y="1651599"/>
                </a:lnTo>
                <a:lnTo>
                  <a:pt x="15367" y="1659259"/>
                </a:lnTo>
                <a:lnTo>
                  <a:pt x="45726" y="1670996"/>
                </a:lnTo>
                <a:lnTo>
                  <a:pt x="35106" y="1683845"/>
                </a:lnTo>
                <a:lnTo>
                  <a:pt x="49849" y="1685946"/>
                </a:lnTo>
                <a:lnTo>
                  <a:pt x="59219" y="1679398"/>
                </a:lnTo>
                <a:lnTo>
                  <a:pt x="83581" y="1678409"/>
                </a:lnTo>
                <a:lnTo>
                  <a:pt x="65965" y="1691505"/>
                </a:lnTo>
                <a:lnTo>
                  <a:pt x="40354" y="1692617"/>
                </a:lnTo>
                <a:lnTo>
                  <a:pt x="33482" y="1696324"/>
                </a:lnTo>
                <a:lnTo>
                  <a:pt x="25736" y="1694594"/>
                </a:lnTo>
                <a:lnTo>
                  <a:pt x="25237" y="1700154"/>
                </a:lnTo>
                <a:lnTo>
                  <a:pt x="38605" y="1705096"/>
                </a:lnTo>
                <a:lnTo>
                  <a:pt x="48349" y="1704725"/>
                </a:lnTo>
                <a:lnTo>
                  <a:pt x="33482" y="1714238"/>
                </a:lnTo>
                <a:lnTo>
                  <a:pt x="26111" y="1716586"/>
                </a:lnTo>
                <a:lnTo>
                  <a:pt x="28485" y="1724740"/>
                </a:lnTo>
                <a:lnTo>
                  <a:pt x="36980" y="1730176"/>
                </a:lnTo>
                <a:lnTo>
                  <a:pt x="43602" y="1740184"/>
                </a:lnTo>
                <a:lnTo>
                  <a:pt x="64341" y="1738330"/>
                </a:lnTo>
                <a:lnTo>
                  <a:pt x="75085" y="1729929"/>
                </a:lnTo>
                <a:lnTo>
                  <a:pt x="102571" y="1724987"/>
                </a:lnTo>
                <a:lnTo>
                  <a:pt x="121561" y="1728941"/>
                </a:lnTo>
                <a:lnTo>
                  <a:pt x="128682" y="1733388"/>
                </a:lnTo>
                <a:lnTo>
                  <a:pt x="140801" y="1724616"/>
                </a:lnTo>
                <a:lnTo>
                  <a:pt x="140801" y="1713003"/>
                </a:lnTo>
                <a:cubicBezTo>
                  <a:pt x="140801" y="1713003"/>
                  <a:pt x="152919" y="1709049"/>
                  <a:pt x="152919" y="1709049"/>
                </a:cubicBezTo>
                <a:lnTo>
                  <a:pt x="157917" y="1718810"/>
                </a:lnTo>
                <a:lnTo>
                  <a:pt x="171410" y="1718192"/>
                </a:lnTo>
                <a:lnTo>
                  <a:pt x="190524" y="1702995"/>
                </a:lnTo>
                <a:lnTo>
                  <a:pt x="199645" y="1704972"/>
                </a:lnTo>
                <a:lnTo>
                  <a:pt x="196146" y="1712632"/>
                </a:lnTo>
                <a:lnTo>
                  <a:pt x="186776" y="1720169"/>
                </a:lnTo>
                <a:lnTo>
                  <a:pt x="204642" y="1723875"/>
                </a:lnTo>
                <a:lnTo>
                  <a:pt x="212638" y="1715350"/>
                </a:lnTo>
                <a:lnTo>
                  <a:pt x="208765" y="1705590"/>
                </a:lnTo>
                <a:lnTo>
                  <a:pt x="221008" y="1685822"/>
                </a:lnTo>
                <a:lnTo>
                  <a:pt x="218260" y="1700648"/>
                </a:lnTo>
                <a:lnTo>
                  <a:pt x="233127" y="1716462"/>
                </a:lnTo>
                <a:lnTo>
                  <a:pt x="223007" y="1730547"/>
                </a:lnTo>
                <a:lnTo>
                  <a:pt x="199020" y="1737342"/>
                </a:lnTo>
                <a:lnTo>
                  <a:pt x="187651" y="1746732"/>
                </a:lnTo>
                <a:lnTo>
                  <a:pt x="194397" y="1751921"/>
                </a:lnTo>
                <a:lnTo>
                  <a:pt x="186776" y="1766005"/>
                </a:lnTo>
                <a:lnTo>
                  <a:pt x="166037" y="1767611"/>
                </a:lnTo>
                <a:lnTo>
                  <a:pt x="165038" y="1759457"/>
                </a:lnTo>
                <a:lnTo>
                  <a:pt x="175033" y="1750809"/>
                </a:lnTo>
                <a:lnTo>
                  <a:pt x="171909" y="1734500"/>
                </a:lnTo>
                <a:lnTo>
                  <a:pt x="154793" y="1732771"/>
                </a:lnTo>
                <a:lnTo>
                  <a:pt x="136928" y="1751674"/>
                </a:lnTo>
                <a:lnTo>
                  <a:pt x="134554" y="1761434"/>
                </a:lnTo>
                <a:lnTo>
                  <a:pt x="121061" y="1745496"/>
                </a:lnTo>
                <a:lnTo>
                  <a:pt x="105319" y="1742778"/>
                </a:lnTo>
                <a:lnTo>
                  <a:pt x="85830" y="1746979"/>
                </a:lnTo>
                <a:lnTo>
                  <a:pt x="74211" y="1744014"/>
                </a:lnTo>
                <a:lnTo>
                  <a:pt x="52222" y="1755874"/>
                </a:lnTo>
                <a:lnTo>
                  <a:pt x="41103" y="1756368"/>
                </a:lnTo>
                <a:lnTo>
                  <a:pt x="27610" y="1748338"/>
                </a:lnTo>
                <a:lnTo>
                  <a:pt x="22863" y="1750315"/>
                </a:lnTo>
                <a:lnTo>
                  <a:pt x="30859" y="1766747"/>
                </a:lnTo>
                <a:lnTo>
                  <a:pt x="26736" y="1775766"/>
                </a:lnTo>
                <a:lnTo>
                  <a:pt x="35356" y="1782561"/>
                </a:lnTo>
                <a:lnTo>
                  <a:pt x="48349" y="1778978"/>
                </a:lnTo>
                <a:lnTo>
                  <a:pt x="55221" y="1770082"/>
                </a:lnTo>
                <a:lnTo>
                  <a:pt x="65590" y="1770082"/>
                </a:lnTo>
                <a:cubicBezTo>
                  <a:pt x="65590" y="1770082"/>
                  <a:pt x="54346" y="1783179"/>
                  <a:pt x="54346" y="1783179"/>
                </a:cubicBezTo>
                <a:lnTo>
                  <a:pt x="56345" y="1797881"/>
                </a:lnTo>
                <a:lnTo>
                  <a:pt x="49349" y="1804305"/>
                </a:lnTo>
                <a:lnTo>
                  <a:pt x="36231" y="1797634"/>
                </a:lnTo>
                <a:lnTo>
                  <a:pt x="42977" y="1817278"/>
                </a:lnTo>
                <a:lnTo>
                  <a:pt x="53722" y="1825679"/>
                </a:lnTo>
                <a:lnTo>
                  <a:pt x="78084" y="1796522"/>
                </a:lnTo>
                <a:lnTo>
                  <a:pt x="96449" y="1803193"/>
                </a:lnTo>
                <a:lnTo>
                  <a:pt x="89203" y="1811101"/>
                </a:lnTo>
                <a:lnTo>
                  <a:pt x="91827" y="1825432"/>
                </a:lnTo>
                <a:lnTo>
                  <a:pt x="70838" y="1838034"/>
                </a:lnTo>
                <a:lnTo>
                  <a:pt x="74586" y="1844088"/>
                </a:lnTo>
                <a:lnTo>
                  <a:pt x="87829" y="1845571"/>
                </a:lnTo>
                <a:lnTo>
                  <a:pt x="81332" y="1856814"/>
                </a:lnTo>
                <a:lnTo>
                  <a:pt x="91702" y="1870775"/>
                </a:lnTo>
                <a:lnTo>
                  <a:pt x="86205" y="1888195"/>
                </a:lnTo>
                <a:lnTo>
                  <a:pt x="91827" y="1888689"/>
                </a:lnTo>
                <a:lnTo>
                  <a:pt x="104820" y="1866821"/>
                </a:lnTo>
                <a:lnTo>
                  <a:pt x="117063" y="1859408"/>
                </a:lnTo>
                <a:lnTo>
                  <a:pt x="119062" y="1841493"/>
                </a:lnTo>
                <a:lnTo>
                  <a:pt x="151795" y="1826297"/>
                </a:lnTo>
                <a:lnTo>
                  <a:pt x="168411" y="1826915"/>
                </a:lnTo>
                <a:lnTo>
                  <a:pt x="182154" y="1822220"/>
                </a:lnTo>
                <a:lnTo>
                  <a:pt x="172784" y="1828768"/>
                </a:lnTo>
                <a:lnTo>
                  <a:pt x="156043" y="1842482"/>
                </a:lnTo>
                <a:lnTo>
                  <a:pt x="156917" y="1863732"/>
                </a:lnTo>
                <a:lnTo>
                  <a:pt x="163039" y="1876581"/>
                </a:lnTo>
                <a:lnTo>
                  <a:pt x="149421" y="1866203"/>
                </a:lnTo>
                <a:lnTo>
                  <a:pt x="145798" y="1847053"/>
                </a:lnTo>
                <a:lnTo>
                  <a:pt x="136053" y="1846806"/>
                </a:lnTo>
                <a:lnTo>
                  <a:pt x="125184" y="1868551"/>
                </a:lnTo>
                <a:lnTo>
                  <a:pt x="115689" y="1872381"/>
                </a:lnTo>
                <a:lnTo>
                  <a:pt x="132680" y="1877817"/>
                </a:lnTo>
                <a:lnTo>
                  <a:pt x="118937" y="1897708"/>
                </a:lnTo>
                <a:lnTo>
                  <a:pt x="107193" y="1898202"/>
                </a:lnTo>
                <a:lnTo>
                  <a:pt x="102196" y="1910804"/>
                </a:lnTo>
                <a:lnTo>
                  <a:pt x="111316" y="1914511"/>
                </a:lnTo>
                <a:lnTo>
                  <a:pt x="136303" y="1913399"/>
                </a:lnTo>
                <a:lnTo>
                  <a:pt x="142925" y="1923406"/>
                </a:lnTo>
                <a:lnTo>
                  <a:pt x="125059" y="1925507"/>
                </a:lnTo>
                <a:lnTo>
                  <a:pt x="119187" y="1936008"/>
                </a:lnTo>
                <a:lnTo>
                  <a:pt x="118313" y="1948487"/>
                </a:lnTo>
                <a:lnTo>
                  <a:pt x="98323" y="1936255"/>
                </a:lnTo>
                <a:lnTo>
                  <a:pt x="89453" y="1940703"/>
                </a:lnTo>
                <a:lnTo>
                  <a:pt x="86579" y="1955900"/>
                </a:lnTo>
                <a:lnTo>
                  <a:pt x="81582" y="1938232"/>
                </a:lnTo>
                <a:lnTo>
                  <a:pt x="70213" y="1946263"/>
                </a:lnTo>
                <a:lnTo>
                  <a:pt x="55221" y="1968255"/>
                </a:lnTo>
                <a:lnTo>
                  <a:pt x="62217" y="1984439"/>
                </a:lnTo>
                <a:lnTo>
                  <a:pt x="87579" y="2008779"/>
                </a:lnTo>
                <a:lnTo>
                  <a:pt x="91827" y="1994200"/>
                </a:lnTo>
                <a:lnTo>
                  <a:pt x="98323" y="1999389"/>
                </a:lnTo>
                <a:lnTo>
                  <a:pt x="111191" y="1992717"/>
                </a:lnTo>
                <a:lnTo>
                  <a:pt x="107318" y="1985304"/>
                </a:lnTo>
                <a:lnTo>
                  <a:pt x="114190" y="1967884"/>
                </a:lnTo>
                <a:lnTo>
                  <a:pt x="134179" y="1981474"/>
                </a:lnTo>
                <a:lnTo>
                  <a:pt x="125434" y="1987405"/>
                </a:lnTo>
                <a:lnTo>
                  <a:pt x="137053" y="1998647"/>
                </a:lnTo>
                <a:lnTo>
                  <a:pt x="133555" y="2013968"/>
                </a:lnTo>
                <a:lnTo>
                  <a:pt x="122061" y="2022740"/>
                </a:lnTo>
                <a:lnTo>
                  <a:pt x="133555" y="2047696"/>
                </a:lnTo>
                <a:lnTo>
                  <a:pt x="141425" y="2037689"/>
                </a:lnTo>
                <a:lnTo>
                  <a:pt x="163414" y="2030523"/>
                </a:lnTo>
                <a:lnTo>
                  <a:pt x="172909" y="2042507"/>
                </a:lnTo>
                <a:lnTo>
                  <a:pt x="154294" y="2044608"/>
                </a:lnTo>
                <a:lnTo>
                  <a:pt x="145548" y="2051897"/>
                </a:lnTo>
                <a:lnTo>
                  <a:pt x="155918" y="2066599"/>
                </a:lnTo>
                <a:lnTo>
                  <a:pt x="154169" y="2072900"/>
                </a:lnTo>
                <a:lnTo>
                  <a:pt x="120561" y="2050909"/>
                </a:lnTo>
                <a:lnTo>
                  <a:pt x="109692" y="2055480"/>
                </a:lnTo>
                <a:lnTo>
                  <a:pt x="98948" y="2047696"/>
                </a:lnTo>
                <a:lnTo>
                  <a:pt x="85080" y="2048932"/>
                </a:lnTo>
                <a:lnTo>
                  <a:pt x="85705" y="2062646"/>
                </a:lnTo>
                <a:lnTo>
                  <a:pt x="76460" y="2073394"/>
                </a:lnTo>
                <a:lnTo>
                  <a:pt x="101072" y="2110830"/>
                </a:lnTo>
                <a:lnTo>
                  <a:pt x="119937" y="2113424"/>
                </a:lnTo>
                <a:lnTo>
                  <a:pt x="145798" y="2133686"/>
                </a:lnTo>
                <a:lnTo>
                  <a:pt x="181029" y="2145176"/>
                </a:lnTo>
                <a:lnTo>
                  <a:pt x="185652" y="2156049"/>
                </a:lnTo>
                <a:lnTo>
                  <a:pt x="177531" y="2160496"/>
                </a:lnTo>
                <a:lnTo>
                  <a:pt x="191274" y="2172357"/>
                </a:lnTo>
                <a:lnTo>
                  <a:pt x="203143" y="2166056"/>
                </a:lnTo>
                <a:lnTo>
                  <a:pt x="196896" y="2148883"/>
                </a:lnTo>
                <a:lnTo>
                  <a:pt x="208015" y="2148018"/>
                </a:lnTo>
                <a:lnTo>
                  <a:pt x="219884" y="2156790"/>
                </a:lnTo>
                <a:lnTo>
                  <a:pt x="218010" y="2161979"/>
                </a:lnTo>
                <a:lnTo>
                  <a:pt x="237375" y="2183724"/>
                </a:lnTo>
                <a:lnTo>
                  <a:pt x="245246" y="2173098"/>
                </a:lnTo>
                <a:lnTo>
                  <a:pt x="252617" y="2176558"/>
                </a:lnTo>
                <a:lnTo>
                  <a:pt x="267859" y="2168774"/>
                </a:lnTo>
                <a:lnTo>
                  <a:pt x="286099" y="2149871"/>
                </a:lnTo>
                <a:lnTo>
                  <a:pt x="294345" y="2147771"/>
                </a:lnTo>
                <a:lnTo>
                  <a:pt x="301591" y="2138875"/>
                </a:lnTo>
                <a:lnTo>
                  <a:pt x="305839" y="2139740"/>
                </a:lnTo>
                <a:lnTo>
                  <a:pt x="310961" y="2152589"/>
                </a:lnTo>
                <a:lnTo>
                  <a:pt x="322080" y="2153207"/>
                </a:lnTo>
                <a:lnTo>
                  <a:pt x="352189" y="2120343"/>
                </a:lnTo>
                <a:lnTo>
                  <a:pt x="350315" y="2109471"/>
                </a:lnTo>
                <a:lnTo>
                  <a:pt x="335698" y="2092915"/>
                </a:lnTo>
                <a:lnTo>
                  <a:pt x="360560" y="2107000"/>
                </a:lnTo>
                <a:lnTo>
                  <a:pt x="379050" y="2086985"/>
                </a:lnTo>
                <a:lnTo>
                  <a:pt x="373553" y="2080684"/>
                </a:lnTo>
                <a:lnTo>
                  <a:pt x="384672" y="2072283"/>
                </a:lnTo>
                <a:lnTo>
                  <a:pt x="382048" y="2060051"/>
                </a:lnTo>
                <a:lnTo>
                  <a:pt x="395791" y="2050167"/>
                </a:lnTo>
                <a:lnTo>
                  <a:pt x="410908" y="2046832"/>
                </a:lnTo>
                <a:lnTo>
                  <a:pt x="414281" y="2035712"/>
                </a:lnTo>
                <a:lnTo>
                  <a:pt x="398915" y="2018168"/>
                </a:lnTo>
                <a:lnTo>
                  <a:pt x="403537" y="2005937"/>
                </a:lnTo>
                <a:lnTo>
                  <a:pt x="390044" y="1989381"/>
                </a:lnTo>
                <a:lnTo>
                  <a:pt x="373928" y="1978756"/>
                </a:lnTo>
                <a:lnTo>
                  <a:pt x="373928" y="1963683"/>
                </a:lnTo>
                <a:cubicBezTo>
                  <a:pt x="373928" y="1963683"/>
                  <a:pt x="383173" y="1968749"/>
                  <a:pt x="383173" y="1968749"/>
                </a:cubicBezTo>
                <a:lnTo>
                  <a:pt x="401288" y="1987157"/>
                </a:lnTo>
                <a:lnTo>
                  <a:pt x="409284" y="2011867"/>
                </a:lnTo>
                <a:lnTo>
                  <a:pt x="415906" y="2018415"/>
                </a:lnTo>
                <a:lnTo>
                  <a:pt x="427025" y="2019651"/>
                </a:lnTo>
                <a:lnTo>
                  <a:pt x="425026" y="2029658"/>
                </a:lnTo>
                <a:lnTo>
                  <a:pt x="433771" y="2039913"/>
                </a:lnTo>
                <a:lnTo>
                  <a:pt x="451012" y="2031264"/>
                </a:lnTo>
                <a:lnTo>
                  <a:pt x="446140" y="2021875"/>
                </a:lnTo>
                <a:lnTo>
                  <a:pt x="437894" y="2016068"/>
                </a:lnTo>
                <a:lnTo>
                  <a:pt x="443641" y="2004454"/>
                </a:lnTo>
                <a:lnTo>
                  <a:pt x="459133" y="2016809"/>
                </a:lnTo>
                <a:lnTo>
                  <a:pt x="460132" y="2023234"/>
                </a:lnTo>
                <a:lnTo>
                  <a:pt x="481996" y="2001119"/>
                </a:lnTo>
                <a:lnTo>
                  <a:pt x="486993" y="1981351"/>
                </a:lnTo>
                <a:lnTo>
                  <a:pt x="480746" y="1964177"/>
                </a:lnTo>
                <a:lnTo>
                  <a:pt x="468378" y="1959606"/>
                </a:lnTo>
                <a:lnTo>
                  <a:pt x="461756" y="1949969"/>
                </a:lnTo>
                <a:lnTo>
                  <a:pt x="469877" y="1944163"/>
                </a:lnTo>
                <a:lnTo>
                  <a:pt x="470877" y="1936255"/>
                </a:lnTo>
                <a:lnTo>
                  <a:pt x="479747" y="1934896"/>
                </a:lnTo>
                <a:lnTo>
                  <a:pt x="486243" y="1926742"/>
                </a:lnTo>
                <a:lnTo>
                  <a:pt x="476499" y="1916240"/>
                </a:lnTo>
                <a:lnTo>
                  <a:pt x="476499" y="1899438"/>
                </a:lnTo>
                <a:cubicBezTo>
                  <a:pt x="476499" y="1899438"/>
                  <a:pt x="489866" y="1888566"/>
                  <a:pt x="489866" y="1888566"/>
                </a:cubicBezTo>
                <a:lnTo>
                  <a:pt x="503234" y="1900673"/>
                </a:lnTo>
                <a:lnTo>
                  <a:pt x="493615" y="1917600"/>
                </a:lnTo>
                <a:lnTo>
                  <a:pt x="497987" y="1938974"/>
                </a:lnTo>
                <a:lnTo>
                  <a:pt x="494864" y="1953799"/>
                </a:lnTo>
                <a:lnTo>
                  <a:pt x="505983" y="1969737"/>
                </a:lnTo>
                <a:lnTo>
                  <a:pt x="509231" y="1981598"/>
                </a:lnTo>
                <a:lnTo>
                  <a:pt x="529096" y="2000254"/>
                </a:lnTo>
                <a:lnTo>
                  <a:pt x="550709" y="1997288"/>
                </a:lnTo>
                <a:lnTo>
                  <a:pt x="560079" y="2004454"/>
                </a:lnTo>
                <a:lnTo>
                  <a:pt x="554957" y="2011620"/>
                </a:lnTo>
                <a:lnTo>
                  <a:pt x="566576" y="2018786"/>
                </a:lnTo>
                <a:lnTo>
                  <a:pt x="577945" y="2036700"/>
                </a:lnTo>
                <a:lnTo>
                  <a:pt x="587065" y="2017921"/>
                </a:lnTo>
                <a:lnTo>
                  <a:pt x="580569" y="1961830"/>
                </a:lnTo>
                <a:lnTo>
                  <a:pt x="565701" y="1938232"/>
                </a:lnTo>
                <a:lnTo>
                  <a:pt x="572323" y="1922171"/>
                </a:lnTo>
                <a:lnTo>
                  <a:pt x="584567" y="1915129"/>
                </a:lnTo>
                <a:lnTo>
                  <a:pt x="574572" y="1897214"/>
                </a:lnTo>
                <a:lnTo>
                  <a:pt x="580069" y="1886465"/>
                </a:lnTo>
                <a:lnTo>
                  <a:pt x="608429" y="1882635"/>
                </a:lnTo>
                <a:lnTo>
                  <a:pt x="615800" y="1868551"/>
                </a:lnTo>
                <a:lnTo>
                  <a:pt x="613676" y="1849648"/>
                </a:lnTo>
                <a:lnTo>
                  <a:pt x="625670" y="1820985"/>
                </a:lnTo>
                <a:lnTo>
                  <a:pt x="611677" y="1803317"/>
                </a:lnTo>
                <a:lnTo>
                  <a:pt x="603307" y="1762422"/>
                </a:lnTo>
                <a:lnTo>
                  <a:pt x="584691" y="1729806"/>
                </a:lnTo>
                <a:lnTo>
                  <a:pt x="585316" y="1714733"/>
                </a:lnTo>
                <a:lnTo>
                  <a:pt x="626419" y="1699165"/>
                </a:lnTo>
                <a:lnTo>
                  <a:pt x="625795" y="1669761"/>
                </a:lnTo>
                <a:lnTo>
                  <a:pt x="633541" y="1649128"/>
                </a:lnTo>
                <a:lnTo>
                  <a:pt x="600308" y="1615894"/>
                </a:lnTo>
                <a:lnTo>
                  <a:pt x="573322" y="1603909"/>
                </a:lnTo>
                <a:lnTo>
                  <a:pt x="570449" y="1569933"/>
                </a:lnTo>
                <a:lnTo>
                  <a:pt x="574947" y="1536328"/>
                </a:lnTo>
                <a:lnTo>
                  <a:pt x="568700" y="1499881"/>
                </a:lnTo>
                <a:lnTo>
                  <a:pt x="557706" y="1475419"/>
                </a:lnTo>
                <a:lnTo>
                  <a:pt x="564452" y="1447003"/>
                </a:lnTo>
                <a:lnTo>
                  <a:pt x="557081" y="1399560"/>
                </a:lnTo>
                <a:lnTo>
                  <a:pt x="546462" y="1353476"/>
                </a:lnTo>
                <a:lnTo>
                  <a:pt x="551209" y="1312705"/>
                </a:lnTo>
                <a:lnTo>
                  <a:pt x="570074" y="1275888"/>
                </a:lnTo>
                <a:lnTo>
                  <a:pt x="589439" y="1263286"/>
                </a:lnTo>
                <a:lnTo>
                  <a:pt x="614176" y="1267486"/>
                </a:lnTo>
                <a:lnTo>
                  <a:pt x="645285" y="1268104"/>
                </a:lnTo>
                <a:lnTo>
                  <a:pt x="660152" y="1245865"/>
                </a:lnTo>
                <a:lnTo>
                  <a:pt x="656029" y="1212013"/>
                </a:lnTo>
                <a:lnTo>
                  <a:pt x="646909" y="1198670"/>
                </a:lnTo>
                <a:lnTo>
                  <a:pt x="647283" y="1176431"/>
                </a:lnTo>
                <a:lnTo>
                  <a:pt x="675019" y="1099954"/>
                </a:lnTo>
                <a:lnTo>
                  <a:pt x="674394" y="1056836"/>
                </a:lnTo>
                <a:lnTo>
                  <a:pt x="681890" y="1015200"/>
                </a:lnTo>
                <a:lnTo>
                  <a:pt x="690136" y="991973"/>
                </a:lnTo>
                <a:lnTo>
                  <a:pt x="688262" y="965904"/>
                </a:lnTo>
                <a:lnTo>
                  <a:pt x="674519" y="953425"/>
                </a:lnTo>
                <a:lnTo>
                  <a:pt x="674519" y="935140"/>
                </a:lnTo>
                <a:cubicBezTo>
                  <a:pt x="674519" y="935140"/>
                  <a:pt x="702754" y="916855"/>
                  <a:pt x="702754" y="916855"/>
                </a:cubicBezTo>
                <a:lnTo>
                  <a:pt x="733488" y="909071"/>
                </a:lnTo>
                <a:lnTo>
                  <a:pt x="747481" y="895975"/>
                </a:lnTo>
                <a:lnTo>
                  <a:pt x="747980" y="877567"/>
                </a:lnTo>
                <a:lnTo>
                  <a:pt x="771218" y="832718"/>
                </a:lnTo>
                <a:lnTo>
                  <a:pt x="795455" y="796271"/>
                </a:lnTo>
                <a:lnTo>
                  <a:pt x="803201" y="775021"/>
                </a:lnTo>
                <a:lnTo>
                  <a:pt x="792082" y="748582"/>
                </a:lnTo>
                <a:lnTo>
                  <a:pt x="780963" y="737215"/>
                </a:lnTo>
                <a:lnTo>
                  <a:pt x="778464" y="695456"/>
                </a:lnTo>
                <a:lnTo>
                  <a:pt x="790083" y="689031"/>
                </a:lnTo>
                <a:lnTo>
                  <a:pt x="800578" y="673464"/>
                </a:lnTo>
                <a:lnTo>
                  <a:pt x="804950" y="650978"/>
                </a:lnTo>
                <a:lnTo>
                  <a:pt x="817194" y="643936"/>
                </a:lnTo>
                <a:lnTo>
                  <a:pt x="829812" y="613296"/>
                </a:lnTo>
                <a:lnTo>
                  <a:pt x="848302" y="598099"/>
                </a:lnTo>
                <a:lnTo>
                  <a:pt x="869166" y="606377"/>
                </a:lnTo>
                <a:lnTo>
                  <a:pt x="878162" y="615890"/>
                </a:lnTo>
                <a:lnTo>
                  <a:pt x="889905" y="613419"/>
                </a:lnTo>
                <a:lnTo>
                  <a:pt x="903273" y="600447"/>
                </a:lnTo>
                <a:lnTo>
                  <a:pt x="891280" y="581914"/>
                </a:lnTo>
                <a:lnTo>
                  <a:pt x="901399" y="571660"/>
                </a:lnTo>
                <a:lnTo>
                  <a:pt x="901025" y="561900"/>
                </a:lnTo>
                <a:lnTo>
                  <a:pt x="905272" y="551892"/>
                </a:lnTo>
                <a:lnTo>
                  <a:pt x="889780" y="529653"/>
                </a:lnTo>
                <a:lnTo>
                  <a:pt x="898776" y="523352"/>
                </a:lnTo>
                <a:lnTo>
                  <a:pt x="925262" y="522858"/>
                </a:lnTo>
                <a:lnTo>
                  <a:pt x="944627" y="511492"/>
                </a:lnTo>
                <a:lnTo>
                  <a:pt x="975360" y="518040"/>
                </a:lnTo>
                <a:lnTo>
                  <a:pt x="994350" y="529653"/>
                </a:lnTo>
                <a:lnTo>
                  <a:pt x="1015589" y="530765"/>
                </a:lnTo>
                <a:lnTo>
                  <a:pt x="1027833" y="540031"/>
                </a:lnTo>
                <a:lnTo>
                  <a:pt x="1036953" y="536325"/>
                </a:lnTo>
                <a:lnTo>
                  <a:pt x="1045823" y="541143"/>
                </a:lnTo>
                <a:lnTo>
                  <a:pt x="1044824" y="518905"/>
                </a:lnTo>
                <a:lnTo>
                  <a:pt x="1034329" y="504944"/>
                </a:lnTo>
                <a:lnTo>
                  <a:pt x="1035703" y="476651"/>
                </a:lnTo>
                <a:lnTo>
                  <a:pt x="1049946" y="468126"/>
                </a:lnTo>
                <a:lnTo>
                  <a:pt x="1044449" y="449347"/>
                </a:lnTo>
                <a:lnTo>
                  <a:pt x="1029582" y="442057"/>
                </a:lnTo>
                <a:lnTo>
                  <a:pt x="1027458" y="423772"/>
                </a:lnTo>
                <a:lnTo>
                  <a:pt x="1048946" y="429455"/>
                </a:lnTo>
                <a:lnTo>
                  <a:pt x="1069311" y="424637"/>
                </a:lnTo>
                <a:lnTo>
                  <a:pt x="1076057" y="420930"/>
                </a:lnTo>
                <a:lnTo>
                  <a:pt x="1076057" y="420930"/>
                </a:lnTo>
                <a:cubicBezTo>
                  <a:pt x="1076057" y="420930"/>
                  <a:pt x="1079555" y="415247"/>
                  <a:pt x="1079555" y="415247"/>
                </a:cubicBezTo>
                <a:lnTo>
                  <a:pt x="1087426" y="418707"/>
                </a:lnTo>
                <a:lnTo>
                  <a:pt x="1093423" y="414382"/>
                </a:lnTo>
                <a:lnTo>
                  <a:pt x="1087551" y="400916"/>
                </a:lnTo>
                <a:lnTo>
                  <a:pt x="1090175" y="385101"/>
                </a:lnTo>
                <a:lnTo>
                  <a:pt x="1102293" y="374106"/>
                </a:lnTo>
                <a:lnTo>
                  <a:pt x="1119534" y="375959"/>
                </a:lnTo>
                <a:lnTo>
                  <a:pt x="1134276" y="395603"/>
                </a:lnTo>
                <a:lnTo>
                  <a:pt x="1174630" y="425378"/>
                </a:lnTo>
                <a:lnTo>
                  <a:pt x="1182751" y="444034"/>
                </a:lnTo>
                <a:lnTo>
                  <a:pt x="1198118" y="463061"/>
                </a:lnTo>
                <a:lnTo>
                  <a:pt x="1224354" y="472450"/>
                </a:lnTo>
                <a:lnTo>
                  <a:pt x="1267331" y="471956"/>
                </a:lnTo>
                <a:lnTo>
                  <a:pt x="1288820" y="449470"/>
                </a:lnTo>
                <a:lnTo>
                  <a:pt x="1300814" y="435880"/>
                </a:lnTo>
                <a:lnTo>
                  <a:pt x="1320053" y="435880"/>
                </a:lnTo>
                <a:cubicBezTo>
                  <a:pt x="1320053" y="435880"/>
                  <a:pt x="1351412" y="455277"/>
                  <a:pt x="1351412" y="455277"/>
                </a:cubicBezTo>
                <a:lnTo>
                  <a:pt x="1372026" y="457624"/>
                </a:lnTo>
                <a:lnTo>
                  <a:pt x="1381771" y="437610"/>
                </a:lnTo>
                <a:lnTo>
                  <a:pt x="1393390" y="430567"/>
                </a:lnTo>
                <a:lnTo>
                  <a:pt x="1407257" y="416236"/>
                </a:lnTo>
                <a:lnTo>
                  <a:pt x="1423124" y="416853"/>
                </a:lnTo>
                <a:lnTo>
                  <a:pt x="1438491" y="405734"/>
                </a:lnTo>
                <a:lnTo>
                  <a:pt x="1444613" y="393626"/>
                </a:lnTo>
                <a:lnTo>
                  <a:pt x="1437367" y="378183"/>
                </a:lnTo>
                <a:lnTo>
                  <a:pt x="1427622" y="351125"/>
                </a:lnTo>
                <a:lnTo>
                  <a:pt x="1430245" y="304548"/>
                </a:lnTo>
                <a:lnTo>
                  <a:pt x="1435617" y="289845"/>
                </a:lnTo>
                <a:lnTo>
                  <a:pt x="1426372" y="276502"/>
                </a:lnTo>
                <a:lnTo>
                  <a:pt x="1436742" y="269460"/>
                </a:lnTo>
                <a:lnTo>
                  <a:pt x="1450360" y="249198"/>
                </a:lnTo>
                <a:lnTo>
                  <a:pt x="1448611" y="238820"/>
                </a:lnTo>
                <a:lnTo>
                  <a:pt x="1467476" y="229553"/>
                </a:lnTo>
                <a:lnTo>
                  <a:pt x="1491463" y="233136"/>
                </a:lnTo>
                <a:lnTo>
                  <a:pt x="1505206" y="229306"/>
                </a:lnTo>
                <a:lnTo>
                  <a:pt x="1503457" y="221523"/>
                </a:lnTo>
                <a:lnTo>
                  <a:pt x="1517949" y="204473"/>
                </a:lnTo>
                <a:lnTo>
                  <a:pt x="1556928" y="202126"/>
                </a:lnTo>
                <a:lnTo>
                  <a:pt x="1574669" y="213122"/>
                </a:lnTo>
                <a:lnTo>
                  <a:pt x="1598157" y="240055"/>
                </a:lnTo>
                <a:lnTo>
                  <a:pt x="1611649" y="252657"/>
                </a:lnTo>
                <a:lnTo>
                  <a:pt x="1631764" y="258958"/>
                </a:lnTo>
                <a:lnTo>
                  <a:pt x="1662373" y="260935"/>
                </a:lnTo>
                <a:lnTo>
                  <a:pt x="1668370" y="275514"/>
                </a:lnTo>
                <a:lnTo>
                  <a:pt x="1687360" y="293799"/>
                </a:lnTo>
                <a:lnTo>
                  <a:pt x="1685111" y="312578"/>
                </a:lnTo>
                <a:lnTo>
                  <a:pt x="1669994" y="338523"/>
                </a:lnTo>
                <a:lnTo>
                  <a:pt x="1674866" y="375341"/>
                </a:lnTo>
                <a:lnTo>
                  <a:pt x="1674866" y="375341"/>
                </a:lnTo>
                <a:close/>
                <a:moveTo>
                  <a:pt x="93576" y="2021010"/>
                </a:moveTo>
                <a:lnTo>
                  <a:pt x="106069" y="2032376"/>
                </a:lnTo>
                <a:lnTo>
                  <a:pt x="92076" y="2037936"/>
                </a:lnTo>
                <a:lnTo>
                  <a:pt x="93701" y="2021133"/>
                </a:lnTo>
                <a:lnTo>
                  <a:pt x="93701" y="2021133"/>
                </a:lnTo>
                <a:close/>
                <a:moveTo>
                  <a:pt x="47600" y="1921677"/>
                </a:moveTo>
                <a:cubicBezTo>
                  <a:pt x="46850" y="1921059"/>
                  <a:pt x="58094" y="1917970"/>
                  <a:pt x="58094" y="1917970"/>
                </a:cubicBezTo>
                <a:lnTo>
                  <a:pt x="68464" y="1927978"/>
                </a:lnTo>
                <a:lnTo>
                  <a:pt x="62467" y="1941321"/>
                </a:lnTo>
                <a:lnTo>
                  <a:pt x="47725" y="1921677"/>
                </a:lnTo>
                <a:lnTo>
                  <a:pt x="47725" y="1921677"/>
                </a:lnTo>
                <a:close/>
                <a:moveTo>
                  <a:pt x="77834" y="1884983"/>
                </a:moveTo>
                <a:lnTo>
                  <a:pt x="77834" y="1899314"/>
                </a:lnTo>
                <a:cubicBezTo>
                  <a:pt x="77834" y="1899314"/>
                  <a:pt x="70588" y="1901538"/>
                  <a:pt x="70588" y="1901538"/>
                </a:cubicBezTo>
                <a:lnTo>
                  <a:pt x="77834" y="1884859"/>
                </a:lnTo>
                <a:lnTo>
                  <a:pt x="77834" y="1884859"/>
                </a:lnTo>
                <a:close/>
                <a:moveTo>
                  <a:pt x="61592" y="1877076"/>
                </a:moveTo>
                <a:lnTo>
                  <a:pt x="59594" y="1892890"/>
                </a:lnTo>
                <a:lnTo>
                  <a:pt x="45601" y="1890913"/>
                </a:lnTo>
                <a:lnTo>
                  <a:pt x="61592" y="1877199"/>
                </a:lnTo>
                <a:lnTo>
                  <a:pt x="61592" y="1877199"/>
                </a:lnTo>
                <a:close/>
                <a:moveTo>
                  <a:pt x="26861" y="1809742"/>
                </a:moveTo>
                <a:lnTo>
                  <a:pt x="12618" y="1801217"/>
                </a:lnTo>
                <a:lnTo>
                  <a:pt x="25362" y="1789603"/>
                </a:lnTo>
                <a:cubicBezTo>
                  <a:pt x="25362" y="1789603"/>
                  <a:pt x="26111" y="1807271"/>
                  <a:pt x="26861" y="1809865"/>
                </a:cubicBezTo>
                <a:lnTo>
                  <a:pt x="26861" y="1809865"/>
                </a:lnTo>
                <a:close/>
                <a:moveTo>
                  <a:pt x="20864" y="1823826"/>
                </a:moveTo>
                <a:lnTo>
                  <a:pt x="34107" y="1823826"/>
                </a:lnTo>
                <a:cubicBezTo>
                  <a:pt x="34107" y="1823826"/>
                  <a:pt x="27860" y="1832104"/>
                  <a:pt x="27860" y="1832104"/>
                </a:cubicBezTo>
                <a:lnTo>
                  <a:pt x="20989" y="1823826"/>
                </a:lnTo>
                <a:lnTo>
                  <a:pt x="20989" y="1823826"/>
                </a:lnTo>
                <a:close/>
                <a:moveTo>
                  <a:pt x="55221" y="1839393"/>
                </a:moveTo>
                <a:cubicBezTo>
                  <a:pt x="55970" y="1840011"/>
                  <a:pt x="69838" y="1856443"/>
                  <a:pt x="69838" y="1856443"/>
                </a:cubicBezTo>
                <a:lnTo>
                  <a:pt x="64591" y="1873616"/>
                </a:lnTo>
                <a:lnTo>
                  <a:pt x="55096" y="1839270"/>
                </a:lnTo>
                <a:lnTo>
                  <a:pt x="55096" y="1839270"/>
                </a:lnTo>
                <a:close/>
                <a:moveTo>
                  <a:pt x="31109" y="1863362"/>
                </a:moveTo>
                <a:lnTo>
                  <a:pt x="18615" y="1849524"/>
                </a:lnTo>
                <a:lnTo>
                  <a:pt x="35606" y="1843594"/>
                </a:lnTo>
                <a:lnTo>
                  <a:pt x="31234" y="1863485"/>
                </a:lnTo>
                <a:lnTo>
                  <a:pt x="31234" y="1863485"/>
                </a:lnTo>
                <a:close/>
                <a:moveTo>
                  <a:pt x="14617" y="1758592"/>
                </a:moveTo>
                <a:lnTo>
                  <a:pt x="0" y="1770947"/>
                </a:lnTo>
                <a:lnTo>
                  <a:pt x="9495" y="1776507"/>
                </a:lnTo>
                <a:lnTo>
                  <a:pt x="18365" y="1766994"/>
                </a:lnTo>
                <a:lnTo>
                  <a:pt x="14617" y="1758592"/>
                </a:lnTo>
                <a:lnTo>
                  <a:pt x="14617" y="1758592"/>
                </a:lnTo>
                <a:close/>
                <a:moveTo>
                  <a:pt x="2499" y="1632078"/>
                </a:moveTo>
                <a:lnTo>
                  <a:pt x="23987" y="1640974"/>
                </a:lnTo>
                <a:lnTo>
                  <a:pt x="6996" y="1644928"/>
                </a:lnTo>
                <a:lnTo>
                  <a:pt x="2499" y="1632078"/>
                </a:lnTo>
                <a:lnTo>
                  <a:pt x="2499" y="1632078"/>
                </a:lnTo>
                <a:close/>
                <a:moveTo>
                  <a:pt x="7121" y="1600450"/>
                </a:moveTo>
                <a:lnTo>
                  <a:pt x="24737" y="1610828"/>
                </a:lnTo>
                <a:lnTo>
                  <a:pt x="16616" y="1622318"/>
                </a:lnTo>
                <a:lnTo>
                  <a:pt x="7121" y="1600450"/>
                </a:lnTo>
                <a:lnTo>
                  <a:pt x="7121" y="1600450"/>
                </a:lnTo>
                <a:close/>
                <a:moveTo>
                  <a:pt x="57095" y="1561656"/>
                </a:moveTo>
                <a:lnTo>
                  <a:pt x="63092" y="1575864"/>
                </a:lnTo>
                <a:lnTo>
                  <a:pt x="45976" y="1577223"/>
                </a:lnTo>
                <a:lnTo>
                  <a:pt x="57220" y="1561656"/>
                </a:lnTo>
                <a:lnTo>
                  <a:pt x="57220" y="1561656"/>
                </a:lnTo>
                <a:close/>
                <a:moveTo>
                  <a:pt x="73211" y="1549795"/>
                </a:moveTo>
                <a:lnTo>
                  <a:pt x="86579" y="1553131"/>
                </a:lnTo>
                <a:lnTo>
                  <a:pt x="93076" y="1563385"/>
                </a:lnTo>
                <a:lnTo>
                  <a:pt x="74960" y="1575246"/>
                </a:lnTo>
                <a:lnTo>
                  <a:pt x="73211" y="1549795"/>
                </a:lnTo>
                <a:lnTo>
                  <a:pt x="73211" y="1549795"/>
                </a:lnTo>
                <a:close/>
                <a:moveTo>
                  <a:pt x="231378" y="1430200"/>
                </a:moveTo>
                <a:cubicBezTo>
                  <a:pt x="231378" y="1430200"/>
                  <a:pt x="246870" y="1411421"/>
                  <a:pt x="246870" y="1411421"/>
                </a:cubicBezTo>
                <a:lnTo>
                  <a:pt x="252367" y="1430941"/>
                </a:lnTo>
                <a:lnTo>
                  <a:pt x="243372" y="1439466"/>
                </a:lnTo>
                <a:lnTo>
                  <a:pt x="231378" y="1430200"/>
                </a:lnTo>
                <a:lnTo>
                  <a:pt x="231378" y="1430200"/>
                </a:lnTo>
                <a:close/>
                <a:moveTo>
                  <a:pt x="235376" y="1400178"/>
                </a:moveTo>
                <a:cubicBezTo>
                  <a:pt x="235376" y="1400178"/>
                  <a:pt x="228754" y="1407961"/>
                  <a:pt x="228754" y="1407961"/>
                </a:cubicBezTo>
                <a:lnTo>
                  <a:pt x="210389" y="1389429"/>
                </a:lnTo>
                <a:lnTo>
                  <a:pt x="229504" y="1386958"/>
                </a:lnTo>
                <a:lnTo>
                  <a:pt x="235376" y="1400178"/>
                </a:lnTo>
                <a:lnTo>
                  <a:pt x="235376" y="1400178"/>
                </a:lnTo>
                <a:close/>
                <a:moveTo>
                  <a:pt x="251242" y="1361383"/>
                </a:moveTo>
                <a:lnTo>
                  <a:pt x="278603" y="1335562"/>
                </a:lnTo>
                <a:lnTo>
                  <a:pt x="291346" y="1345816"/>
                </a:lnTo>
                <a:lnTo>
                  <a:pt x="273106" y="1359407"/>
                </a:lnTo>
                <a:lnTo>
                  <a:pt x="251242" y="1361383"/>
                </a:lnTo>
                <a:lnTo>
                  <a:pt x="251242" y="1361383"/>
                </a:lnTo>
                <a:close/>
                <a:moveTo>
                  <a:pt x="256989" y="1395606"/>
                </a:moveTo>
                <a:lnTo>
                  <a:pt x="267359" y="1374479"/>
                </a:lnTo>
                <a:lnTo>
                  <a:pt x="285599" y="1373368"/>
                </a:lnTo>
                <a:lnTo>
                  <a:pt x="290472" y="1363607"/>
                </a:lnTo>
                <a:lnTo>
                  <a:pt x="304714" y="1362372"/>
                </a:lnTo>
                <a:lnTo>
                  <a:pt x="314459" y="1372132"/>
                </a:lnTo>
                <a:lnTo>
                  <a:pt x="301966" y="1388811"/>
                </a:lnTo>
                <a:lnTo>
                  <a:pt x="281352" y="1388317"/>
                </a:lnTo>
                <a:lnTo>
                  <a:pt x="269483" y="1395730"/>
                </a:lnTo>
                <a:lnTo>
                  <a:pt x="257239" y="1395730"/>
                </a:lnTo>
                <a:close/>
                <a:moveTo>
                  <a:pt x="483870" y="1128000"/>
                </a:moveTo>
                <a:lnTo>
                  <a:pt x="490241" y="1114286"/>
                </a:lnTo>
                <a:lnTo>
                  <a:pt x="513229" y="1108973"/>
                </a:lnTo>
                <a:lnTo>
                  <a:pt x="495364" y="1132448"/>
                </a:lnTo>
                <a:lnTo>
                  <a:pt x="483870" y="1128000"/>
                </a:lnTo>
                <a:lnTo>
                  <a:pt x="483870" y="1128000"/>
                </a:lnTo>
                <a:close/>
                <a:moveTo>
                  <a:pt x="466504" y="1172107"/>
                </a:moveTo>
                <a:lnTo>
                  <a:pt x="459757" y="1161234"/>
                </a:lnTo>
                <a:lnTo>
                  <a:pt x="443266" y="1163211"/>
                </a:lnTo>
                <a:lnTo>
                  <a:pt x="456509" y="1147520"/>
                </a:lnTo>
                <a:lnTo>
                  <a:pt x="481871" y="1143443"/>
                </a:lnTo>
                <a:lnTo>
                  <a:pt x="495239" y="1137266"/>
                </a:lnTo>
                <a:lnTo>
                  <a:pt x="475499" y="1163705"/>
                </a:lnTo>
                <a:lnTo>
                  <a:pt x="466504" y="1171983"/>
                </a:lnTo>
                <a:lnTo>
                  <a:pt x="466504" y="1171983"/>
                </a:lnTo>
                <a:close/>
                <a:moveTo>
                  <a:pt x="504859" y="1017671"/>
                </a:moveTo>
                <a:lnTo>
                  <a:pt x="512355" y="1022242"/>
                </a:lnTo>
                <a:lnTo>
                  <a:pt x="513479" y="1032991"/>
                </a:lnTo>
                <a:lnTo>
                  <a:pt x="504609" y="1041886"/>
                </a:lnTo>
                <a:lnTo>
                  <a:pt x="496238" y="1032002"/>
                </a:lnTo>
                <a:lnTo>
                  <a:pt x="504859" y="1017547"/>
                </a:lnTo>
                <a:lnTo>
                  <a:pt x="504859" y="1017547"/>
                </a:lnTo>
                <a:close/>
                <a:moveTo>
                  <a:pt x="537466" y="981842"/>
                </a:moveTo>
                <a:lnTo>
                  <a:pt x="545337" y="972699"/>
                </a:lnTo>
                <a:lnTo>
                  <a:pt x="562328" y="974305"/>
                </a:lnTo>
                <a:lnTo>
                  <a:pt x="541214" y="992961"/>
                </a:lnTo>
                <a:lnTo>
                  <a:pt x="537466" y="981965"/>
                </a:lnTo>
                <a:lnTo>
                  <a:pt x="537466" y="981965"/>
                </a:lnTo>
                <a:close/>
                <a:moveTo>
                  <a:pt x="524098" y="950584"/>
                </a:moveTo>
                <a:lnTo>
                  <a:pt x="540215" y="932175"/>
                </a:lnTo>
                <a:lnTo>
                  <a:pt x="544588" y="949101"/>
                </a:lnTo>
                <a:lnTo>
                  <a:pt x="531095" y="972699"/>
                </a:lnTo>
                <a:lnTo>
                  <a:pt x="524098" y="950707"/>
                </a:lnTo>
                <a:lnTo>
                  <a:pt x="524098" y="950707"/>
                </a:lnTo>
                <a:close/>
                <a:moveTo>
                  <a:pt x="630542" y="781693"/>
                </a:moveTo>
                <a:lnTo>
                  <a:pt x="636164" y="772550"/>
                </a:lnTo>
                <a:lnTo>
                  <a:pt x="646534" y="774033"/>
                </a:lnTo>
                <a:lnTo>
                  <a:pt x="639912" y="789229"/>
                </a:lnTo>
                <a:lnTo>
                  <a:pt x="630542" y="781569"/>
                </a:lnTo>
                <a:lnTo>
                  <a:pt x="630542" y="781569"/>
                </a:lnTo>
                <a:close/>
                <a:moveTo>
                  <a:pt x="516977" y="693602"/>
                </a:moveTo>
                <a:lnTo>
                  <a:pt x="524973" y="702498"/>
                </a:lnTo>
                <a:lnTo>
                  <a:pt x="520350" y="711888"/>
                </a:lnTo>
                <a:lnTo>
                  <a:pt x="510481" y="706328"/>
                </a:lnTo>
                <a:lnTo>
                  <a:pt x="516852" y="693602"/>
                </a:lnTo>
                <a:lnTo>
                  <a:pt x="516852" y="693602"/>
                </a:lnTo>
                <a:close/>
                <a:moveTo>
                  <a:pt x="545462" y="646407"/>
                </a:moveTo>
                <a:lnTo>
                  <a:pt x="525223" y="667534"/>
                </a:lnTo>
                <a:lnTo>
                  <a:pt x="524473" y="649866"/>
                </a:lnTo>
                <a:lnTo>
                  <a:pt x="539715" y="621079"/>
                </a:lnTo>
                <a:lnTo>
                  <a:pt x="545462" y="646407"/>
                </a:lnTo>
                <a:lnTo>
                  <a:pt x="545462" y="646407"/>
                </a:lnTo>
                <a:close/>
                <a:moveTo>
                  <a:pt x="558080" y="632075"/>
                </a:moveTo>
                <a:lnTo>
                  <a:pt x="550335" y="621944"/>
                </a:lnTo>
                <a:lnTo>
                  <a:pt x="557206" y="612431"/>
                </a:lnTo>
                <a:lnTo>
                  <a:pt x="565327" y="616632"/>
                </a:lnTo>
                <a:lnTo>
                  <a:pt x="558080" y="631952"/>
                </a:lnTo>
                <a:lnTo>
                  <a:pt x="558080" y="631952"/>
                </a:lnTo>
                <a:close/>
                <a:moveTo>
                  <a:pt x="609179" y="589327"/>
                </a:moveTo>
                <a:lnTo>
                  <a:pt x="607804" y="604400"/>
                </a:lnTo>
                <a:lnTo>
                  <a:pt x="575946" y="630593"/>
                </a:lnTo>
                <a:lnTo>
                  <a:pt x="579819" y="598346"/>
                </a:lnTo>
                <a:lnTo>
                  <a:pt x="609179" y="589204"/>
                </a:lnTo>
                <a:lnTo>
                  <a:pt x="609179" y="589204"/>
                </a:lnTo>
                <a:close/>
                <a:moveTo>
                  <a:pt x="637164" y="548803"/>
                </a:moveTo>
                <a:lnTo>
                  <a:pt x="646409" y="532001"/>
                </a:lnTo>
                <a:lnTo>
                  <a:pt x="662900" y="544356"/>
                </a:lnTo>
                <a:lnTo>
                  <a:pt x="637289" y="548680"/>
                </a:lnTo>
                <a:lnTo>
                  <a:pt x="637289" y="548680"/>
                </a:lnTo>
                <a:close/>
                <a:moveTo>
                  <a:pt x="661276" y="554363"/>
                </a:moveTo>
                <a:lnTo>
                  <a:pt x="662276" y="590316"/>
                </a:lnTo>
                <a:lnTo>
                  <a:pt x="642661" y="582038"/>
                </a:lnTo>
                <a:lnTo>
                  <a:pt x="618923" y="598717"/>
                </a:lnTo>
                <a:lnTo>
                  <a:pt x="620797" y="580926"/>
                </a:lnTo>
                <a:lnTo>
                  <a:pt x="661401" y="554363"/>
                </a:lnTo>
                <a:lnTo>
                  <a:pt x="661401" y="554363"/>
                </a:lnTo>
                <a:close/>
                <a:moveTo>
                  <a:pt x="669397" y="465655"/>
                </a:moveTo>
                <a:lnTo>
                  <a:pt x="676393" y="489624"/>
                </a:lnTo>
                <a:lnTo>
                  <a:pt x="678392" y="519646"/>
                </a:lnTo>
                <a:lnTo>
                  <a:pt x="654280" y="527924"/>
                </a:lnTo>
                <a:lnTo>
                  <a:pt x="644035" y="519893"/>
                </a:lnTo>
                <a:lnTo>
                  <a:pt x="665899" y="503214"/>
                </a:lnTo>
                <a:lnTo>
                  <a:pt x="653280" y="503214"/>
                </a:lnTo>
                <a:cubicBezTo>
                  <a:pt x="653280" y="503214"/>
                  <a:pt x="630917" y="522364"/>
                  <a:pt x="630917" y="522364"/>
                </a:cubicBezTo>
                <a:lnTo>
                  <a:pt x="623046" y="510874"/>
                </a:lnTo>
                <a:lnTo>
                  <a:pt x="628918" y="492342"/>
                </a:lnTo>
                <a:lnTo>
                  <a:pt x="646284" y="495554"/>
                </a:lnTo>
                <a:lnTo>
                  <a:pt x="661401" y="476527"/>
                </a:lnTo>
                <a:lnTo>
                  <a:pt x="657778" y="468126"/>
                </a:lnTo>
                <a:lnTo>
                  <a:pt x="669647" y="465655"/>
                </a:lnTo>
                <a:lnTo>
                  <a:pt x="669647" y="465655"/>
                </a:lnTo>
                <a:close/>
                <a:moveTo>
                  <a:pt x="689636" y="475292"/>
                </a:moveTo>
                <a:lnTo>
                  <a:pt x="680141" y="469114"/>
                </a:lnTo>
                <a:lnTo>
                  <a:pt x="680141" y="442922"/>
                </a:lnTo>
                <a:cubicBezTo>
                  <a:pt x="680141" y="442922"/>
                  <a:pt x="703879" y="422290"/>
                  <a:pt x="703879" y="422290"/>
                </a:cubicBezTo>
                <a:lnTo>
                  <a:pt x="703879" y="405858"/>
                </a:lnTo>
                <a:cubicBezTo>
                  <a:pt x="703879" y="405858"/>
                  <a:pt x="727241" y="395727"/>
                  <a:pt x="727241" y="395727"/>
                </a:cubicBezTo>
                <a:lnTo>
                  <a:pt x="732613" y="412529"/>
                </a:lnTo>
                <a:lnTo>
                  <a:pt x="713998" y="427108"/>
                </a:lnTo>
                <a:lnTo>
                  <a:pt x="712874" y="445517"/>
                </a:lnTo>
                <a:lnTo>
                  <a:pt x="689636" y="475292"/>
                </a:lnTo>
                <a:lnTo>
                  <a:pt x="689636" y="475292"/>
                </a:lnTo>
                <a:close/>
                <a:moveTo>
                  <a:pt x="750604" y="483323"/>
                </a:moveTo>
                <a:lnTo>
                  <a:pt x="775091" y="504573"/>
                </a:lnTo>
                <a:lnTo>
                  <a:pt x="745107" y="540031"/>
                </a:lnTo>
                <a:lnTo>
                  <a:pt x="724743" y="552757"/>
                </a:lnTo>
                <a:lnTo>
                  <a:pt x="717996" y="567212"/>
                </a:lnTo>
                <a:lnTo>
                  <a:pt x="703879" y="563259"/>
                </a:lnTo>
                <a:lnTo>
                  <a:pt x="705003" y="545468"/>
                </a:lnTo>
                <a:lnTo>
                  <a:pt x="684514" y="574502"/>
                </a:lnTo>
                <a:lnTo>
                  <a:pt x="674644" y="574872"/>
                </a:lnTo>
                <a:lnTo>
                  <a:pt x="677018" y="552510"/>
                </a:lnTo>
                <a:lnTo>
                  <a:pt x="686013" y="546950"/>
                </a:lnTo>
                <a:lnTo>
                  <a:pt x="682640" y="530765"/>
                </a:lnTo>
                <a:lnTo>
                  <a:pt x="694509" y="515198"/>
                </a:lnTo>
                <a:lnTo>
                  <a:pt x="693759" y="498272"/>
                </a:lnTo>
                <a:lnTo>
                  <a:pt x="714123" y="463925"/>
                </a:lnTo>
                <a:lnTo>
                  <a:pt x="705003" y="512109"/>
                </a:lnTo>
                <a:lnTo>
                  <a:pt x="710375" y="528912"/>
                </a:lnTo>
                <a:lnTo>
                  <a:pt x="721994" y="505438"/>
                </a:lnTo>
                <a:lnTo>
                  <a:pt x="751104" y="502843"/>
                </a:lnTo>
                <a:lnTo>
                  <a:pt x="739235" y="487647"/>
                </a:lnTo>
                <a:lnTo>
                  <a:pt x="737986" y="474551"/>
                </a:lnTo>
                <a:lnTo>
                  <a:pt x="750604" y="483323"/>
                </a:lnTo>
                <a:lnTo>
                  <a:pt x="750604" y="483323"/>
                </a:lnTo>
                <a:close/>
                <a:moveTo>
                  <a:pt x="747106" y="463431"/>
                </a:moveTo>
                <a:lnTo>
                  <a:pt x="741234" y="458119"/>
                </a:lnTo>
                <a:lnTo>
                  <a:pt x="754227" y="451941"/>
                </a:lnTo>
                <a:lnTo>
                  <a:pt x="773217" y="460713"/>
                </a:lnTo>
                <a:lnTo>
                  <a:pt x="773717" y="473192"/>
                </a:lnTo>
                <a:lnTo>
                  <a:pt x="747106" y="463431"/>
                </a:lnTo>
                <a:lnTo>
                  <a:pt x="747106" y="463431"/>
                </a:lnTo>
                <a:close/>
                <a:moveTo>
                  <a:pt x="798204" y="487894"/>
                </a:moveTo>
                <a:lnTo>
                  <a:pt x="803201" y="465655"/>
                </a:lnTo>
                <a:lnTo>
                  <a:pt x="813821" y="480357"/>
                </a:lnTo>
                <a:lnTo>
                  <a:pt x="798204" y="487894"/>
                </a:lnTo>
                <a:lnTo>
                  <a:pt x="798204" y="487894"/>
                </a:lnTo>
                <a:close/>
                <a:moveTo>
                  <a:pt x="856173" y="387819"/>
                </a:moveTo>
                <a:lnTo>
                  <a:pt x="853300" y="398074"/>
                </a:lnTo>
                <a:lnTo>
                  <a:pt x="857922" y="412653"/>
                </a:lnTo>
                <a:lnTo>
                  <a:pt x="838558" y="417718"/>
                </a:lnTo>
                <a:lnTo>
                  <a:pt x="831936" y="428220"/>
                </a:lnTo>
                <a:lnTo>
                  <a:pt x="810697" y="427231"/>
                </a:lnTo>
                <a:lnTo>
                  <a:pt x="806949" y="449717"/>
                </a:lnTo>
                <a:lnTo>
                  <a:pt x="798704" y="450335"/>
                </a:lnTo>
                <a:lnTo>
                  <a:pt x="797329" y="433656"/>
                </a:lnTo>
                <a:lnTo>
                  <a:pt x="781962" y="432297"/>
                </a:lnTo>
                <a:lnTo>
                  <a:pt x="796080" y="412282"/>
                </a:lnTo>
                <a:lnTo>
                  <a:pt x="777840" y="411047"/>
                </a:lnTo>
                <a:lnTo>
                  <a:pt x="784836" y="389673"/>
                </a:lnTo>
                <a:lnTo>
                  <a:pt x="808323" y="387078"/>
                </a:lnTo>
                <a:lnTo>
                  <a:pt x="786335" y="377194"/>
                </a:lnTo>
                <a:lnTo>
                  <a:pt x="796705" y="357056"/>
                </a:lnTo>
                <a:lnTo>
                  <a:pt x="811072" y="366940"/>
                </a:lnTo>
                <a:lnTo>
                  <a:pt x="805950" y="347790"/>
                </a:lnTo>
                <a:lnTo>
                  <a:pt x="833935" y="349519"/>
                </a:lnTo>
                <a:lnTo>
                  <a:pt x="837558" y="363851"/>
                </a:lnTo>
                <a:lnTo>
                  <a:pt x="850301" y="367187"/>
                </a:lnTo>
                <a:lnTo>
                  <a:pt x="856173" y="387696"/>
                </a:lnTo>
                <a:lnTo>
                  <a:pt x="856173" y="387696"/>
                </a:lnTo>
                <a:close/>
                <a:moveTo>
                  <a:pt x="854299" y="334817"/>
                </a:moveTo>
                <a:lnTo>
                  <a:pt x="878786" y="332470"/>
                </a:lnTo>
                <a:lnTo>
                  <a:pt x="878786" y="318756"/>
                </a:lnTo>
                <a:cubicBezTo>
                  <a:pt x="878786" y="318756"/>
                  <a:pt x="900650" y="317150"/>
                  <a:pt x="900650" y="317150"/>
                </a:cubicBezTo>
                <a:lnTo>
                  <a:pt x="910644" y="302324"/>
                </a:lnTo>
                <a:lnTo>
                  <a:pt x="923263" y="319497"/>
                </a:lnTo>
                <a:lnTo>
                  <a:pt x="911394" y="335682"/>
                </a:lnTo>
                <a:lnTo>
                  <a:pt x="912643" y="348654"/>
                </a:lnTo>
                <a:lnTo>
                  <a:pt x="890780" y="350261"/>
                </a:lnTo>
                <a:lnTo>
                  <a:pt x="873914" y="357550"/>
                </a:lnTo>
                <a:lnTo>
                  <a:pt x="854424" y="334817"/>
                </a:lnTo>
                <a:lnTo>
                  <a:pt x="854424" y="334817"/>
                </a:lnTo>
                <a:close/>
                <a:moveTo>
                  <a:pt x="923887" y="231036"/>
                </a:moveTo>
                <a:lnTo>
                  <a:pt x="918765" y="218805"/>
                </a:lnTo>
                <a:lnTo>
                  <a:pt x="934382" y="212874"/>
                </a:lnTo>
                <a:lnTo>
                  <a:pt x="923887" y="231036"/>
                </a:lnTo>
                <a:lnTo>
                  <a:pt x="923887" y="231036"/>
                </a:lnTo>
                <a:close/>
                <a:moveTo>
                  <a:pt x="892404" y="267730"/>
                </a:moveTo>
                <a:lnTo>
                  <a:pt x="892779" y="246850"/>
                </a:lnTo>
                <a:lnTo>
                  <a:pt x="916266" y="239314"/>
                </a:lnTo>
                <a:lnTo>
                  <a:pt x="914767" y="251792"/>
                </a:lnTo>
                <a:cubicBezTo>
                  <a:pt x="914767" y="251792"/>
                  <a:pt x="893653" y="267730"/>
                  <a:pt x="892279" y="267730"/>
                </a:cubicBezTo>
                <a:lnTo>
                  <a:pt x="892279" y="267730"/>
                </a:lnTo>
                <a:close/>
                <a:moveTo>
                  <a:pt x="954621" y="297876"/>
                </a:moveTo>
                <a:lnTo>
                  <a:pt x="958869" y="273413"/>
                </a:lnTo>
                <a:lnTo>
                  <a:pt x="967489" y="290092"/>
                </a:lnTo>
                <a:lnTo>
                  <a:pt x="954621" y="297876"/>
                </a:lnTo>
                <a:lnTo>
                  <a:pt x="954621" y="297876"/>
                </a:lnTo>
                <a:close/>
                <a:moveTo>
                  <a:pt x="945126" y="293058"/>
                </a:moveTo>
                <a:lnTo>
                  <a:pt x="940129" y="301088"/>
                </a:lnTo>
                <a:lnTo>
                  <a:pt x="927635" y="301582"/>
                </a:lnTo>
                <a:lnTo>
                  <a:pt x="903398" y="279097"/>
                </a:lnTo>
                <a:lnTo>
                  <a:pt x="930884" y="254387"/>
                </a:lnTo>
                <a:lnTo>
                  <a:pt x="937880" y="264518"/>
                </a:lnTo>
                <a:lnTo>
                  <a:pt x="953622" y="261182"/>
                </a:lnTo>
                <a:lnTo>
                  <a:pt x="956495" y="266247"/>
                </a:lnTo>
                <a:lnTo>
                  <a:pt x="942378" y="277367"/>
                </a:lnTo>
                <a:lnTo>
                  <a:pt x="945001" y="292934"/>
                </a:lnTo>
                <a:lnTo>
                  <a:pt x="945001" y="292934"/>
                </a:lnTo>
                <a:close/>
                <a:moveTo>
                  <a:pt x="991977" y="248086"/>
                </a:moveTo>
                <a:lnTo>
                  <a:pt x="983981" y="255005"/>
                </a:lnTo>
                <a:lnTo>
                  <a:pt x="963117" y="247345"/>
                </a:lnTo>
                <a:lnTo>
                  <a:pt x="961368" y="231036"/>
                </a:lnTo>
                <a:lnTo>
                  <a:pt x="953747" y="207315"/>
                </a:lnTo>
                <a:lnTo>
                  <a:pt x="963741" y="200025"/>
                </a:lnTo>
                <a:lnTo>
                  <a:pt x="968864" y="224735"/>
                </a:lnTo>
                <a:lnTo>
                  <a:pt x="986604" y="237461"/>
                </a:lnTo>
                <a:lnTo>
                  <a:pt x="992101" y="248086"/>
                </a:lnTo>
                <a:lnTo>
                  <a:pt x="992101" y="248086"/>
                </a:lnTo>
                <a:close/>
                <a:moveTo>
                  <a:pt x="1043449" y="273166"/>
                </a:moveTo>
                <a:lnTo>
                  <a:pt x="1032580" y="258587"/>
                </a:lnTo>
                <a:lnTo>
                  <a:pt x="1018837" y="254263"/>
                </a:lnTo>
                <a:lnTo>
                  <a:pt x="1015589" y="224241"/>
                </a:lnTo>
                <a:lnTo>
                  <a:pt x="1027333" y="211886"/>
                </a:lnTo>
                <a:lnTo>
                  <a:pt x="1046823" y="225229"/>
                </a:lnTo>
                <a:lnTo>
                  <a:pt x="1039701" y="243638"/>
                </a:lnTo>
                <a:lnTo>
                  <a:pt x="1050945" y="257352"/>
                </a:lnTo>
                <a:lnTo>
                  <a:pt x="1043699" y="273413"/>
                </a:lnTo>
                <a:lnTo>
                  <a:pt x="1043699" y="273413"/>
                </a:lnTo>
                <a:close/>
                <a:moveTo>
                  <a:pt x="1178253" y="198419"/>
                </a:moveTo>
                <a:lnTo>
                  <a:pt x="1160013" y="191624"/>
                </a:lnTo>
                <a:lnTo>
                  <a:pt x="1139649" y="182605"/>
                </a:lnTo>
                <a:lnTo>
                  <a:pt x="1152517" y="172227"/>
                </a:lnTo>
                <a:lnTo>
                  <a:pt x="1172131" y="172721"/>
                </a:lnTo>
                <a:lnTo>
                  <a:pt x="1181127" y="181493"/>
                </a:lnTo>
                <a:lnTo>
                  <a:pt x="1178253" y="198296"/>
                </a:lnTo>
                <a:lnTo>
                  <a:pt x="1178253" y="198296"/>
                </a:lnTo>
                <a:close/>
                <a:moveTo>
                  <a:pt x="1201491" y="182729"/>
                </a:moveTo>
                <a:lnTo>
                  <a:pt x="1179877" y="158637"/>
                </a:lnTo>
                <a:lnTo>
                  <a:pt x="1211111" y="128985"/>
                </a:lnTo>
                <a:lnTo>
                  <a:pt x="1217358" y="149123"/>
                </a:lnTo>
                <a:lnTo>
                  <a:pt x="1203490" y="167161"/>
                </a:lnTo>
                <a:lnTo>
                  <a:pt x="1201491" y="182729"/>
                </a:lnTo>
                <a:lnTo>
                  <a:pt x="1201491" y="182729"/>
                </a:lnTo>
                <a:close/>
                <a:moveTo>
                  <a:pt x="1160263" y="150606"/>
                </a:moveTo>
                <a:lnTo>
                  <a:pt x="1148144" y="153818"/>
                </a:lnTo>
                <a:lnTo>
                  <a:pt x="1118910" y="146529"/>
                </a:lnTo>
                <a:lnTo>
                  <a:pt x="1110789" y="127873"/>
                </a:lnTo>
                <a:lnTo>
                  <a:pt x="1127155" y="130715"/>
                </a:lnTo>
                <a:lnTo>
                  <a:pt x="1142272" y="118236"/>
                </a:lnTo>
                <a:lnTo>
                  <a:pt x="1153391" y="129973"/>
                </a:lnTo>
                <a:lnTo>
                  <a:pt x="1161887" y="111564"/>
                </a:lnTo>
                <a:lnTo>
                  <a:pt x="1173756" y="117618"/>
                </a:lnTo>
                <a:lnTo>
                  <a:pt x="1201741" y="89820"/>
                </a:lnTo>
                <a:lnTo>
                  <a:pt x="1205864" y="101433"/>
                </a:lnTo>
                <a:lnTo>
                  <a:pt x="1160263" y="150729"/>
                </a:lnTo>
                <a:lnTo>
                  <a:pt x="1160263" y="150729"/>
                </a:lnTo>
                <a:close/>
                <a:moveTo>
                  <a:pt x="1215858" y="110823"/>
                </a:moveTo>
                <a:cubicBezTo>
                  <a:pt x="1216858" y="110453"/>
                  <a:pt x="1240595" y="100569"/>
                  <a:pt x="1240595" y="100569"/>
                </a:cubicBezTo>
                <a:lnTo>
                  <a:pt x="1262459" y="115147"/>
                </a:lnTo>
                <a:lnTo>
                  <a:pt x="1256837" y="131085"/>
                </a:lnTo>
                <a:lnTo>
                  <a:pt x="1232350" y="141340"/>
                </a:lnTo>
                <a:lnTo>
                  <a:pt x="1230226" y="124043"/>
                </a:lnTo>
                <a:lnTo>
                  <a:pt x="1215733" y="110823"/>
                </a:lnTo>
                <a:lnTo>
                  <a:pt x="1215733" y="110823"/>
                </a:lnTo>
                <a:close/>
                <a:moveTo>
                  <a:pt x="1263333" y="65110"/>
                </a:moveTo>
                <a:lnTo>
                  <a:pt x="1258461" y="74129"/>
                </a:lnTo>
                <a:lnTo>
                  <a:pt x="1250590" y="77094"/>
                </a:lnTo>
                <a:lnTo>
                  <a:pt x="1238222" y="59550"/>
                </a:lnTo>
                <a:lnTo>
                  <a:pt x="1253963" y="54979"/>
                </a:lnTo>
                <a:lnTo>
                  <a:pt x="1263333" y="65110"/>
                </a:lnTo>
                <a:lnTo>
                  <a:pt x="1263333" y="65110"/>
                </a:lnTo>
                <a:close/>
                <a:moveTo>
                  <a:pt x="1301438" y="35211"/>
                </a:moveTo>
                <a:lnTo>
                  <a:pt x="1288820" y="35211"/>
                </a:lnTo>
                <a:cubicBezTo>
                  <a:pt x="1288820" y="35211"/>
                  <a:pt x="1294567" y="22609"/>
                  <a:pt x="1294567" y="22609"/>
                </a:cubicBezTo>
                <a:lnTo>
                  <a:pt x="1307435" y="21745"/>
                </a:lnTo>
                <a:lnTo>
                  <a:pt x="1301438" y="35211"/>
                </a:lnTo>
                <a:lnTo>
                  <a:pt x="1301438" y="35211"/>
                </a:lnTo>
                <a:close/>
                <a:moveTo>
                  <a:pt x="1327300" y="43613"/>
                </a:moveTo>
                <a:lnTo>
                  <a:pt x="1327924" y="34717"/>
                </a:lnTo>
                <a:lnTo>
                  <a:pt x="1335545" y="26810"/>
                </a:lnTo>
                <a:lnTo>
                  <a:pt x="1347039" y="31628"/>
                </a:lnTo>
                <a:lnTo>
                  <a:pt x="1355285" y="23351"/>
                </a:lnTo>
                <a:lnTo>
                  <a:pt x="1356659" y="8896"/>
                </a:lnTo>
                <a:lnTo>
                  <a:pt x="1367653" y="16926"/>
                </a:lnTo>
                <a:lnTo>
                  <a:pt x="1382396" y="19891"/>
                </a:lnTo>
                <a:lnTo>
                  <a:pt x="1371027" y="35211"/>
                </a:lnTo>
                <a:lnTo>
                  <a:pt x="1393265" y="34594"/>
                </a:lnTo>
                <a:lnTo>
                  <a:pt x="1386268" y="55226"/>
                </a:lnTo>
                <a:lnTo>
                  <a:pt x="1367903" y="60292"/>
                </a:lnTo>
                <a:lnTo>
                  <a:pt x="1347789" y="46084"/>
                </a:lnTo>
                <a:lnTo>
                  <a:pt x="1327425" y="4361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6" name="Graphic 119">
            <a:extLst>
              <a:ext uri="{FF2B5EF4-FFF2-40B4-BE49-F238E27FC236}">
                <a16:creationId xmlns:a16="http://schemas.microsoft.com/office/drawing/2014/main" id="{95FDDACC-688E-A59A-C6C6-9D57EE5C72A6}"/>
              </a:ext>
            </a:extLst>
          </p:cNvPr>
          <p:cNvSpPr/>
          <p:nvPr/>
        </p:nvSpPr>
        <p:spPr>
          <a:xfrm rot="1141104">
            <a:off x="8102304" y="2619917"/>
            <a:ext cx="224756" cy="130466"/>
          </a:xfrm>
          <a:custGeom>
            <a:avLst/>
            <a:gdLst>
              <a:gd name="connsiteX0" fmla="*/ 219135 w 224756"/>
              <a:gd name="connsiteY0" fmla="*/ 116012 h 130466"/>
              <a:gd name="connsiteX1" fmla="*/ 214762 w 224756"/>
              <a:gd name="connsiteY1" fmla="*/ 84260 h 130466"/>
              <a:gd name="connsiteX2" fmla="*/ 224757 w 224756"/>
              <a:gd name="connsiteY2" fmla="*/ 69558 h 130466"/>
              <a:gd name="connsiteX3" fmla="*/ 215012 w 224756"/>
              <a:gd name="connsiteY3" fmla="*/ 60044 h 130466"/>
              <a:gd name="connsiteX4" fmla="*/ 203643 w 224756"/>
              <a:gd name="connsiteY4" fmla="*/ 57944 h 130466"/>
              <a:gd name="connsiteX5" fmla="*/ 199645 w 224756"/>
              <a:gd name="connsiteY5" fmla="*/ 40400 h 130466"/>
              <a:gd name="connsiteX6" fmla="*/ 186777 w 224756"/>
              <a:gd name="connsiteY6" fmla="*/ 34470 h 130466"/>
              <a:gd name="connsiteX7" fmla="*/ 153419 w 224756"/>
              <a:gd name="connsiteY7" fmla="*/ 43736 h 130466"/>
              <a:gd name="connsiteX8" fmla="*/ 129182 w 224756"/>
              <a:gd name="connsiteY8" fmla="*/ 32987 h 130466"/>
              <a:gd name="connsiteX9" fmla="*/ 102571 w 224756"/>
              <a:gd name="connsiteY9" fmla="*/ 0 h 130466"/>
              <a:gd name="connsiteX10" fmla="*/ 71587 w 224756"/>
              <a:gd name="connsiteY10" fmla="*/ 8031 h 130466"/>
              <a:gd name="connsiteX11" fmla="*/ 66715 w 224756"/>
              <a:gd name="connsiteY11" fmla="*/ 5683 h 130466"/>
              <a:gd name="connsiteX12" fmla="*/ 21739 w 224756"/>
              <a:gd name="connsiteY12" fmla="*/ 64739 h 130466"/>
              <a:gd name="connsiteX13" fmla="*/ 12618 w 224756"/>
              <a:gd name="connsiteY13" fmla="*/ 90067 h 130466"/>
              <a:gd name="connsiteX14" fmla="*/ 0 w 224756"/>
              <a:gd name="connsiteY14" fmla="*/ 128861 h 130466"/>
              <a:gd name="connsiteX15" fmla="*/ 116813 w 224756"/>
              <a:gd name="connsiteY15" fmla="*/ 130467 h 130466"/>
              <a:gd name="connsiteX16" fmla="*/ 219135 w 224756"/>
              <a:gd name="connsiteY16" fmla="*/ 116012 h 13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756" h="130466">
                <a:moveTo>
                  <a:pt x="219135" y="116012"/>
                </a:moveTo>
                <a:lnTo>
                  <a:pt x="214762" y="84260"/>
                </a:lnTo>
                <a:lnTo>
                  <a:pt x="224757" y="69558"/>
                </a:lnTo>
                <a:lnTo>
                  <a:pt x="215012" y="60044"/>
                </a:lnTo>
                <a:lnTo>
                  <a:pt x="203643" y="57944"/>
                </a:lnTo>
                <a:lnTo>
                  <a:pt x="199645" y="40400"/>
                </a:lnTo>
                <a:lnTo>
                  <a:pt x="186777" y="34470"/>
                </a:lnTo>
                <a:lnTo>
                  <a:pt x="153419" y="43736"/>
                </a:lnTo>
                <a:lnTo>
                  <a:pt x="129182" y="32987"/>
                </a:lnTo>
                <a:lnTo>
                  <a:pt x="102571" y="0"/>
                </a:lnTo>
                <a:lnTo>
                  <a:pt x="71587" y="8031"/>
                </a:lnTo>
                <a:lnTo>
                  <a:pt x="66715" y="5683"/>
                </a:lnTo>
                <a:lnTo>
                  <a:pt x="21739" y="64739"/>
                </a:lnTo>
                <a:lnTo>
                  <a:pt x="12618" y="90067"/>
                </a:lnTo>
                <a:lnTo>
                  <a:pt x="0" y="128861"/>
                </a:lnTo>
                <a:lnTo>
                  <a:pt x="116813" y="130467"/>
                </a:lnTo>
                <a:lnTo>
                  <a:pt x="219135" y="116012"/>
                </a:lnTo>
                <a:close/>
              </a:path>
            </a:pathLst>
          </a:custGeom>
          <a:noFill/>
          <a:ln w="6016" cap="flat">
            <a:solidFill>
              <a:srgbClr val="737373"/>
            </a:solidFill>
            <a:prstDash val="solid"/>
            <a:miter/>
          </a:ln>
        </p:spPr>
        <p:txBody>
          <a:bodyPr rtlCol="0" anchor="ctr"/>
          <a:lstStyle/>
          <a:p>
            <a:endParaRPr lang="en-GB"/>
          </a:p>
        </p:txBody>
      </p:sp>
      <p:sp>
        <p:nvSpPr>
          <p:cNvPr id="37" name="Graphic 122">
            <a:extLst>
              <a:ext uri="{FF2B5EF4-FFF2-40B4-BE49-F238E27FC236}">
                <a16:creationId xmlns:a16="http://schemas.microsoft.com/office/drawing/2014/main" id="{2BF8F344-BCE3-CEA7-DBA7-33E14D183018}"/>
              </a:ext>
            </a:extLst>
          </p:cNvPr>
          <p:cNvSpPr/>
          <p:nvPr/>
        </p:nvSpPr>
        <p:spPr>
          <a:xfrm rot="1141104">
            <a:off x="10371665" y="4975533"/>
            <a:ext cx="1341792" cy="799236"/>
          </a:xfrm>
          <a:custGeom>
            <a:avLst/>
            <a:gdLst>
              <a:gd name="connsiteX0" fmla="*/ 1341792 w 1341792"/>
              <a:gd name="connsiteY0" fmla="*/ 538672 h 799236"/>
              <a:gd name="connsiteX1" fmla="*/ 1334921 w 1341792"/>
              <a:gd name="connsiteY1" fmla="*/ 498272 h 799236"/>
              <a:gd name="connsiteX2" fmla="*/ 1335170 w 1341792"/>
              <a:gd name="connsiteY2" fmla="*/ 474674 h 799236"/>
              <a:gd name="connsiteX3" fmla="*/ 1299689 w 1341792"/>
              <a:gd name="connsiteY3" fmla="*/ 452559 h 799236"/>
              <a:gd name="connsiteX4" fmla="*/ 1285322 w 1341792"/>
              <a:gd name="connsiteY4" fmla="*/ 455771 h 799236"/>
              <a:gd name="connsiteX5" fmla="*/ 1274203 w 1341792"/>
              <a:gd name="connsiteY5" fmla="*/ 444404 h 799236"/>
              <a:gd name="connsiteX6" fmla="*/ 1224854 w 1341792"/>
              <a:gd name="connsiteY6" fmla="*/ 438598 h 799236"/>
              <a:gd name="connsiteX7" fmla="*/ 1160763 w 1341792"/>
              <a:gd name="connsiteY7" fmla="*/ 399433 h 799236"/>
              <a:gd name="connsiteX8" fmla="*/ 1090674 w 1341792"/>
              <a:gd name="connsiteY8" fmla="*/ 372252 h 799236"/>
              <a:gd name="connsiteX9" fmla="*/ 1027833 w 1341792"/>
              <a:gd name="connsiteY9" fmla="*/ 330245 h 799236"/>
              <a:gd name="connsiteX10" fmla="*/ 965241 w 1341792"/>
              <a:gd name="connsiteY10" fmla="*/ 294911 h 799236"/>
              <a:gd name="connsiteX11" fmla="*/ 932758 w 1341792"/>
              <a:gd name="connsiteY11" fmla="*/ 281814 h 799236"/>
              <a:gd name="connsiteX12" fmla="*/ 910020 w 1341792"/>
              <a:gd name="connsiteY12" fmla="*/ 244750 h 799236"/>
              <a:gd name="connsiteX13" fmla="*/ 902274 w 1341792"/>
              <a:gd name="connsiteY13" fmla="*/ 221523 h 799236"/>
              <a:gd name="connsiteX14" fmla="*/ 883284 w 1341792"/>
              <a:gd name="connsiteY14" fmla="*/ 209168 h 799236"/>
              <a:gd name="connsiteX15" fmla="*/ 865044 w 1341792"/>
              <a:gd name="connsiteY15" fmla="*/ 156165 h 799236"/>
              <a:gd name="connsiteX16" fmla="*/ 825439 w 1341792"/>
              <a:gd name="connsiteY16" fmla="*/ 130344 h 799236"/>
              <a:gd name="connsiteX17" fmla="*/ 806824 w 1341792"/>
              <a:gd name="connsiteY17" fmla="*/ 128491 h 799236"/>
              <a:gd name="connsiteX18" fmla="*/ 792582 w 1341792"/>
              <a:gd name="connsiteY18" fmla="*/ 138374 h 799236"/>
              <a:gd name="connsiteX19" fmla="*/ 737111 w 1341792"/>
              <a:gd name="connsiteY19" fmla="*/ 113171 h 799236"/>
              <a:gd name="connsiteX20" fmla="*/ 666648 w 1341792"/>
              <a:gd name="connsiteY20" fmla="*/ 79442 h 799236"/>
              <a:gd name="connsiteX21" fmla="*/ 659152 w 1341792"/>
              <a:gd name="connsiteY21" fmla="*/ 58686 h 799236"/>
              <a:gd name="connsiteX22" fmla="*/ 604806 w 1341792"/>
              <a:gd name="connsiteY22" fmla="*/ 29528 h 799236"/>
              <a:gd name="connsiteX23" fmla="*/ 541339 w 1341792"/>
              <a:gd name="connsiteY23" fmla="*/ 2100 h 799236"/>
              <a:gd name="connsiteX24" fmla="*/ 498737 w 1341792"/>
              <a:gd name="connsiteY24" fmla="*/ 0 h 799236"/>
              <a:gd name="connsiteX25" fmla="*/ 515603 w 1341792"/>
              <a:gd name="connsiteY25" fmla="*/ 21621 h 799236"/>
              <a:gd name="connsiteX26" fmla="*/ 505233 w 1341792"/>
              <a:gd name="connsiteY26" fmla="*/ 28540 h 799236"/>
              <a:gd name="connsiteX27" fmla="*/ 482246 w 1341792"/>
              <a:gd name="connsiteY27" fmla="*/ 17791 h 799236"/>
              <a:gd name="connsiteX28" fmla="*/ 461631 w 1341792"/>
              <a:gd name="connsiteY28" fmla="*/ 30393 h 799236"/>
              <a:gd name="connsiteX29" fmla="*/ 448014 w 1341792"/>
              <a:gd name="connsiteY29" fmla="*/ 53249 h 799236"/>
              <a:gd name="connsiteX30" fmla="*/ 420403 w 1341792"/>
              <a:gd name="connsiteY30" fmla="*/ 57079 h 799236"/>
              <a:gd name="connsiteX31" fmla="*/ 402163 w 1341792"/>
              <a:gd name="connsiteY31" fmla="*/ 97233 h 799236"/>
              <a:gd name="connsiteX32" fmla="*/ 410283 w 1341792"/>
              <a:gd name="connsiteY32" fmla="*/ 129726 h 799236"/>
              <a:gd name="connsiteX33" fmla="*/ 426775 w 1341792"/>
              <a:gd name="connsiteY33" fmla="*/ 144675 h 799236"/>
              <a:gd name="connsiteX34" fmla="*/ 418404 w 1341792"/>
              <a:gd name="connsiteY34" fmla="*/ 166049 h 799236"/>
              <a:gd name="connsiteX35" fmla="*/ 379800 w 1341792"/>
              <a:gd name="connsiteY35" fmla="*/ 161107 h 799236"/>
              <a:gd name="connsiteX36" fmla="*/ 324454 w 1341792"/>
              <a:gd name="connsiteY36" fmla="*/ 168767 h 799236"/>
              <a:gd name="connsiteX37" fmla="*/ 287723 w 1341792"/>
              <a:gd name="connsiteY37" fmla="*/ 178157 h 799236"/>
              <a:gd name="connsiteX38" fmla="*/ 225131 w 1341792"/>
              <a:gd name="connsiteY38" fmla="*/ 112676 h 799236"/>
              <a:gd name="connsiteX39" fmla="*/ 158666 w 1341792"/>
              <a:gd name="connsiteY39" fmla="*/ 78700 h 799236"/>
              <a:gd name="connsiteX40" fmla="*/ 98698 w 1341792"/>
              <a:gd name="connsiteY40" fmla="*/ 72152 h 799236"/>
              <a:gd name="connsiteX41" fmla="*/ 54346 w 1341792"/>
              <a:gd name="connsiteY41" fmla="*/ 89696 h 799236"/>
              <a:gd name="connsiteX42" fmla="*/ 0 w 1341792"/>
              <a:gd name="connsiteY42" fmla="*/ 142575 h 799236"/>
              <a:gd name="connsiteX43" fmla="*/ 999 w 1341792"/>
              <a:gd name="connsiteY43" fmla="*/ 149741 h 799236"/>
              <a:gd name="connsiteX44" fmla="*/ 15492 w 1341792"/>
              <a:gd name="connsiteY44" fmla="*/ 163208 h 799236"/>
              <a:gd name="connsiteX45" fmla="*/ 22363 w 1341792"/>
              <a:gd name="connsiteY45" fmla="*/ 176057 h 799236"/>
              <a:gd name="connsiteX46" fmla="*/ 37855 w 1341792"/>
              <a:gd name="connsiteY46" fmla="*/ 186929 h 799236"/>
              <a:gd name="connsiteX47" fmla="*/ 43727 w 1341792"/>
              <a:gd name="connsiteY47" fmla="*/ 202743 h 799236"/>
              <a:gd name="connsiteX48" fmla="*/ 64966 w 1341792"/>
              <a:gd name="connsiteY48" fmla="*/ 232395 h 799236"/>
              <a:gd name="connsiteX49" fmla="*/ 62092 w 1341792"/>
              <a:gd name="connsiteY49" fmla="*/ 259452 h 799236"/>
              <a:gd name="connsiteX50" fmla="*/ 51723 w 1341792"/>
              <a:gd name="connsiteY50" fmla="*/ 278849 h 799236"/>
              <a:gd name="connsiteX51" fmla="*/ 57720 w 1341792"/>
              <a:gd name="connsiteY51" fmla="*/ 324439 h 799236"/>
              <a:gd name="connsiteX52" fmla="*/ 68839 w 1341792"/>
              <a:gd name="connsiteY52" fmla="*/ 337782 h 799236"/>
              <a:gd name="connsiteX53" fmla="*/ 74086 w 1341792"/>
              <a:gd name="connsiteY53" fmla="*/ 351249 h 799236"/>
              <a:gd name="connsiteX54" fmla="*/ 107069 w 1341792"/>
              <a:gd name="connsiteY54" fmla="*/ 379294 h 799236"/>
              <a:gd name="connsiteX55" fmla="*/ 104570 w 1341792"/>
              <a:gd name="connsiteY55" fmla="*/ 367557 h 799236"/>
              <a:gd name="connsiteX56" fmla="*/ 94200 w 1341792"/>
              <a:gd name="connsiteY56" fmla="*/ 356932 h 799236"/>
              <a:gd name="connsiteX57" fmla="*/ 99323 w 1341792"/>
              <a:gd name="connsiteY57" fmla="*/ 350878 h 799236"/>
              <a:gd name="connsiteX58" fmla="*/ 126558 w 1341792"/>
              <a:gd name="connsiteY58" fmla="*/ 354214 h 799236"/>
              <a:gd name="connsiteX59" fmla="*/ 138677 w 1341792"/>
              <a:gd name="connsiteY59" fmla="*/ 345195 h 799236"/>
              <a:gd name="connsiteX60" fmla="*/ 146298 w 1341792"/>
              <a:gd name="connsiteY60" fmla="*/ 351496 h 799236"/>
              <a:gd name="connsiteX61" fmla="*/ 142550 w 1341792"/>
              <a:gd name="connsiteY61" fmla="*/ 369905 h 799236"/>
              <a:gd name="connsiteX62" fmla="*/ 148547 w 1341792"/>
              <a:gd name="connsiteY62" fmla="*/ 388684 h 799236"/>
              <a:gd name="connsiteX63" fmla="*/ 159666 w 1341792"/>
              <a:gd name="connsiteY63" fmla="*/ 383618 h 799236"/>
              <a:gd name="connsiteX64" fmla="*/ 172284 w 1341792"/>
              <a:gd name="connsiteY64" fmla="*/ 398815 h 799236"/>
              <a:gd name="connsiteX65" fmla="*/ 167162 w 1341792"/>
              <a:gd name="connsiteY65" fmla="*/ 406228 h 799236"/>
              <a:gd name="connsiteX66" fmla="*/ 151795 w 1341792"/>
              <a:gd name="connsiteY66" fmla="*/ 402274 h 799236"/>
              <a:gd name="connsiteX67" fmla="*/ 141300 w 1341792"/>
              <a:gd name="connsiteY67" fmla="*/ 405363 h 799236"/>
              <a:gd name="connsiteX68" fmla="*/ 133055 w 1341792"/>
              <a:gd name="connsiteY68" fmla="*/ 398444 h 799236"/>
              <a:gd name="connsiteX69" fmla="*/ 116563 w 1341792"/>
              <a:gd name="connsiteY69" fmla="*/ 413023 h 799236"/>
              <a:gd name="connsiteX70" fmla="*/ 118562 w 1341792"/>
              <a:gd name="connsiteY70" fmla="*/ 429208 h 799236"/>
              <a:gd name="connsiteX71" fmla="*/ 129182 w 1341792"/>
              <a:gd name="connsiteY71" fmla="*/ 443787 h 799236"/>
              <a:gd name="connsiteX72" fmla="*/ 126183 w 1341792"/>
              <a:gd name="connsiteY72" fmla="*/ 423030 h 799236"/>
              <a:gd name="connsiteX73" fmla="*/ 136678 w 1341792"/>
              <a:gd name="connsiteY73" fmla="*/ 419942 h 799236"/>
              <a:gd name="connsiteX74" fmla="*/ 144924 w 1341792"/>
              <a:gd name="connsiteY74" fmla="*/ 425501 h 799236"/>
              <a:gd name="connsiteX75" fmla="*/ 158916 w 1341792"/>
              <a:gd name="connsiteY75" fmla="*/ 426861 h 799236"/>
              <a:gd name="connsiteX76" fmla="*/ 169536 w 1341792"/>
              <a:gd name="connsiteY76" fmla="*/ 443416 h 799236"/>
              <a:gd name="connsiteX77" fmla="*/ 194522 w 1341792"/>
              <a:gd name="connsiteY77" fmla="*/ 454782 h 799236"/>
              <a:gd name="connsiteX78" fmla="*/ 201269 w 1341792"/>
              <a:gd name="connsiteY78" fmla="*/ 472821 h 799236"/>
              <a:gd name="connsiteX79" fmla="*/ 201769 w 1341792"/>
              <a:gd name="connsiteY79" fmla="*/ 499013 h 799236"/>
              <a:gd name="connsiteX80" fmla="*/ 205017 w 1341792"/>
              <a:gd name="connsiteY80" fmla="*/ 513345 h 799236"/>
              <a:gd name="connsiteX81" fmla="*/ 205766 w 1341792"/>
              <a:gd name="connsiteY81" fmla="*/ 559799 h 799236"/>
              <a:gd name="connsiteX82" fmla="*/ 215636 w 1341792"/>
              <a:gd name="connsiteY82" fmla="*/ 591427 h 799236"/>
              <a:gd name="connsiteX83" fmla="*/ 234501 w 1341792"/>
              <a:gd name="connsiteY83" fmla="*/ 635658 h 799236"/>
              <a:gd name="connsiteX84" fmla="*/ 252992 w 1341792"/>
              <a:gd name="connsiteY84" fmla="*/ 624044 h 799236"/>
              <a:gd name="connsiteX85" fmla="*/ 297968 w 1341792"/>
              <a:gd name="connsiteY85" fmla="*/ 619596 h 799236"/>
              <a:gd name="connsiteX86" fmla="*/ 304839 w 1341792"/>
              <a:gd name="connsiteY86" fmla="*/ 595010 h 799236"/>
              <a:gd name="connsiteX87" fmla="*/ 315958 w 1341792"/>
              <a:gd name="connsiteY87" fmla="*/ 579443 h 799236"/>
              <a:gd name="connsiteX88" fmla="*/ 331200 w 1341792"/>
              <a:gd name="connsiteY88" fmla="*/ 577466 h 799236"/>
              <a:gd name="connsiteX89" fmla="*/ 368056 w 1341792"/>
              <a:gd name="connsiteY89" fmla="*/ 543861 h 799236"/>
              <a:gd name="connsiteX90" fmla="*/ 406785 w 1341792"/>
              <a:gd name="connsiteY90" fmla="*/ 534966 h 799236"/>
              <a:gd name="connsiteX91" fmla="*/ 441517 w 1341792"/>
              <a:gd name="connsiteY91" fmla="*/ 540772 h 799236"/>
              <a:gd name="connsiteX92" fmla="*/ 447139 w 1341792"/>
              <a:gd name="connsiteY92" fmla="*/ 518904 h 799236"/>
              <a:gd name="connsiteX93" fmla="*/ 465504 w 1341792"/>
              <a:gd name="connsiteY93" fmla="*/ 513468 h 799236"/>
              <a:gd name="connsiteX94" fmla="*/ 483620 w 1341792"/>
              <a:gd name="connsiteY94" fmla="*/ 519893 h 799236"/>
              <a:gd name="connsiteX95" fmla="*/ 504109 w 1341792"/>
              <a:gd name="connsiteY95" fmla="*/ 518410 h 799236"/>
              <a:gd name="connsiteX96" fmla="*/ 538216 w 1341792"/>
              <a:gd name="connsiteY96" fmla="*/ 543120 h 799236"/>
              <a:gd name="connsiteX97" fmla="*/ 567076 w 1341792"/>
              <a:gd name="connsiteY97" fmla="*/ 549791 h 799236"/>
              <a:gd name="connsiteX98" fmla="*/ 622047 w 1341792"/>
              <a:gd name="connsiteY98" fmla="*/ 580802 h 799236"/>
              <a:gd name="connsiteX99" fmla="*/ 636539 w 1341792"/>
              <a:gd name="connsiteY99" fmla="*/ 579567 h 799236"/>
              <a:gd name="connsiteX100" fmla="*/ 650657 w 1341792"/>
              <a:gd name="connsiteY100" fmla="*/ 569188 h 799236"/>
              <a:gd name="connsiteX101" fmla="*/ 688262 w 1341792"/>
              <a:gd name="connsiteY101" fmla="*/ 582655 h 799236"/>
              <a:gd name="connsiteX102" fmla="*/ 707627 w 1341792"/>
              <a:gd name="connsiteY102" fmla="*/ 585003 h 799236"/>
              <a:gd name="connsiteX103" fmla="*/ 714123 w 1341792"/>
              <a:gd name="connsiteY103" fmla="*/ 611566 h 799236"/>
              <a:gd name="connsiteX104" fmla="*/ 722994 w 1341792"/>
              <a:gd name="connsiteY104" fmla="*/ 617867 h 799236"/>
              <a:gd name="connsiteX105" fmla="*/ 741984 w 1341792"/>
              <a:gd name="connsiteY105" fmla="*/ 612430 h 799236"/>
              <a:gd name="connsiteX106" fmla="*/ 776590 w 1341792"/>
              <a:gd name="connsiteY106" fmla="*/ 618855 h 799236"/>
              <a:gd name="connsiteX107" fmla="*/ 815944 w 1341792"/>
              <a:gd name="connsiteY107" fmla="*/ 668151 h 799236"/>
              <a:gd name="connsiteX108" fmla="*/ 856423 w 1341792"/>
              <a:gd name="connsiteY108" fmla="*/ 669757 h 799236"/>
              <a:gd name="connsiteX109" fmla="*/ 879911 w 1341792"/>
              <a:gd name="connsiteY109" fmla="*/ 678529 h 799236"/>
              <a:gd name="connsiteX110" fmla="*/ 895528 w 1341792"/>
              <a:gd name="connsiteY110" fmla="*/ 703486 h 799236"/>
              <a:gd name="connsiteX111" fmla="*/ 889531 w 1341792"/>
              <a:gd name="connsiteY111" fmla="*/ 717447 h 799236"/>
              <a:gd name="connsiteX112" fmla="*/ 898526 w 1341792"/>
              <a:gd name="connsiteY112" fmla="*/ 739315 h 799236"/>
              <a:gd name="connsiteX113" fmla="*/ 898401 w 1341792"/>
              <a:gd name="connsiteY113" fmla="*/ 753152 h 799236"/>
              <a:gd name="connsiteX114" fmla="*/ 906522 w 1341792"/>
              <a:gd name="connsiteY114" fmla="*/ 766990 h 799236"/>
              <a:gd name="connsiteX115" fmla="*/ 915392 w 1341792"/>
              <a:gd name="connsiteY115" fmla="*/ 763530 h 799236"/>
              <a:gd name="connsiteX116" fmla="*/ 936131 w 1341792"/>
              <a:gd name="connsiteY116" fmla="*/ 767855 h 799236"/>
              <a:gd name="connsiteX117" fmla="*/ 951123 w 1341792"/>
              <a:gd name="connsiteY117" fmla="*/ 778356 h 799236"/>
              <a:gd name="connsiteX118" fmla="*/ 966365 w 1341792"/>
              <a:gd name="connsiteY118" fmla="*/ 777739 h 799236"/>
              <a:gd name="connsiteX119" fmla="*/ 977734 w 1341792"/>
              <a:gd name="connsiteY119" fmla="*/ 766125 h 799236"/>
              <a:gd name="connsiteX120" fmla="*/ 993601 w 1341792"/>
              <a:gd name="connsiteY120" fmla="*/ 765384 h 799236"/>
              <a:gd name="connsiteX121" fmla="*/ 1014839 w 1341792"/>
              <a:gd name="connsiteY121" fmla="*/ 779592 h 799236"/>
              <a:gd name="connsiteX122" fmla="*/ 1020586 w 1341792"/>
              <a:gd name="connsiteY122" fmla="*/ 792441 h 799236"/>
              <a:gd name="connsiteX123" fmla="*/ 1028832 w 1341792"/>
              <a:gd name="connsiteY123" fmla="*/ 799236 h 799236"/>
              <a:gd name="connsiteX124" fmla="*/ 1037702 w 1341792"/>
              <a:gd name="connsiteY124" fmla="*/ 789105 h 799236"/>
              <a:gd name="connsiteX125" fmla="*/ 1063939 w 1341792"/>
              <a:gd name="connsiteY125" fmla="*/ 784040 h 799236"/>
              <a:gd name="connsiteX126" fmla="*/ 1076557 w 1341792"/>
              <a:gd name="connsiteY126" fmla="*/ 768472 h 799236"/>
              <a:gd name="connsiteX127" fmla="*/ 1078681 w 1341792"/>
              <a:gd name="connsiteY127" fmla="*/ 756488 h 799236"/>
              <a:gd name="connsiteX128" fmla="*/ 1090175 w 1341792"/>
              <a:gd name="connsiteY128" fmla="*/ 745616 h 799236"/>
              <a:gd name="connsiteX129" fmla="*/ 1084928 w 1341792"/>
              <a:gd name="connsiteY129" fmla="*/ 733385 h 799236"/>
              <a:gd name="connsiteX130" fmla="*/ 1112663 w 1341792"/>
              <a:gd name="connsiteY130" fmla="*/ 717076 h 799236"/>
              <a:gd name="connsiteX131" fmla="*/ 1148019 w 1341792"/>
              <a:gd name="connsiteY131" fmla="*/ 708428 h 799236"/>
              <a:gd name="connsiteX132" fmla="*/ 1151018 w 1341792"/>
              <a:gd name="connsiteY132" fmla="*/ 699162 h 799236"/>
              <a:gd name="connsiteX133" fmla="*/ 1164386 w 1341792"/>
              <a:gd name="connsiteY133" fmla="*/ 687425 h 799236"/>
              <a:gd name="connsiteX134" fmla="*/ 1178878 w 1341792"/>
              <a:gd name="connsiteY134" fmla="*/ 683595 h 799236"/>
              <a:gd name="connsiteX135" fmla="*/ 1183750 w 1341792"/>
              <a:gd name="connsiteY135" fmla="*/ 659132 h 799236"/>
              <a:gd name="connsiteX136" fmla="*/ 1183376 w 1341792"/>
              <a:gd name="connsiteY136" fmla="*/ 636152 h 799236"/>
              <a:gd name="connsiteX137" fmla="*/ 1203615 w 1341792"/>
              <a:gd name="connsiteY137" fmla="*/ 613048 h 799236"/>
              <a:gd name="connsiteX138" fmla="*/ 1202740 w 1341792"/>
              <a:gd name="connsiteY138" fmla="*/ 594145 h 799236"/>
              <a:gd name="connsiteX139" fmla="*/ 1193870 w 1341792"/>
              <a:gd name="connsiteY139" fmla="*/ 587968 h 799236"/>
              <a:gd name="connsiteX140" fmla="*/ 1194870 w 1341792"/>
              <a:gd name="connsiteY140" fmla="*/ 576478 h 799236"/>
              <a:gd name="connsiteX141" fmla="*/ 1203990 w 1341792"/>
              <a:gd name="connsiteY141" fmla="*/ 572030 h 799236"/>
              <a:gd name="connsiteX142" fmla="*/ 1213610 w 1341792"/>
              <a:gd name="connsiteY142" fmla="*/ 564494 h 799236"/>
              <a:gd name="connsiteX143" fmla="*/ 1237097 w 1341792"/>
              <a:gd name="connsiteY143" fmla="*/ 557204 h 799236"/>
              <a:gd name="connsiteX144" fmla="*/ 1244718 w 1341792"/>
              <a:gd name="connsiteY144" fmla="*/ 557204 h 799236"/>
              <a:gd name="connsiteX145" fmla="*/ 1271454 w 1341792"/>
              <a:gd name="connsiteY145" fmla="*/ 535954 h 799236"/>
              <a:gd name="connsiteX146" fmla="*/ 1292568 w 1341792"/>
              <a:gd name="connsiteY146" fmla="*/ 528665 h 799236"/>
              <a:gd name="connsiteX147" fmla="*/ 1311558 w 1341792"/>
              <a:gd name="connsiteY147" fmla="*/ 539043 h 799236"/>
              <a:gd name="connsiteX148" fmla="*/ 1331173 w 1341792"/>
              <a:gd name="connsiteY148" fmla="*/ 533607 h 799236"/>
              <a:gd name="connsiteX149" fmla="*/ 1338169 w 1341792"/>
              <a:gd name="connsiteY149" fmla="*/ 539907 h 799236"/>
              <a:gd name="connsiteX150" fmla="*/ 1341792 w 1341792"/>
              <a:gd name="connsiteY150" fmla="*/ 538672 h 79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1341792" h="799236">
                <a:moveTo>
                  <a:pt x="1341792" y="538672"/>
                </a:moveTo>
                <a:lnTo>
                  <a:pt x="1334921" y="498272"/>
                </a:lnTo>
                <a:lnTo>
                  <a:pt x="1335170" y="474674"/>
                </a:lnTo>
                <a:lnTo>
                  <a:pt x="1299689" y="452559"/>
                </a:lnTo>
                <a:lnTo>
                  <a:pt x="1285322" y="455771"/>
                </a:lnTo>
                <a:lnTo>
                  <a:pt x="1274203" y="444404"/>
                </a:lnTo>
                <a:lnTo>
                  <a:pt x="1224854" y="438598"/>
                </a:lnTo>
                <a:lnTo>
                  <a:pt x="1160763" y="399433"/>
                </a:lnTo>
                <a:lnTo>
                  <a:pt x="1090674" y="372252"/>
                </a:lnTo>
                <a:lnTo>
                  <a:pt x="1027833" y="330245"/>
                </a:lnTo>
                <a:lnTo>
                  <a:pt x="965241" y="294911"/>
                </a:lnTo>
                <a:lnTo>
                  <a:pt x="932758" y="281814"/>
                </a:lnTo>
                <a:lnTo>
                  <a:pt x="910020" y="244750"/>
                </a:lnTo>
                <a:lnTo>
                  <a:pt x="902274" y="221523"/>
                </a:lnTo>
                <a:lnTo>
                  <a:pt x="883284" y="209168"/>
                </a:lnTo>
                <a:lnTo>
                  <a:pt x="865044" y="156165"/>
                </a:lnTo>
                <a:lnTo>
                  <a:pt x="825439" y="130344"/>
                </a:lnTo>
                <a:lnTo>
                  <a:pt x="806824" y="128491"/>
                </a:lnTo>
                <a:lnTo>
                  <a:pt x="792582" y="138374"/>
                </a:lnTo>
                <a:lnTo>
                  <a:pt x="737111" y="113171"/>
                </a:lnTo>
                <a:lnTo>
                  <a:pt x="666648" y="79442"/>
                </a:lnTo>
                <a:lnTo>
                  <a:pt x="659152" y="58686"/>
                </a:lnTo>
                <a:lnTo>
                  <a:pt x="604806" y="29528"/>
                </a:lnTo>
                <a:lnTo>
                  <a:pt x="541339" y="2100"/>
                </a:lnTo>
                <a:lnTo>
                  <a:pt x="498737" y="0"/>
                </a:lnTo>
                <a:lnTo>
                  <a:pt x="515603" y="21621"/>
                </a:lnTo>
                <a:lnTo>
                  <a:pt x="505233" y="28540"/>
                </a:lnTo>
                <a:lnTo>
                  <a:pt x="482246" y="17791"/>
                </a:lnTo>
                <a:lnTo>
                  <a:pt x="461631" y="30393"/>
                </a:lnTo>
                <a:lnTo>
                  <a:pt x="448014" y="53249"/>
                </a:lnTo>
                <a:lnTo>
                  <a:pt x="420403" y="57079"/>
                </a:lnTo>
                <a:lnTo>
                  <a:pt x="402163" y="97233"/>
                </a:lnTo>
                <a:lnTo>
                  <a:pt x="410283" y="129726"/>
                </a:lnTo>
                <a:lnTo>
                  <a:pt x="426775" y="144675"/>
                </a:lnTo>
                <a:lnTo>
                  <a:pt x="418404" y="166049"/>
                </a:lnTo>
                <a:lnTo>
                  <a:pt x="379800" y="161107"/>
                </a:lnTo>
                <a:lnTo>
                  <a:pt x="324454" y="168767"/>
                </a:lnTo>
                <a:lnTo>
                  <a:pt x="287723" y="178157"/>
                </a:lnTo>
                <a:lnTo>
                  <a:pt x="225131" y="112676"/>
                </a:lnTo>
                <a:lnTo>
                  <a:pt x="158666" y="78700"/>
                </a:lnTo>
                <a:lnTo>
                  <a:pt x="98698" y="72152"/>
                </a:lnTo>
                <a:lnTo>
                  <a:pt x="54346" y="89696"/>
                </a:lnTo>
                <a:lnTo>
                  <a:pt x="0" y="142575"/>
                </a:lnTo>
                <a:lnTo>
                  <a:pt x="999" y="149741"/>
                </a:lnTo>
                <a:lnTo>
                  <a:pt x="15492" y="163208"/>
                </a:lnTo>
                <a:lnTo>
                  <a:pt x="22363" y="176057"/>
                </a:lnTo>
                <a:lnTo>
                  <a:pt x="37855" y="186929"/>
                </a:lnTo>
                <a:lnTo>
                  <a:pt x="43727" y="202743"/>
                </a:lnTo>
                <a:lnTo>
                  <a:pt x="64966" y="232395"/>
                </a:lnTo>
                <a:lnTo>
                  <a:pt x="62092" y="259452"/>
                </a:lnTo>
                <a:lnTo>
                  <a:pt x="51723" y="278849"/>
                </a:lnTo>
                <a:lnTo>
                  <a:pt x="57720" y="324439"/>
                </a:lnTo>
                <a:lnTo>
                  <a:pt x="68839" y="337782"/>
                </a:lnTo>
                <a:lnTo>
                  <a:pt x="74086" y="351249"/>
                </a:lnTo>
                <a:lnTo>
                  <a:pt x="107069" y="379294"/>
                </a:lnTo>
                <a:lnTo>
                  <a:pt x="104570" y="367557"/>
                </a:lnTo>
                <a:lnTo>
                  <a:pt x="94200" y="356932"/>
                </a:lnTo>
                <a:lnTo>
                  <a:pt x="99323" y="350878"/>
                </a:lnTo>
                <a:lnTo>
                  <a:pt x="126558" y="354214"/>
                </a:lnTo>
                <a:lnTo>
                  <a:pt x="138677" y="345195"/>
                </a:lnTo>
                <a:lnTo>
                  <a:pt x="146298" y="351496"/>
                </a:lnTo>
                <a:lnTo>
                  <a:pt x="142550" y="369905"/>
                </a:lnTo>
                <a:lnTo>
                  <a:pt x="148547" y="388684"/>
                </a:lnTo>
                <a:lnTo>
                  <a:pt x="159666" y="383618"/>
                </a:lnTo>
                <a:lnTo>
                  <a:pt x="172284" y="398815"/>
                </a:lnTo>
                <a:lnTo>
                  <a:pt x="167162" y="406228"/>
                </a:lnTo>
                <a:lnTo>
                  <a:pt x="151795" y="402274"/>
                </a:lnTo>
                <a:lnTo>
                  <a:pt x="141300" y="405363"/>
                </a:lnTo>
                <a:lnTo>
                  <a:pt x="133055" y="398444"/>
                </a:lnTo>
                <a:lnTo>
                  <a:pt x="116563" y="413023"/>
                </a:lnTo>
                <a:lnTo>
                  <a:pt x="118562" y="429208"/>
                </a:lnTo>
                <a:lnTo>
                  <a:pt x="129182" y="443787"/>
                </a:lnTo>
                <a:lnTo>
                  <a:pt x="126183" y="423030"/>
                </a:lnTo>
                <a:lnTo>
                  <a:pt x="136678" y="419942"/>
                </a:lnTo>
                <a:lnTo>
                  <a:pt x="144924" y="425501"/>
                </a:lnTo>
                <a:lnTo>
                  <a:pt x="158916" y="426861"/>
                </a:lnTo>
                <a:lnTo>
                  <a:pt x="169536" y="443416"/>
                </a:lnTo>
                <a:lnTo>
                  <a:pt x="194522" y="454782"/>
                </a:lnTo>
                <a:lnTo>
                  <a:pt x="201269" y="472821"/>
                </a:lnTo>
                <a:lnTo>
                  <a:pt x="201769" y="499013"/>
                </a:lnTo>
                <a:lnTo>
                  <a:pt x="205017" y="513345"/>
                </a:lnTo>
                <a:lnTo>
                  <a:pt x="205766" y="559799"/>
                </a:lnTo>
                <a:lnTo>
                  <a:pt x="215636" y="591427"/>
                </a:lnTo>
                <a:lnTo>
                  <a:pt x="234501" y="635658"/>
                </a:lnTo>
                <a:lnTo>
                  <a:pt x="252992" y="624044"/>
                </a:lnTo>
                <a:lnTo>
                  <a:pt x="297968" y="619596"/>
                </a:lnTo>
                <a:lnTo>
                  <a:pt x="304839" y="595010"/>
                </a:lnTo>
                <a:lnTo>
                  <a:pt x="315958" y="579443"/>
                </a:lnTo>
                <a:lnTo>
                  <a:pt x="331200" y="577466"/>
                </a:lnTo>
                <a:lnTo>
                  <a:pt x="368056" y="543861"/>
                </a:lnTo>
                <a:lnTo>
                  <a:pt x="406785" y="534966"/>
                </a:lnTo>
                <a:lnTo>
                  <a:pt x="441517" y="540772"/>
                </a:lnTo>
                <a:lnTo>
                  <a:pt x="447139" y="518904"/>
                </a:lnTo>
                <a:lnTo>
                  <a:pt x="465504" y="513468"/>
                </a:lnTo>
                <a:lnTo>
                  <a:pt x="483620" y="519893"/>
                </a:lnTo>
                <a:lnTo>
                  <a:pt x="504109" y="518410"/>
                </a:lnTo>
                <a:lnTo>
                  <a:pt x="538216" y="543120"/>
                </a:lnTo>
                <a:lnTo>
                  <a:pt x="567076" y="549791"/>
                </a:lnTo>
                <a:lnTo>
                  <a:pt x="622047" y="580802"/>
                </a:lnTo>
                <a:lnTo>
                  <a:pt x="636539" y="579567"/>
                </a:lnTo>
                <a:lnTo>
                  <a:pt x="650657" y="569188"/>
                </a:lnTo>
                <a:lnTo>
                  <a:pt x="688262" y="582655"/>
                </a:lnTo>
                <a:lnTo>
                  <a:pt x="707627" y="585003"/>
                </a:lnTo>
                <a:lnTo>
                  <a:pt x="714123" y="611566"/>
                </a:lnTo>
                <a:lnTo>
                  <a:pt x="722994" y="617867"/>
                </a:lnTo>
                <a:lnTo>
                  <a:pt x="741984" y="612430"/>
                </a:lnTo>
                <a:lnTo>
                  <a:pt x="776590" y="618855"/>
                </a:lnTo>
                <a:lnTo>
                  <a:pt x="815944" y="668151"/>
                </a:lnTo>
                <a:lnTo>
                  <a:pt x="856423" y="669757"/>
                </a:lnTo>
                <a:lnTo>
                  <a:pt x="879911" y="678529"/>
                </a:lnTo>
                <a:lnTo>
                  <a:pt x="895528" y="703486"/>
                </a:lnTo>
                <a:lnTo>
                  <a:pt x="889531" y="717447"/>
                </a:lnTo>
                <a:lnTo>
                  <a:pt x="898526" y="739315"/>
                </a:lnTo>
                <a:lnTo>
                  <a:pt x="898401" y="753152"/>
                </a:lnTo>
                <a:lnTo>
                  <a:pt x="906522" y="766990"/>
                </a:lnTo>
                <a:lnTo>
                  <a:pt x="915392" y="763530"/>
                </a:lnTo>
                <a:lnTo>
                  <a:pt x="936131" y="767855"/>
                </a:lnTo>
                <a:lnTo>
                  <a:pt x="951123" y="778356"/>
                </a:lnTo>
                <a:lnTo>
                  <a:pt x="966365" y="777739"/>
                </a:lnTo>
                <a:lnTo>
                  <a:pt x="977734" y="766125"/>
                </a:lnTo>
                <a:lnTo>
                  <a:pt x="993601" y="765384"/>
                </a:lnTo>
                <a:lnTo>
                  <a:pt x="1014839" y="779592"/>
                </a:lnTo>
                <a:lnTo>
                  <a:pt x="1020586" y="792441"/>
                </a:lnTo>
                <a:lnTo>
                  <a:pt x="1028832" y="799236"/>
                </a:lnTo>
                <a:lnTo>
                  <a:pt x="1037702" y="789105"/>
                </a:lnTo>
                <a:lnTo>
                  <a:pt x="1063939" y="784040"/>
                </a:lnTo>
                <a:lnTo>
                  <a:pt x="1076557" y="768472"/>
                </a:lnTo>
                <a:lnTo>
                  <a:pt x="1078681" y="756488"/>
                </a:lnTo>
                <a:lnTo>
                  <a:pt x="1090175" y="745616"/>
                </a:lnTo>
                <a:lnTo>
                  <a:pt x="1084928" y="733385"/>
                </a:lnTo>
                <a:lnTo>
                  <a:pt x="1112663" y="717076"/>
                </a:lnTo>
                <a:lnTo>
                  <a:pt x="1148019" y="708428"/>
                </a:lnTo>
                <a:lnTo>
                  <a:pt x="1151018" y="699162"/>
                </a:lnTo>
                <a:lnTo>
                  <a:pt x="1164386" y="687425"/>
                </a:lnTo>
                <a:lnTo>
                  <a:pt x="1178878" y="683595"/>
                </a:lnTo>
                <a:lnTo>
                  <a:pt x="1183750" y="659132"/>
                </a:lnTo>
                <a:lnTo>
                  <a:pt x="1183376" y="636152"/>
                </a:lnTo>
                <a:lnTo>
                  <a:pt x="1203615" y="613048"/>
                </a:lnTo>
                <a:lnTo>
                  <a:pt x="1202740" y="594145"/>
                </a:lnTo>
                <a:lnTo>
                  <a:pt x="1193870" y="587968"/>
                </a:lnTo>
                <a:lnTo>
                  <a:pt x="1194870" y="576478"/>
                </a:lnTo>
                <a:lnTo>
                  <a:pt x="1203990" y="572030"/>
                </a:lnTo>
                <a:lnTo>
                  <a:pt x="1213610" y="564494"/>
                </a:lnTo>
                <a:lnTo>
                  <a:pt x="1237097" y="557204"/>
                </a:lnTo>
                <a:lnTo>
                  <a:pt x="1244718" y="557204"/>
                </a:lnTo>
                <a:lnTo>
                  <a:pt x="1271454" y="535954"/>
                </a:lnTo>
                <a:lnTo>
                  <a:pt x="1292568" y="528665"/>
                </a:lnTo>
                <a:lnTo>
                  <a:pt x="1311558" y="539043"/>
                </a:lnTo>
                <a:lnTo>
                  <a:pt x="1331173" y="533607"/>
                </a:lnTo>
                <a:lnTo>
                  <a:pt x="1338169" y="539907"/>
                </a:lnTo>
                <a:lnTo>
                  <a:pt x="1341792" y="538672"/>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9" name="Graphic 121">
            <a:extLst>
              <a:ext uri="{FF2B5EF4-FFF2-40B4-BE49-F238E27FC236}">
                <a16:creationId xmlns:a16="http://schemas.microsoft.com/office/drawing/2014/main" id="{E114FCFA-6A28-A977-CA71-40B15060F364}"/>
              </a:ext>
            </a:extLst>
          </p:cNvPr>
          <p:cNvSpPr/>
          <p:nvPr/>
        </p:nvSpPr>
        <p:spPr>
          <a:xfrm rot="1141104">
            <a:off x="11036189" y="5576665"/>
            <a:ext cx="1072808" cy="1030518"/>
          </a:xfrm>
          <a:custGeom>
            <a:avLst/>
            <a:gdLst>
              <a:gd name="connsiteX0" fmla="*/ 1042824 w 1072808"/>
              <a:gd name="connsiteY0" fmla="*/ 117989 h 1030518"/>
              <a:gd name="connsiteX1" fmla="*/ 1030956 w 1072808"/>
              <a:gd name="connsiteY1" fmla="*/ 129108 h 1030518"/>
              <a:gd name="connsiteX2" fmla="*/ 1027707 w 1072808"/>
              <a:gd name="connsiteY2" fmla="*/ 146034 h 1030518"/>
              <a:gd name="connsiteX3" fmla="*/ 1013465 w 1072808"/>
              <a:gd name="connsiteY3" fmla="*/ 159748 h 1030518"/>
              <a:gd name="connsiteX4" fmla="*/ 982356 w 1072808"/>
              <a:gd name="connsiteY4" fmla="*/ 175563 h 1030518"/>
              <a:gd name="connsiteX5" fmla="*/ 979483 w 1072808"/>
              <a:gd name="connsiteY5" fmla="*/ 184829 h 1030518"/>
              <a:gd name="connsiteX6" fmla="*/ 964116 w 1072808"/>
              <a:gd name="connsiteY6" fmla="*/ 197307 h 1030518"/>
              <a:gd name="connsiteX7" fmla="*/ 941003 w 1072808"/>
              <a:gd name="connsiteY7" fmla="*/ 198295 h 1030518"/>
              <a:gd name="connsiteX8" fmla="*/ 924137 w 1072808"/>
              <a:gd name="connsiteY8" fmla="*/ 192365 h 1030518"/>
              <a:gd name="connsiteX9" fmla="*/ 923637 w 1072808"/>
              <a:gd name="connsiteY9" fmla="*/ 180010 h 1030518"/>
              <a:gd name="connsiteX10" fmla="*/ 908895 w 1072808"/>
              <a:gd name="connsiteY10" fmla="*/ 162343 h 1030518"/>
              <a:gd name="connsiteX11" fmla="*/ 906147 w 1072808"/>
              <a:gd name="connsiteY11" fmla="*/ 127008 h 1030518"/>
              <a:gd name="connsiteX12" fmla="*/ 902648 w 1072808"/>
              <a:gd name="connsiteY12" fmla="*/ 108846 h 1030518"/>
              <a:gd name="connsiteX13" fmla="*/ 903023 w 1072808"/>
              <a:gd name="connsiteY13" fmla="*/ 85866 h 1030518"/>
              <a:gd name="connsiteX14" fmla="*/ 895652 w 1072808"/>
              <a:gd name="connsiteY14" fmla="*/ 69187 h 1030518"/>
              <a:gd name="connsiteX15" fmla="*/ 880535 w 1072808"/>
              <a:gd name="connsiteY15" fmla="*/ 70546 h 1030518"/>
              <a:gd name="connsiteX16" fmla="*/ 874413 w 1072808"/>
              <a:gd name="connsiteY16" fmla="*/ 53744 h 1030518"/>
              <a:gd name="connsiteX17" fmla="*/ 877537 w 1072808"/>
              <a:gd name="connsiteY17" fmla="*/ 32617 h 1030518"/>
              <a:gd name="connsiteX18" fmla="*/ 876912 w 1072808"/>
              <a:gd name="connsiteY18" fmla="*/ 18285 h 1030518"/>
              <a:gd name="connsiteX19" fmla="*/ 859921 w 1072808"/>
              <a:gd name="connsiteY19" fmla="*/ 10502 h 1030518"/>
              <a:gd name="connsiteX20" fmla="*/ 843679 w 1072808"/>
              <a:gd name="connsiteY20" fmla="*/ 0 h 1030518"/>
              <a:gd name="connsiteX21" fmla="*/ 821816 w 1072808"/>
              <a:gd name="connsiteY21" fmla="*/ 988 h 1030518"/>
              <a:gd name="connsiteX22" fmla="*/ 813321 w 1072808"/>
              <a:gd name="connsiteY22" fmla="*/ 17667 h 1030518"/>
              <a:gd name="connsiteX23" fmla="*/ 811072 w 1072808"/>
              <a:gd name="connsiteY23" fmla="*/ 43983 h 1030518"/>
              <a:gd name="connsiteX24" fmla="*/ 800327 w 1072808"/>
              <a:gd name="connsiteY24" fmla="*/ 54238 h 1030518"/>
              <a:gd name="connsiteX25" fmla="*/ 792956 w 1072808"/>
              <a:gd name="connsiteY25" fmla="*/ 67087 h 1030518"/>
              <a:gd name="connsiteX26" fmla="*/ 798578 w 1072808"/>
              <a:gd name="connsiteY26" fmla="*/ 91673 h 1030518"/>
              <a:gd name="connsiteX27" fmla="*/ 786959 w 1072808"/>
              <a:gd name="connsiteY27" fmla="*/ 111811 h 1030518"/>
              <a:gd name="connsiteX28" fmla="*/ 767095 w 1072808"/>
              <a:gd name="connsiteY28" fmla="*/ 114653 h 1030518"/>
              <a:gd name="connsiteX29" fmla="*/ 764097 w 1072808"/>
              <a:gd name="connsiteY29" fmla="*/ 104893 h 1030518"/>
              <a:gd name="connsiteX30" fmla="*/ 754851 w 1072808"/>
              <a:gd name="connsiteY30" fmla="*/ 105263 h 1030518"/>
              <a:gd name="connsiteX31" fmla="*/ 747980 w 1072808"/>
              <a:gd name="connsiteY31" fmla="*/ 115394 h 1030518"/>
              <a:gd name="connsiteX32" fmla="*/ 728365 w 1072808"/>
              <a:gd name="connsiteY32" fmla="*/ 121572 h 1030518"/>
              <a:gd name="connsiteX33" fmla="*/ 727616 w 1072808"/>
              <a:gd name="connsiteY33" fmla="*/ 133927 h 1030518"/>
              <a:gd name="connsiteX34" fmla="*/ 736611 w 1072808"/>
              <a:gd name="connsiteY34" fmla="*/ 142081 h 1030518"/>
              <a:gd name="connsiteX35" fmla="*/ 737860 w 1072808"/>
              <a:gd name="connsiteY35" fmla="*/ 156536 h 1030518"/>
              <a:gd name="connsiteX36" fmla="*/ 706002 w 1072808"/>
              <a:gd name="connsiteY36" fmla="*/ 155177 h 1030518"/>
              <a:gd name="connsiteX37" fmla="*/ 695508 w 1072808"/>
              <a:gd name="connsiteY37" fmla="*/ 142575 h 1030518"/>
              <a:gd name="connsiteX38" fmla="*/ 686013 w 1072808"/>
              <a:gd name="connsiteY38" fmla="*/ 136398 h 1030518"/>
              <a:gd name="connsiteX39" fmla="*/ 675893 w 1072808"/>
              <a:gd name="connsiteY39" fmla="*/ 146652 h 1030518"/>
              <a:gd name="connsiteX40" fmla="*/ 665399 w 1072808"/>
              <a:gd name="connsiteY40" fmla="*/ 149123 h 1030518"/>
              <a:gd name="connsiteX41" fmla="*/ 656029 w 1072808"/>
              <a:gd name="connsiteY41" fmla="*/ 163949 h 1030518"/>
              <a:gd name="connsiteX42" fmla="*/ 636789 w 1072808"/>
              <a:gd name="connsiteY42" fmla="*/ 175810 h 1030518"/>
              <a:gd name="connsiteX43" fmla="*/ 606555 w 1072808"/>
              <a:gd name="connsiteY43" fmla="*/ 183717 h 1030518"/>
              <a:gd name="connsiteX44" fmla="*/ 592437 w 1072808"/>
              <a:gd name="connsiteY44" fmla="*/ 178404 h 1030518"/>
              <a:gd name="connsiteX45" fmla="*/ 571573 w 1072808"/>
              <a:gd name="connsiteY45" fmla="*/ 153694 h 1030518"/>
              <a:gd name="connsiteX46" fmla="*/ 555582 w 1072808"/>
              <a:gd name="connsiteY46" fmla="*/ 153077 h 1030518"/>
              <a:gd name="connsiteX47" fmla="*/ 540964 w 1072808"/>
              <a:gd name="connsiteY47" fmla="*/ 167408 h 1030518"/>
              <a:gd name="connsiteX48" fmla="*/ 528471 w 1072808"/>
              <a:gd name="connsiteY48" fmla="*/ 167408 h 1030518"/>
              <a:gd name="connsiteX49" fmla="*/ 516477 w 1072808"/>
              <a:gd name="connsiteY49" fmla="*/ 151471 h 1030518"/>
              <a:gd name="connsiteX50" fmla="*/ 496238 w 1072808"/>
              <a:gd name="connsiteY50" fmla="*/ 143193 h 1030518"/>
              <a:gd name="connsiteX51" fmla="*/ 466878 w 1072808"/>
              <a:gd name="connsiteY51" fmla="*/ 152335 h 1030518"/>
              <a:gd name="connsiteX52" fmla="*/ 459882 w 1072808"/>
              <a:gd name="connsiteY52" fmla="*/ 146034 h 1030518"/>
              <a:gd name="connsiteX53" fmla="*/ 440268 w 1072808"/>
              <a:gd name="connsiteY53" fmla="*/ 151471 h 1030518"/>
              <a:gd name="connsiteX54" fmla="*/ 421278 w 1072808"/>
              <a:gd name="connsiteY54" fmla="*/ 141092 h 1030518"/>
              <a:gd name="connsiteX55" fmla="*/ 400039 w 1072808"/>
              <a:gd name="connsiteY55" fmla="*/ 148505 h 1030518"/>
              <a:gd name="connsiteX56" fmla="*/ 373428 w 1072808"/>
              <a:gd name="connsiteY56" fmla="*/ 169632 h 1030518"/>
              <a:gd name="connsiteX57" fmla="*/ 365807 w 1072808"/>
              <a:gd name="connsiteY57" fmla="*/ 169632 h 1030518"/>
              <a:gd name="connsiteX58" fmla="*/ 342319 w 1072808"/>
              <a:gd name="connsiteY58" fmla="*/ 176922 h 1030518"/>
              <a:gd name="connsiteX59" fmla="*/ 332699 w 1072808"/>
              <a:gd name="connsiteY59" fmla="*/ 184458 h 1030518"/>
              <a:gd name="connsiteX60" fmla="*/ 323579 w 1072808"/>
              <a:gd name="connsiteY60" fmla="*/ 188906 h 1030518"/>
              <a:gd name="connsiteX61" fmla="*/ 322580 w 1072808"/>
              <a:gd name="connsiteY61" fmla="*/ 200396 h 1030518"/>
              <a:gd name="connsiteX62" fmla="*/ 331450 w 1072808"/>
              <a:gd name="connsiteY62" fmla="*/ 206573 h 1030518"/>
              <a:gd name="connsiteX63" fmla="*/ 332325 w 1072808"/>
              <a:gd name="connsiteY63" fmla="*/ 225476 h 1030518"/>
              <a:gd name="connsiteX64" fmla="*/ 312085 w 1072808"/>
              <a:gd name="connsiteY64" fmla="*/ 248580 h 1030518"/>
              <a:gd name="connsiteX65" fmla="*/ 312460 w 1072808"/>
              <a:gd name="connsiteY65" fmla="*/ 271560 h 1030518"/>
              <a:gd name="connsiteX66" fmla="*/ 307588 w 1072808"/>
              <a:gd name="connsiteY66" fmla="*/ 296022 h 1030518"/>
              <a:gd name="connsiteX67" fmla="*/ 293095 w 1072808"/>
              <a:gd name="connsiteY67" fmla="*/ 299852 h 1030518"/>
              <a:gd name="connsiteX68" fmla="*/ 279727 w 1072808"/>
              <a:gd name="connsiteY68" fmla="*/ 311590 h 1030518"/>
              <a:gd name="connsiteX69" fmla="*/ 276729 w 1072808"/>
              <a:gd name="connsiteY69" fmla="*/ 320856 h 1030518"/>
              <a:gd name="connsiteX70" fmla="*/ 241373 w 1072808"/>
              <a:gd name="connsiteY70" fmla="*/ 329504 h 1030518"/>
              <a:gd name="connsiteX71" fmla="*/ 213637 w 1072808"/>
              <a:gd name="connsiteY71" fmla="*/ 345812 h 1030518"/>
              <a:gd name="connsiteX72" fmla="*/ 218759 w 1072808"/>
              <a:gd name="connsiteY72" fmla="*/ 358044 h 1030518"/>
              <a:gd name="connsiteX73" fmla="*/ 207390 w 1072808"/>
              <a:gd name="connsiteY73" fmla="*/ 368916 h 1030518"/>
              <a:gd name="connsiteX74" fmla="*/ 205267 w 1072808"/>
              <a:gd name="connsiteY74" fmla="*/ 380900 h 1030518"/>
              <a:gd name="connsiteX75" fmla="*/ 192648 w 1072808"/>
              <a:gd name="connsiteY75" fmla="*/ 396467 h 1030518"/>
              <a:gd name="connsiteX76" fmla="*/ 166412 w 1072808"/>
              <a:gd name="connsiteY76" fmla="*/ 401533 h 1030518"/>
              <a:gd name="connsiteX77" fmla="*/ 157542 w 1072808"/>
              <a:gd name="connsiteY77" fmla="*/ 411664 h 1030518"/>
              <a:gd name="connsiteX78" fmla="*/ 149296 w 1072808"/>
              <a:gd name="connsiteY78" fmla="*/ 404869 h 1030518"/>
              <a:gd name="connsiteX79" fmla="*/ 143549 w 1072808"/>
              <a:gd name="connsiteY79" fmla="*/ 392020 h 1030518"/>
              <a:gd name="connsiteX80" fmla="*/ 122310 w 1072808"/>
              <a:gd name="connsiteY80" fmla="*/ 377812 h 1030518"/>
              <a:gd name="connsiteX81" fmla="*/ 106444 w 1072808"/>
              <a:gd name="connsiteY81" fmla="*/ 378553 h 1030518"/>
              <a:gd name="connsiteX82" fmla="*/ 95075 w 1072808"/>
              <a:gd name="connsiteY82" fmla="*/ 390166 h 1030518"/>
              <a:gd name="connsiteX83" fmla="*/ 79833 w 1072808"/>
              <a:gd name="connsiteY83" fmla="*/ 390784 h 1030518"/>
              <a:gd name="connsiteX84" fmla="*/ 64841 w 1072808"/>
              <a:gd name="connsiteY84" fmla="*/ 380283 h 1030518"/>
              <a:gd name="connsiteX85" fmla="*/ 44102 w 1072808"/>
              <a:gd name="connsiteY85" fmla="*/ 375958 h 1030518"/>
              <a:gd name="connsiteX86" fmla="*/ 35231 w 1072808"/>
              <a:gd name="connsiteY86" fmla="*/ 379418 h 1030518"/>
              <a:gd name="connsiteX87" fmla="*/ 36356 w 1072808"/>
              <a:gd name="connsiteY87" fmla="*/ 381518 h 1030518"/>
              <a:gd name="connsiteX88" fmla="*/ 36231 w 1072808"/>
              <a:gd name="connsiteY88" fmla="*/ 407093 h 1030518"/>
              <a:gd name="connsiteX89" fmla="*/ 38730 w 1072808"/>
              <a:gd name="connsiteY89" fmla="*/ 419447 h 1030518"/>
              <a:gd name="connsiteX90" fmla="*/ 32733 w 1072808"/>
              <a:gd name="connsiteY90" fmla="*/ 433408 h 1030518"/>
              <a:gd name="connsiteX91" fmla="*/ 45226 w 1072808"/>
              <a:gd name="connsiteY91" fmla="*/ 448605 h 1030518"/>
              <a:gd name="connsiteX92" fmla="*/ 40853 w 1072808"/>
              <a:gd name="connsiteY92" fmla="*/ 453300 h 1030518"/>
              <a:gd name="connsiteX93" fmla="*/ 42727 w 1072808"/>
              <a:gd name="connsiteY93" fmla="*/ 465037 h 1030518"/>
              <a:gd name="connsiteX94" fmla="*/ 19615 w 1072808"/>
              <a:gd name="connsiteY94" fmla="*/ 481839 h 1030518"/>
              <a:gd name="connsiteX95" fmla="*/ 0 w 1072808"/>
              <a:gd name="connsiteY95" fmla="*/ 487893 h 1030518"/>
              <a:gd name="connsiteX96" fmla="*/ 8496 w 1072808"/>
              <a:gd name="connsiteY96" fmla="*/ 499878 h 1030518"/>
              <a:gd name="connsiteX97" fmla="*/ 24112 w 1072808"/>
              <a:gd name="connsiteY97" fmla="*/ 510997 h 1030518"/>
              <a:gd name="connsiteX98" fmla="*/ 7996 w 1072808"/>
              <a:gd name="connsiteY98" fmla="*/ 535954 h 1030518"/>
              <a:gd name="connsiteX99" fmla="*/ 12868 w 1072808"/>
              <a:gd name="connsiteY99" fmla="*/ 539660 h 1030518"/>
              <a:gd name="connsiteX100" fmla="*/ 20239 w 1072808"/>
              <a:gd name="connsiteY100" fmla="*/ 572153 h 1030518"/>
              <a:gd name="connsiteX101" fmla="*/ 20989 w 1072808"/>
              <a:gd name="connsiteY101" fmla="*/ 589821 h 1030518"/>
              <a:gd name="connsiteX102" fmla="*/ 52347 w 1072808"/>
              <a:gd name="connsiteY102" fmla="*/ 595628 h 1030518"/>
              <a:gd name="connsiteX103" fmla="*/ 60343 w 1072808"/>
              <a:gd name="connsiteY103" fmla="*/ 595257 h 1030518"/>
              <a:gd name="connsiteX104" fmla="*/ 33357 w 1072808"/>
              <a:gd name="connsiteY104" fmla="*/ 631086 h 1030518"/>
              <a:gd name="connsiteX105" fmla="*/ 29734 w 1072808"/>
              <a:gd name="connsiteY105" fmla="*/ 654931 h 1030518"/>
              <a:gd name="connsiteX106" fmla="*/ 56220 w 1072808"/>
              <a:gd name="connsiteY106" fmla="*/ 700891 h 1030518"/>
              <a:gd name="connsiteX107" fmla="*/ 71337 w 1072808"/>
              <a:gd name="connsiteY107" fmla="*/ 742774 h 1030518"/>
              <a:gd name="connsiteX108" fmla="*/ 65340 w 1072808"/>
              <a:gd name="connsiteY108" fmla="*/ 755500 h 1030518"/>
              <a:gd name="connsiteX109" fmla="*/ 75210 w 1072808"/>
              <a:gd name="connsiteY109" fmla="*/ 771437 h 1030518"/>
              <a:gd name="connsiteX110" fmla="*/ 79333 w 1072808"/>
              <a:gd name="connsiteY110" fmla="*/ 804672 h 1030518"/>
              <a:gd name="connsiteX111" fmla="*/ 159416 w 1072808"/>
              <a:gd name="connsiteY111" fmla="*/ 802572 h 1030518"/>
              <a:gd name="connsiteX112" fmla="*/ 175282 w 1072808"/>
              <a:gd name="connsiteY112" fmla="*/ 833335 h 1030518"/>
              <a:gd name="connsiteX113" fmla="*/ 174408 w 1072808"/>
              <a:gd name="connsiteY113" fmla="*/ 858292 h 1030518"/>
              <a:gd name="connsiteX114" fmla="*/ 185152 w 1072808"/>
              <a:gd name="connsiteY114" fmla="*/ 893874 h 1030518"/>
              <a:gd name="connsiteX115" fmla="*/ 178406 w 1072808"/>
              <a:gd name="connsiteY115" fmla="*/ 905240 h 1030518"/>
              <a:gd name="connsiteX116" fmla="*/ 113940 w 1072808"/>
              <a:gd name="connsiteY116" fmla="*/ 1000620 h 1030518"/>
              <a:gd name="connsiteX117" fmla="*/ 240998 w 1072808"/>
              <a:gd name="connsiteY117" fmla="*/ 1030519 h 1030518"/>
              <a:gd name="connsiteX118" fmla="*/ 346817 w 1072808"/>
              <a:gd name="connsiteY118" fmla="*/ 1023353 h 1030518"/>
              <a:gd name="connsiteX119" fmla="*/ 377176 w 1072808"/>
              <a:gd name="connsiteY119" fmla="*/ 1013963 h 1030518"/>
              <a:gd name="connsiteX120" fmla="*/ 406410 w 1072808"/>
              <a:gd name="connsiteY120" fmla="*/ 1014087 h 1030518"/>
              <a:gd name="connsiteX121" fmla="*/ 417155 w 1072808"/>
              <a:gd name="connsiteY121" fmla="*/ 1004450 h 1030518"/>
              <a:gd name="connsiteX122" fmla="*/ 449138 w 1072808"/>
              <a:gd name="connsiteY122" fmla="*/ 994566 h 1030518"/>
              <a:gd name="connsiteX123" fmla="*/ 497987 w 1072808"/>
              <a:gd name="connsiteY123" fmla="*/ 989871 h 1030518"/>
              <a:gd name="connsiteX124" fmla="*/ 526972 w 1072808"/>
              <a:gd name="connsiteY124" fmla="*/ 984682 h 1030518"/>
              <a:gd name="connsiteX125" fmla="*/ 558705 w 1072808"/>
              <a:gd name="connsiteY125" fmla="*/ 984064 h 1030518"/>
              <a:gd name="connsiteX126" fmla="*/ 594436 w 1072808"/>
              <a:gd name="connsiteY126" fmla="*/ 967385 h 1030518"/>
              <a:gd name="connsiteX127" fmla="*/ 597559 w 1072808"/>
              <a:gd name="connsiteY127" fmla="*/ 950336 h 1030518"/>
              <a:gd name="connsiteX128" fmla="*/ 589564 w 1072808"/>
              <a:gd name="connsiteY128" fmla="*/ 932915 h 1030518"/>
              <a:gd name="connsiteX129" fmla="*/ 590063 w 1072808"/>
              <a:gd name="connsiteY129" fmla="*/ 913889 h 1030518"/>
              <a:gd name="connsiteX130" fmla="*/ 582193 w 1072808"/>
              <a:gd name="connsiteY130" fmla="*/ 884855 h 1030518"/>
              <a:gd name="connsiteX131" fmla="*/ 579694 w 1072808"/>
              <a:gd name="connsiteY131" fmla="*/ 860022 h 1030518"/>
              <a:gd name="connsiteX132" fmla="*/ 591063 w 1072808"/>
              <a:gd name="connsiteY132" fmla="*/ 844454 h 1030518"/>
              <a:gd name="connsiteX133" fmla="*/ 607929 w 1072808"/>
              <a:gd name="connsiteY133" fmla="*/ 837906 h 1030518"/>
              <a:gd name="connsiteX134" fmla="*/ 611302 w 1072808"/>
              <a:gd name="connsiteY134" fmla="*/ 823328 h 1030518"/>
              <a:gd name="connsiteX135" fmla="*/ 617299 w 1072808"/>
              <a:gd name="connsiteY135" fmla="*/ 809243 h 1030518"/>
              <a:gd name="connsiteX136" fmla="*/ 639537 w 1072808"/>
              <a:gd name="connsiteY136" fmla="*/ 803807 h 1030518"/>
              <a:gd name="connsiteX137" fmla="*/ 650407 w 1072808"/>
              <a:gd name="connsiteY137" fmla="*/ 810479 h 1030518"/>
              <a:gd name="connsiteX138" fmla="*/ 683514 w 1072808"/>
              <a:gd name="connsiteY138" fmla="*/ 794047 h 1030518"/>
              <a:gd name="connsiteX139" fmla="*/ 693509 w 1072808"/>
              <a:gd name="connsiteY139" fmla="*/ 780580 h 1030518"/>
              <a:gd name="connsiteX140" fmla="*/ 678142 w 1072808"/>
              <a:gd name="connsiteY140" fmla="*/ 776626 h 1030518"/>
              <a:gd name="connsiteX141" fmla="*/ 711374 w 1072808"/>
              <a:gd name="connsiteY141" fmla="*/ 748951 h 1030518"/>
              <a:gd name="connsiteX142" fmla="*/ 716747 w 1072808"/>
              <a:gd name="connsiteY142" fmla="*/ 736967 h 1030518"/>
              <a:gd name="connsiteX143" fmla="*/ 738485 w 1072808"/>
              <a:gd name="connsiteY143" fmla="*/ 734002 h 1030518"/>
              <a:gd name="connsiteX144" fmla="*/ 749354 w 1072808"/>
              <a:gd name="connsiteY144" fmla="*/ 740797 h 1030518"/>
              <a:gd name="connsiteX145" fmla="*/ 771967 w 1072808"/>
              <a:gd name="connsiteY145" fmla="*/ 741168 h 1030518"/>
              <a:gd name="connsiteX146" fmla="*/ 772717 w 1072808"/>
              <a:gd name="connsiteY146" fmla="*/ 728689 h 1030518"/>
              <a:gd name="connsiteX147" fmla="*/ 783336 w 1072808"/>
              <a:gd name="connsiteY147" fmla="*/ 728195 h 1030518"/>
              <a:gd name="connsiteX148" fmla="*/ 801702 w 1072808"/>
              <a:gd name="connsiteY148" fmla="*/ 749569 h 1030518"/>
              <a:gd name="connsiteX149" fmla="*/ 820317 w 1072808"/>
              <a:gd name="connsiteY149" fmla="*/ 719794 h 1030518"/>
              <a:gd name="connsiteX150" fmla="*/ 811696 w 1072808"/>
              <a:gd name="connsiteY150" fmla="*/ 679888 h 1030518"/>
              <a:gd name="connsiteX151" fmla="*/ 817943 w 1072808"/>
              <a:gd name="connsiteY151" fmla="*/ 671734 h 1030518"/>
              <a:gd name="connsiteX152" fmla="*/ 818068 w 1072808"/>
              <a:gd name="connsiteY152" fmla="*/ 659255 h 1030518"/>
              <a:gd name="connsiteX153" fmla="*/ 823690 w 1072808"/>
              <a:gd name="connsiteY153" fmla="*/ 638128 h 1030518"/>
              <a:gd name="connsiteX154" fmla="*/ 824939 w 1072808"/>
              <a:gd name="connsiteY154" fmla="*/ 605882 h 1030518"/>
              <a:gd name="connsiteX155" fmla="*/ 831686 w 1072808"/>
              <a:gd name="connsiteY155" fmla="*/ 592539 h 1030518"/>
              <a:gd name="connsiteX156" fmla="*/ 852050 w 1072808"/>
              <a:gd name="connsiteY156" fmla="*/ 589697 h 1030518"/>
              <a:gd name="connsiteX157" fmla="*/ 873414 w 1072808"/>
              <a:gd name="connsiteY157" fmla="*/ 576972 h 1030518"/>
              <a:gd name="connsiteX158" fmla="*/ 876662 w 1072808"/>
              <a:gd name="connsiteY158" fmla="*/ 561158 h 1030518"/>
              <a:gd name="connsiteX159" fmla="*/ 864418 w 1072808"/>
              <a:gd name="connsiteY159" fmla="*/ 536819 h 1030518"/>
              <a:gd name="connsiteX160" fmla="*/ 844804 w 1072808"/>
              <a:gd name="connsiteY160" fmla="*/ 527182 h 1030518"/>
              <a:gd name="connsiteX161" fmla="*/ 833560 w 1072808"/>
              <a:gd name="connsiteY161" fmla="*/ 504202 h 1030518"/>
              <a:gd name="connsiteX162" fmla="*/ 855423 w 1072808"/>
              <a:gd name="connsiteY162" fmla="*/ 488758 h 1030518"/>
              <a:gd name="connsiteX163" fmla="*/ 889155 w 1072808"/>
              <a:gd name="connsiteY163" fmla="*/ 500495 h 1030518"/>
              <a:gd name="connsiteX164" fmla="*/ 923512 w 1072808"/>
              <a:gd name="connsiteY164" fmla="*/ 499013 h 1030518"/>
              <a:gd name="connsiteX165" fmla="*/ 945876 w 1072808"/>
              <a:gd name="connsiteY165" fmla="*/ 462689 h 1030518"/>
              <a:gd name="connsiteX166" fmla="*/ 944751 w 1072808"/>
              <a:gd name="connsiteY166" fmla="*/ 437733 h 1030518"/>
              <a:gd name="connsiteX167" fmla="*/ 921264 w 1072808"/>
              <a:gd name="connsiteY167" fmla="*/ 417841 h 1030518"/>
              <a:gd name="connsiteX168" fmla="*/ 962492 w 1072808"/>
              <a:gd name="connsiteY168" fmla="*/ 359650 h 1030518"/>
              <a:gd name="connsiteX169" fmla="*/ 958119 w 1072808"/>
              <a:gd name="connsiteY169" fmla="*/ 320485 h 1030518"/>
              <a:gd name="connsiteX170" fmla="*/ 916016 w 1072808"/>
              <a:gd name="connsiteY170" fmla="*/ 264518 h 1030518"/>
              <a:gd name="connsiteX171" fmla="*/ 932383 w 1072808"/>
              <a:gd name="connsiteY171" fmla="*/ 246850 h 1030518"/>
              <a:gd name="connsiteX172" fmla="*/ 946000 w 1072808"/>
              <a:gd name="connsiteY172" fmla="*/ 223870 h 1030518"/>
              <a:gd name="connsiteX173" fmla="*/ 971237 w 1072808"/>
              <a:gd name="connsiteY173" fmla="*/ 222882 h 1030518"/>
              <a:gd name="connsiteX174" fmla="*/ 992851 w 1072808"/>
              <a:gd name="connsiteY174" fmla="*/ 202249 h 1030518"/>
              <a:gd name="connsiteX175" fmla="*/ 1022585 w 1072808"/>
              <a:gd name="connsiteY175" fmla="*/ 185199 h 1030518"/>
              <a:gd name="connsiteX176" fmla="*/ 1044324 w 1072808"/>
              <a:gd name="connsiteY176" fmla="*/ 196072 h 1030518"/>
              <a:gd name="connsiteX177" fmla="*/ 1072808 w 1072808"/>
              <a:gd name="connsiteY177" fmla="*/ 204844 h 1030518"/>
              <a:gd name="connsiteX178" fmla="*/ 1072808 w 1072808"/>
              <a:gd name="connsiteY178" fmla="*/ 97233 h 1030518"/>
              <a:gd name="connsiteX179" fmla="*/ 1042824 w 1072808"/>
              <a:gd name="connsiteY179" fmla="*/ 117989 h 103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072808" h="1030518">
                <a:moveTo>
                  <a:pt x="1042824" y="117989"/>
                </a:moveTo>
                <a:lnTo>
                  <a:pt x="1030956" y="129108"/>
                </a:lnTo>
                <a:lnTo>
                  <a:pt x="1027707" y="146034"/>
                </a:lnTo>
                <a:lnTo>
                  <a:pt x="1013465" y="159748"/>
                </a:lnTo>
                <a:lnTo>
                  <a:pt x="982356" y="175563"/>
                </a:lnTo>
                <a:lnTo>
                  <a:pt x="979483" y="184829"/>
                </a:lnTo>
                <a:lnTo>
                  <a:pt x="964116" y="197307"/>
                </a:lnTo>
                <a:lnTo>
                  <a:pt x="941003" y="198295"/>
                </a:lnTo>
                <a:lnTo>
                  <a:pt x="924137" y="192365"/>
                </a:lnTo>
                <a:lnTo>
                  <a:pt x="923637" y="180010"/>
                </a:lnTo>
                <a:lnTo>
                  <a:pt x="908895" y="162343"/>
                </a:lnTo>
                <a:lnTo>
                  <a:pt x="906147" y="127008"/>
                </a:lnTo>
                <a:lnTo>
                  <a:pt x="902648" y="108846"/>
                </a:lnTo>
                <a:lnTo>
                  <a:pt x="903023" y="85866"/>
                </a:lnTo>
                <a:lnTo>
                  <a:pt x="895652" y="69187"/>
                </a:lnTo>
                <a:lnTo>
                  <a:pt x="880535" y="70546"/>
                </a:lnTo>
                <a:lnTo>
                  <a:pt x="874413" y="53744"/>
                </a:lnTo>
                <a:lnTo>
                  <a:pt x="877537" y="32617"/>
                </a:lnTo>
                <a:lnTo>
                  <a:pt x="876912" y="18285"/>
                </a:lnTo>
                <a:lnTo>
                  <a:pt x="859921" y="10502"/>
                </a:lnTo>
                <a:lnTo>
                  <a:pt x="843679" y="0"/>
                </a:lnTo>
                <a:lnTo>
                  <a:pt x="821816" y="988"/>
                </a:lnTo>
                <a:lnTo>
                  <a:pt x="813321" y="17667"/>
                </a:lnTo>
                <a:lnTo>
                  <a:pt x="811072" y="43983"/>
                </a:lnTo>
                <a:lnTo>
                  <a:pt x="800327" y="54238"/>
                </a:lnTo>
                <a:lnTo>
                  <a:pt x="792956" y="67087"/>
                </a:lnTo>
                <a:lnTo>
                  <a:pt x="798578" y="91673"/>
                </a:lnTo>
                <a:lnTo>
                  <a:pt x="786959" y="111811"/>
                </a:lnTo>
                <a:lnTo>
                  <a:pt x="767095" y="114653"/>
                </a:lnTo>
                <a:lnTo>
                  <a:pt x="764097" y="104893"/>
                </a:lnTo>
                <a:lnTo>
                  <a:pt x="754851" y="105263"/>
                </a:lnTo>
                <a:lnTo>
                  <a:pt x="747980" y="115394"/>
                </a:lnTo>
                <a:lnTo>
                  <a:pt x="728365" y="121572"/>
                </a:lnTo>
                <a:lnTo>
                  <a:pt x="727616" y="133927"/>
                </a:lnTo>
                <a:lnTo>
                  <a:pt x="736611" y="142081"/>
                </a:lnTo>
                <a:lnTo>
                  <a:pt x="737860" y="156536"/>
                </a:lnTo>
                <a:lnTo>
                  <a:pt x="706002" y="155177"/>
                </a:lnTo>
                <a:lnTo>
                  <a:pt x="695508" y="142575"/>
                </a:lnTo>
                <a:lnTo>
                  <a:pt x="686013" y="136398"/>
                </a:lnTo>
                <a:lnTo>
                  <a:pt x="675893" y="146652"/>
                </a:lnTo>
                <a:lnTo>
                  <a:pt x="665399" y="149123"/>
                </a:lnTo>
                <a:lnTo>
                  <a:pt x="656029" y="163949"/>
                </a:lnTo>
                <a:lnTo>
                  <a:pt x="636789" y="175810"/>
                </a:lnTo>
                <a:lnTo>
                  <a:pt x="606555" y="183717"/>
                </a:lnTo>
                <a:lnTo>
                  <a:pt x="592437" y="178404"/>
                </a:lnTo>
                <a:lnTo>
                  <a:pt x="571573" y="153694"/>
                </a:lnTo>
                <a:lnTo>
                  <a:pt x="555582" y="153077"/>
                </a:lnTo>
                <a:lnTo>
                  <a:pt x="540964" y="167408"/>
                </a:lnTo>
                <a:lnTo>
                  <a:pt x="528471" y="167408"/>
                </a:lnTo>
                <a:lnTo>
                  <a:pt x="516477" y="151471"/>
                </a:lnTo>
                <a:lnTo>
                  <a:pt x="496238" y="143193"/>
                </a:lnTo>
                <a:lnTo>
                  <a:pt x="466878" y="152335"/>
                </a:lnTo>
                <a:lnTo>
                  <a:pt x="459882" y="146034"/>
                </a:lnTo>
                <a:lnTo>
                  <a:pt x="440268" y="151471"/>
                </a:lnTo>
                <a:lnTo>
                  <a:pt x="421278" y="141092"/>
                </a:lnTo>
                <a:lnTo>
                  <a:pt x="400039" y="148505"/>
                </a:lnTo>
                <a:lnTo>
                  <a:pt x="373428" y="169632"/>
                </a:lnTo>
                <a:lnTo>
                  <a:pt x="365807" y="169632"/>
                </a:lnTo>
                <a:lnTo>
                  <a:pt x="342319" y="176922"/>
                </a:lnTo>
                <a:lnTo>
                  <a:pt x="332699" y="184458"/>
                </a:lnTo>
                <a:lnTo>
                  <a:pt x="323579" y="188906"/>
                </a:lnTo>
                <a:lnTo>
                  <a:pt x="322580" y="200396"/>
                </a:lnTo>
                <a:lnTo>
                  <a:pt x="331450" y="206573"/>
                </a:lnTo>
                <a:lnTo>
                  <a:pt x="332325" y="225476"/>
                </a:lnTo>
                <a:lnTo>
                  <a:pt x="312085" y="248580"/>
                </a:lnTo>
                <a:lnTo>
                  <a:pt x="312460" y="271560"/>
                </a:lnTo>
                <a:lnTo>
                  <a:pt x="307588" y="296022"/>
                </a:lnTo>
                <a:lnTo>
                  <a:pt x="293095" y="299852"/>
                </a:lnTo>
                <a:lnTo>
                  <a:pt x="279727" y="311590"/>
                </a:lnTo>
                <a:lnTo>
                  <a:pt x="276729" y="320856"/>
                </a:lnTo>
                <a:lnTo>
                  <a:pt x="241373" y="329504"/>
                </a:lnTo>
                <a:lnTo>
                  <a:pt x="213637" y="345812"/>
                </a:lnTo>
                <a:lnTo>
                  <a:pt x="218759" y="358044"/>
                </a:lnTo>
                <a:lnTo>
                  <a:pt x="207390" y="368916"/>
                </a:lnTo>
                <a:lnTo>
                  <a:pt x="205267" y="380900"/>
                </a:lnTo>
                <a:lnTo>
                  <a:pt x="192648" y="396467"/>
                </a:lnTo>
                <a:lnTo>
                  <a:pt x="166412" y="401533"/>
                </a:lnTo>
                <a:lnTo>
                  <a:pt x="157542" y="411664"/>
                </a:lnTo>
                <a:lnTo>
                  <a:pt x="149296" y="404869"/>
                </a:lnTo>
                <a:lnTo>
                  <a:pt x="143549" y="392020"/>
                </a:lnTo>
                <a:lnTo>
                  <a:pt x="122310" y="377812"/>
                </a:lnTo>
                <a:lnTo>
                  <a:pt x="106444" y="378553"/>
                </a:lnTo>
                <a:lnTo>
                  <a:pt x="95075" y="390166"/>
                </a:lnTo>
                <a:lnTo>
                  <a:pt x="79833" y="390784"/>
                </a:lnTo>
                <a:lnTo>
                  <a:pt x="64841" y="380283"/>
                </a:lnTo>
                <a:lnTo>
                  <a:pt x="44102" y="375958"/>
                </a:lnTo>
                <a:lnTo>
                  <a:pt x="35231" y="379418"/>
                </a:lnTo>
                <a:lnTo>
                  <a:pt x="36356" y="381518"/>
                </a:lnTo>
                <a:lnTo>
                  <a:pt x="36231" y="407093"/>
                </a:lnTo>
                <a:lnTo>
                  <a:pt x="38730" y="419447"/>
                </a:lnTo>
                <a:lnTo>
                  <a:pt x="32733" y="433408"/>
                </a:lnTo>
                <a:lnTo>
                  <a:pt x="45226" y="448605"/>
                </a:lnTo>
                <a:lnTo>
                  <a:pt x="40853" y="453300"/>
                </a:lnTo>
                <a:lnTo>
                  <a:pt x="42727" y="465037"/>
                </a:lnTo>
                <a:lnTo>
                  <a:pt x="19615" y="481839"/>
                </a:lnTo>
                <a:lnTo>
                  <a:pt x="0" y="487893"/>
                </a:lnTo>
                <a:lnTo>
                  <a:pt x="8496" y="499878"/>
                </a:lnTo>
                <a:lnTo>
                  <a:pt x="24112" y="510997"/>
                </a:lnTo>
                <a:lnTo>
                  <a:pt x="7996" y="535954"/>
                </a:lnTo>
                <a:lnTo>
                  <a:pt x="12868" y="539660"/>
                </a:lnTo>
                <a:lnTo>
                  <a:pt x="20239" y="572153"/>
                </a:lnTo>
                <a:lnTo>
                  <a:pt x="20989" y="589821"/>
                </a:lnTo>
                <a:lnTo>
                  <a:pt x="52347" y="595628"/>
                </a:lnTo>
                <a:lnTo>
                  <a:pt x="60343" y="595257"/>
                </a:lnTo>
                <a:lnTo>
                  <a:pt x="33357" y="631086"/>
                </a:lnTo>
                <a:lnTo>
                  <a:pt x="29734" y="654931"/>
                </a:lnTo>
                <a:lnTo>
                  <a:pt x="56220" y="700891"/>
                </a:lnTo>
                <a:lnTo>
                  <a:pt x="71337" y="742774"/>
                </a:lnTo>
                <a:lnTo>
                  <a:pt x="65340" y="755500"/>
                </a:lnTo>
                <a:lnTo>
                  <a:pt x="75210" y="771437"/>
                </a:lnTo>
                <a:lnTo>
                  <a:pt x="79333" y="804672"/>
                </a:lnTo>
                <a:lnTo>
                  <a:pt x="159416" y="802572"/>
                </a:lnTo>
                <a:lnTo>
                  <a:pt x="175282" y="833335"/>
                </a:lnTo>
                <a:lnTo>
                  <a:pt x="174408" y="858292"/>
                </a:lnTo>
                <a:lnTo>
                  <a:pt x="185152" y="893874"/>
                </a:lnTo>
                <a:lnTo>
                  <a:pt x="178406" y="905240"/>
                </a:lnTo>
                <a:lnTo>
                  <a:pt x="113940" y="1000620"/>
                </a:lnTo>
                <a:lnTo>
                  <a:pt x="240998" y="1030519"/>
                </a:lnTo>
                <a:lnTo>
                  <a:pt x="346817" y="1023353"/>
                </a:lnTo>
                <a:lnTo>
                  <a:pt x="377176" y="1013963"/>
                </a:lnTo>
                <a:lnTo>
                  <a:pt x="406410" y="1014087"/>
                </a:lnTo>
                <a:lnTo>
                  <a:pt x="417155" y="1004450"/>
                </a:lnTo>
                <a:lnTo>
                  <a:pt x="449138" y="994566"/>
                </a:lnTo>
                <a:lnTo>
                  <a:pt x="497987" y="989871"/>
                </a:lnTo>
                <a:lnTo>
                  <a:pt x="526972" y="984682"/>
                </a:lnTo>
                <a:lnTo>
                  <a:pt x="558705" y="984064"/>
                </a:lnTo>
                <a:lnTo>
                  <a:pt x="594436" y="967385"/>
                </a:lnTo>
                <a:lnTo>
                  <a:pt x="597559" y="950336"/>
                </a:lnTo>
                <a:lnTo>
                  <a:pt x="589564" y="932915"/>
                </a:lnTo>
                <a:lnTo>
                  <a:pt x="590063" y="913889"/>
                </a:lnTo>
                <a:lnTo>
                  <a:pt x="582193" y="884855"/>
                </a:lnTo>
                <a:lnTo>
                  <a:pt x="579694" y="860022"/>
                </a:lnTo>
                <a:lnTo>
                  <a:pt x="591063" y="844454"/>
                </a:lnTo>
                <a:lnTo>
                  <a:pt x="607929" y="837906"/>
                </a:lnTo>
                <a:lnTo>
                  <a:pt x="611302" y="823328"/>
                </a:lnTo>
                <a:lnTo>
                  <a:pt x="617299" y="809243"/>
                </a:lnTo>
                <a:lnTo>
                  <a:pt x="639537" y="803807"/>
                </a:lnTo>
                <a:lnTo>
                  <a:pt x="650407" y="810479"/>
                </a:lnTo>
                <a:lnTo>
                  <a:pt x="683514" y="794047"/>
                </a:lnTo>
                <a:lnTo>
                  <a:pt x="693509" y="780580"/>
                </a:lnTo>
                <a:lnTo>
                  <a:pt x="678142" y="776626"/>
                </a:lnTo>
                <a:lnTo>
                  <a:pt x="711374" y="748951"/>
                </a:lnTo>
                <a:lnTo>
                  <a:pt x="716747" y="736967"/>
                </a:lnTo>
                <a:lnTo>
                  <a:pt x="738485" y="734002"/>
                </a:lnTo>
                <a:lnTo>
                  <a:pt x="749354" y="740797"/>
                </a:lnTo>
                <a:lnTo>
                  <a:pt x="771967" y="741168"/>
                </a:lnTo>
                <a:lnTo>
                  <a:pt x="772717" y="728689"/>
                </a:lnTo>
                <a:lnTo>
                  <a:pt x="783336" y="728195"/>
                </a:lnTo>
                <a:lnTo>
                  <a:pt x="801702" y="749569"/>
                </a:lnTo>
                <a:lnTo>
                  <a:pt x="820317" y="719794"/>
                </a:lnTo>
                <a:lnTo>
                  <a:pt x="811696" y="679888"/>
                </a:lnTo>
                <a:lnTo>
                  <a:pt x="817943" y="671734"/>
                </a:lnTo>
                <a:lnTo>
                  <a:pt x="818068" y="659255"/>
                </a:lnTo>
                <a:lnTo>
                  <a:pt x="823690" y="638128"/>
                </a:lnTo>
                <a:lnTo>
                  <a:pt x="824939" y="605882"/>
                </a:lnTo>
                <a:lnTo>
                  <a:pt x="831686" y="592539"/>
                </a:lnTo>
                <a:lnTo>
                  <a:pt x="852050" y="589697"/>
                </a:lnTo>
                <a:lnTo>
                  <a:pt x="873414" y="576972"/>
                </a:lnTo>
                <a:lnTo>
                  <a:pt x="876662" y="561158"/>
                </a:lnTo>
                <a:lnTo>
                  <a:pt x="864418" y="536819"/>
                </a:lnTo>
                <a:lnTo>
                  <a:pt x="844804" y="527182"/>
                </a:lnTo>
                <a:lnTo>
                  <a:pt x="833560" y="504202"/>
                </a:lnTo>
                <a:lnTo>
                  <a:pt x="855423" y="488758"/>
                </a:lnTo>
                <a:lnTo>
                  <a:pt x="889155" y="500495"/>
                </a:lnTo>
                <a:lnTo>
                  <a:pt x="923512" y="499013"/>
                </a:lnTo>
                <a:lnTo>
                  <a:pt x="945876" y="462689"/>
                </a:lnTo>
                <a:lnTo>
                  <a:pt x="944751" y="437733"/>
                </a:lnTo>
                <a:lnTo>
                  <a:pt x="921264" y="417841"/>
                </a:lnTo>
                <a:lnTo>
                  <a:pt x="962492" y="359650"/>
                </a:lnTo>
                <a:lnTo>
                  <a:pt x="958119" y="320485"/>
                </a:lnTo>
                <a:lnTo>
                  <a:pt x="916016" y="264518"/>
                </a:lnTo>
                <a:lnTo>
                  <a:pt x="932383" y="246850"/>
                </a:lnTo>
                <a:lnTo>
                  <a:pt x="946000" y="223870"/>
                </a:lnTo>
                <a:lnTo>
                  <a:pt x="971237" y="222882"/>
                </a:lnTo>
                <a:lnTo>
                  <a:pt x="992851" y="202249"/>
                </a:lnTo>
                <a:lnTo>
                  <a:pt x="1022585" y="185199"/>
                </a:lnTo>
                <a:lnTo>
                  <a:pt x="1044324" y="196072"/>
                </a:lnTo>
                <a:lnTo>
                  <a:pt x="1072808" y="204844"/>
                </a:lnTo>
                <a:lnTo>
                  <a:pt x="1072808" y="97233"/>
                </a:lnTo>
                <a:lnTo>
                  <a:pt x="1042824" y="117989"/>
                </a:lnTo>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40" name="Graphic 116">
            <a:extLst>
              <a:ext uri="{FF2B5EF4-FFF2-40B4-BE49-F238E27FC236}">
                <a16:creationId xmlns:a16="http://schemas.microsoft.com/office/drawing/2014/main" id="{6B6CF8CA-E97A-4B5A-16DF-A4B9E48AD8F6}"/>
              </a:ext>
            </a:extLst>
          </p:cNvPr>
          <p:cNvSpPr/>
          <p:nvPr/>
        </p:nvSpPr>
        <p:spPr>
          <a:xfrm rot="1141104">
            <a:off x="11761037" y="5134001"/>
            <a:ext cx="563203" cy="766990"/>
          </a:xfrm>
          <a:custGeom>
            <a:avLst/>
            <a:gdLst>
              <a:gd name="connsiteX0" fmla="*/ 533094 w 563203"/>
              <a:gd name="connsiteY0" fmla="*/ 686684 h 766990"/>
              <a:gd name="connsiteX1" fmla="*/ 521225 w 563203"/>
              <a:gd name="connsiteY1" fmla="*/ 697803 h 766990"/>
              <a:gd name="connsiteX2" fmla="*/ 517977 w 563203"/>
              <a:gd name="connsiteY2" fmla="*/ 714729 h 766990"/>
              <a:gd name="connsiteX3" fmla="*/ 503859 w 563203"/>
              <a:gd name="connsiteY3" fmla="*/ 728567 h 766990"/>
              <a:gd name="connsiteX4" fmla="*/ 472751 w 563203"/>
              <a:gd name="connsiteY4" fmla="*/ 744258 h 766990"/>
              <a:gd name="connsiteX5" fmla="*/ 469752 w 563203"/>
              <a:gd name="connsiteY5" fmla="*/ 753524 h 766990"/>
              <a:gd name="connsiteX6" fmla="*/ 454385 w 563203"/>
              <a:gd name="connsiteY6" fmla="*/ 766002 h 766990"/>
              <a:gd name="connsiteX7" fmla="*/ 431273 w 563203"/>
              <a:gd name="connsiteY7" fmla="*/ 766991 h 766990"/>
              <a:gd name="connsiteX8" fmla="*/ 414531 w 563203"/>
              <a:gd name="connsiteY8" fmla="*/ 761184 h 766990"/>
              <a:gd name="connsiteX9" fmla="*/ 413907 w 563203"/>
              <a:gd name="connsiteY9" fmla="*/ 748705 h 766990"/>
              <a:gd name="connsiteX10" fmla="*/ 399290 w 563203"/>
              <a:gd name="connsiteY10" fmla="*/ 731038 h 766990"/>
              <a:gd name="connsiteX11" fmla="*/ 396416 w 563203"/>
              <a:gd name="connsiteY11" fmla="*/ 695703 h 766990"/>
              <a:gd name="connsiteX12" fmla="*/ 393043 w 563203"/>
              <a:gd name="connsiteY12" fmla="*/ 677541 h 766990"/>
              <a:gd name="connsiteX13" fmla="*/ 393293 w 563203"/>
              <a:gd name="connsiteY13" fmla="*/ 654561 h 766990"/>
              <a:gd name="connsiteX14" fmla="*/ 385922 w 563203"/>
              <a:gd name="connsiteY14" fmla="*/ 637882 h 766990"/>
              <a:gd name="connsiteX15" fmla="*/ 370805 w 563203"/>
              <a:gd name="connsiteY15" fmla="*/ 639241 h 766990"/>
              <a:gd name="connsiteX16" fmla="*/ 364808 w 563203"/>
              <a:gd name="connsiteY16" fmla="*/ 622439 h 766990"/>
              <a:gd name="connsiteX17" fmla="*/ 367806 w 563203"/>
              <a:gd name="connsiteY17" fmla="*/ 601312 h 766990"/>
              <a:gd name="connsiteX18" fmla="*/ 367181 w 563203"/>
              <a:gd name="connsiteY18" fmla="*/ 586980 h 766990"/>
              <a:gd name="connsiteX19" fmla="*/ 350315 w 563203"/>
              <a:gd name="connsiteY19" fmla="*/ 579196 h 766990"/>
              <a:gd name="connsiteX20" fmla="*/ 333949 w 563203"/>
              <a:gd name="connsiteY20" fmla="*/ 568695 h 766990"/>
              <a:gd name="connsiteX21" fmla="*/ 312210 w 563203"/>
              <a:gd name="connsiteY21" fmla="*/ 569683 h 766990"/>
              <a:gd name="connsiteX22" fmla="*/ 303590 w 563203"/>
              <a:gd name="connsiteY22" fmla="*/ 586362 h 766990"/>
              <a:gd name="connsiteX23" fmla="*/ 301466 w 563203"/>
              <a:gd name="connsiteY23" fmla="*/ 612678 h 766990"/>
              <a:gd name="connsiteX24" fmla="*/ 290597 w 563203"/>
              <a:gd name="connsiteY24" fmla="*/ 622933 h 766990"/>
              <a:gd name="connsiteX25" fmla="*/ 283226 w 563203"/>
              <a:gd name="connsiteY25" fmla="*/ 635782 h 766990"/>
              <a:gd name="connsiteX26" fmla="*/ 288973 w 563203"/>
              <a:gd name="connsiteY26" fmla="*/ 660368 h 766990"/>
              <a:gd name="connsiteX27" fmla="*/ 277229 w 563203"/>
              <a:gd name="connsiteY27" fmla="*/ 680506 h 766990"/>
              <a:gd name="connsiteX28" fmla="*/ 257489 w 563203"/>
              <a:gd name="connsiteY28" fmla="*/ 683348 h 766990"/>
              <a:gd name="connsiteX29" fmla="*/ 254366 w 563203"/>
              <a:gd name="connsiteY29" fmla="*/ 673588 h 766990"/>
              <a:gd name="connsiteX30" fmla="*/ 245121 w 563203"/>
              <a:gd name="connsiteY30" fmla="*/ 674082 h 766990"/>
              <a:gd name="connsiteX31" fmla="*/ 238374 w 563203"/>
              <a:gd name="connsiteY31" fmla="*/ 684213 h 766990"/>
              <a:gd name="connsiteX32" fmla="*/ 218760 w 563203"/>
              <a:gd name="connsiteY32" fmla="*/ 690267 h 766990"/>
              <a:gd name="connsiteX33" fmla="*/ 217885 w 563203"/>
              <a:gd name="connsiteY33" fmla="*/ 702745 h 766990"/>
              <a:gd name="connsiteX34" fmla="*/ 226880 w 563203"/>
              <a:gd name="connsiteY34" fmla="*/ 710776 h 766990"/>
              <a:gd name="connsiteX35" fmla="*/ 228130 w 563203"/>
              <a:gd name="connsiteY35" fmla="*/ 725231 h 766990"/>
              <a:gd name="connsiteX36" fmla="*/ 196272 w 563203"/>
              <a:gd name="connsiteY36" fmla="*/ 723872 h 766990"/>
              <a:gd name="connsiteX37" fmla="*/ 185777 w 563203"/>
              <a:gd name="connsiteY37" fmla="*/ 711270 h 766990"/>
              <a:gd name="connsiteX38" fmla="*/ 176282 w 563203"/>
              <a:gd name="connsiteY38" fmla="*/ 705093 h 766990"/>
              <a:gd name="connsiteX39" fmla="*/ 166162 w 563203"/>
              <a:gd name="connsiteY39" fmla="*/ 715347 h 766990"/>
              <a:gd name="connsiteX40" fmla="*/ 155668 w 563203"/>
              <a:gd name="connsiteY40" fmla="*/ 717818 h 766990"/>
              <a:gd name="connsiteX41" fmla="*/ 146423 w 563203"/>
              <a:gd name="connsiteY41" fmla="*/ 732644 h 766990"/>
              <a:gd name="connsiteX42" fmla="*/ 127058 w 563203"/>
              <a:gd name="connsiteY42" fmla="*/ 744505 h 766990"/>
              <a:gd name="connsiteX43" fmla="*/ 96949 w 563203"/>
              <a:gd name="connsiteY43" fmla="*/ 752412 h 766990"/>
              <a:gd name="connsiteX44" fmla="*/ 82706 w 563203"/>
              <a:gd name="connsiteY44" fmla="*/ 747099 h 766990"/>
              <a:gd name="connsiteX45" fmla="*/ 61842 w 563203"/>
              <a:gd name="connsiteY45" fmla="*/ 722389 h 766990"/>
              <a:gd name="connsiteX46" fmla="*/ 70213 w 563203"/>
              <a:gd name="connsiteY46" fmla="*/ 732273 h 766990"/>
              <a:gd name="connsiteX47" fmla="*/ 74336 w 563203"/>
              <a:gd name="connsiteY47" fmla="*/ 674700 h 766990"/>
              <a:gd name="connsiteX48" fmla="*/ 91577 w 563203"/>
              <a:gd name="connsiteY48" fmla="*/ 629481 h 766990"/>
              <a:gd name="connsiteX49" fmla="*/ 99697 w 563203"/>
              <a:gd name="connsiteY49" fmla="*/ 618732 h 766990"/>
              <a:gd name="connsiteX50" fmla="*/ 95949 w 563203"/>
              <a:gd name="connsiteY50" fmla="*/ 593899 h 766990"/>
              <a:gd name="connsiteX51" fmla="*/ 77084 w 563203"/>
              <a:gd name="connsiteY51" fmla="*/ 586856 h 766990"/>
              <a:gd name="connsiteX52" fmla="*/ 66090 w 563203"/>
              <a:gd name="connsiteY52" fmla="*/ 561776 h 766990"/>
              <a:gd name="connsiteX53" fmla="*/ 73836 w 563203"/>
              <a:gd name="connsiteY53" fmla="*/ 543120 h 766990"/>
              <a:gd name="connsiteX54" fmla="*/ 68339 w 563203"/>
              <a:gd name="connsiteY54" fmla="*/ 523105 h 766990"/>
              <a:gd name="connsiteX55" fmla="*/ 42603 w 563203"/>
              <a:gd name="connsiteY55" fmla="*/ 524835 h 766990"/>
              <a:gd name="connsiteX56" fmla="*/ 27111 w 563203"/>
              <a:gd name="connsiteY56" fmla="*/ 533978 h 766990"/>
              <a:gd name="connsiteX57" fmla="*/ 1874 w 563203"/>
              <a:gd name="connsiteY57" fmla="*/ 500990 h 766990"/>
              <a:gd name="connsiteX58" fmla="*/ 0 w 563203"/>
              <a:gd name="connsiteY58" fmla="*/ 472945 h 766990"/>
              <a:gd name="connsiteX59" fmla="*/ 17866 w 563203"/>
              <a:gd name="connsiteY59" fmla="*/ 457748 h 766990"/>
              <a:gd name="connsiteX60" fmla="*/ 59094 w 563203"/>
              <a:gd name="connsiteY60" fmla="*/ 461949 h 766990"/>
              <a:gd name="connsiteX61" fmla="*/ 75460 w 563203"/>
              <a:gd name="connsiteY61" fmla="*/ 456636 h 766990"/>
              <a:gd name="connsiteX62" fmla="*/ 77084 w 563203"/>
              <a:gd name="connsiteY62" fmla="*/ 435633 h 766990"/>
              <a:gd name="connsiteX63" fmla="*/ 112316 w 563203"/>
              <a:gd name="connsiteY63" fmla="*/ 421672 h 766990"/>
              <a:gd name="connsiteX64" fmla="*/ 105819 w 563203"/>
              <a:gd name="connsiteY64" fmla="*/ 407587 h 766990"/>
              <a:gd name="connsiteX65" fmla="*/ 97574 w 563203"/>
              <a:gd name="connsiteY65" fmla="*/ 400669 h 766990"/>
              <a:gd name="connsiteX66" fmla="*/ 136803 w 563203"/>
              <a:gd name="connsiteY66" fmla="*/ 389796 h 766990"/>
              <a:gd name="connsiteX67" fmla="*/ 167287 w 563203"/>
              <a:gd name="connsiteY67" fmla="*/ 375465 h 766990"/>
              <a:gd name="connsiteX68" fmla="*/ 167037 w 563203"/>
              <a:gd name="connsiteY68" fmla="*/ 357056 h 766990"/>
              <a:gd name="connsiteX69" fmla="*/ 138052 w 563203"/>
              <a:gd name="connsiteY69" fmla="*/ 344577 h 766990"/>
              <a:gd name="connsiteX70" fmla="*/ 138552 w 563203"/>
              <a:gd name="connsiteY70" fmla="*/ 322956 h 766990"/>
              <a:gd name="connsiteX71" fmla="*/ 161290 w 563203"/>
              <a:gd name="connsiteY71" fmla="*/ 313443 h 766990"/>
              <a:gd name="connsiteX72" fmla="*/ 184903 w 563203"/>
              <a:gd name="connsiteY72" fmla="*/ 294787 h 766990"/>
              <a:gd name="connsiteX73" fmla="*/ 203518 w 563203"/>
              <a:gd name="connsiteY73" fmla="*/ 295281 h 766990"/>
              <a:gd name="connsiteX74" fmla="*/ 231253 w 563203"/>
              <a:gd name="connsiteY74" fmla="*/ 264641 h 766990"/>
              <a:gd name="connsiteX75" fmla="*/ 251992 w 563203"/>
              <a:gd name="connsiteY75" fmla="*/ 284039 h 766990"/>
              <a:gd name="connsiteX76" fmla="*/ 259863 w 563203"/>
              <a:gd name="connsiteY76" fmla="*/ 296888 h 766990"/>
              <a:gd name="connsiteX77" fmla="*/ 304464 w 563203"/>
              <a:gd name="connsiteY77" fmla="*/ 287745 h 766990"/>
              <a:gd name="connsiteX78" fmla="*/ 336323 w 563203"/>
              <a:gd name="connsiteY78" fmla="*/ 288363 h 766990"/>
              <a:gd name="connsiteX79" fmla="*/ 360810 w 563203"/>
              <a:gd name="connsiteY79" fmla="*/ 258464 h 766990"/>
              <a:gd name="connsiteX80" fmla="*/ 355438 w 563203"/>
              <a:gd name="connsiteY80" fmla="*/ 240426 h 766990"/>
              <a:gd name="connsiteX81" fmla="*/ 308962 w 563203"/>
              <a:gd name="connsiteY81" fmla="*/ 207685 h 766990"/>
              <a:gd name="connsiteX82" fmla="*/ 296968 w 563203"/>
              <a:gd name="connsiteY82" fmla="*/ 205585 h 766990"/>
              <a:gd name="connsiteX83" fmla="*/ 295344 w 563203"/>
              <a:gd name="connsiteY83" fmla="*/ 231160 h 766990"/>
              <a:gd name="connsiteX84" fmla="*/ 280227 w 563203"/>
              <a:gd name="connsiteY84" fmla="*/ 248827 h 766990"/>
              <a:gd name="connsiteX85" fmla="*/ 263486 w 563203"/>
              <a:gd name="connsiteY85" fmla="*/ 243638 h 766990"/>
              <a:gd name="connsiteX86" fmla="*/ 246245 w 563203"/>
              <a:gd name="connsiteY86" fmla="*/ 228689 h 766990"/>
              <a:gd name="connsiteX87" fmla="*/ 204767 w 563203"/>
              <a:gd name="connsiteY87" fmla="*/ 218681 h 766990"/>
              <a:gd name="connsiteX88" fmla="*/ 187151 w 563203"/>
              <a:gd name="connsiteY88" fmla="*/ 208921 h 766990"/>
              <a:gd name="connsiteX89" fmla="*/ 200020 w 563203"/>
              <a:gd name="connsiteY89" fmla="*/ 185447 h 766990"/>
              <a:gd name="connsiteX90" fmla="*/ 227255 w 563203"/>
              <a:gd name="connsiteY90" fmla="*/ 139734 h 766990"/>
              <a:gd name="connsiteX91" fmla="*/ 225006 w 563203"/>
              <a:gd name="connsiteY91" fmla="*/ 120831 h 766990"/>
              <a:gd name="connsiteX92" fmla="*/ 209764 w 563203"/>
              <a:gd name="connsiteY92" fmla="*/ 119595 h 766990"/>
              <a:gd name="connsiteX93" fmla="*/ 215511 w 563203"/>
              <a:gd name="connsiteY93" fmla="*/ 119966 h 766990"/>
              <a:gd name="connsiteX94" fmla="*/ 218010 w 563203"/>
              <a:gd name="connsiteY94" fmla="*/ 111688 h 766990"/>
              <a:gd name="connsiteX95" fmla="*/ 237625 w 563203"/>
              <a:gd name="connsiteY95" fmla="*/ 97974 h 766990"/>
              <a:gd name="connsiteX96" fmla="*/ 230503 w 563203"/>
              <a:gd name="connsiteY96" fmla="*/ 87843 h 766990"/>
              <a:gd name="connsiteX97" fmla="*/ 246995 w 563203"/>
              <a:gd name="connsiteY97" fmla="*/ 68693 h 766990"/>
              <a:gd name="connsiteX98" fmla="*/ 277604 w 563203"/>
              <a:gd name="connsiteY98" fmla="*/ 71411 h 766990"/>
              <a:gd name="connsiteX99" fmla="*/ 293845 w 563203"/>
              <a:gd name="connsiteY99" fmla="*/ 79812 h 766990"/>
              <a:gd name="connsiteX100" fmla="*/ 361684 w 563203"/>
              <a:gd name="connsiteY100" fmla="*/ 83519 h 766990"/>
              <a:gd name="connsiteX101" fmla="*/ 418529 w 563203"/>
              <a:gd name="connsiteY101" fmla="*/ 79812 h 766990"/>
              <a:gd name="connsiteX102" fmla="*/ 446889 w 563203"/>
              <a:gd name="connsiteY102" fmla="*/ 74006 h 766990"/>
              <a:gd name="connsiteX103" fmla="*/ 445140 w 563203"/>
              <a:gd name="connsiteY103" fmla="*/ 49914 h 766990"/>
              <a:gd name="connsiteX104" fmla="*/ 439019 w 563203"/>
              <a:gd name="connsiteY104" fmla="*/ 29899 h 766990"/>
              <a:gd name="connsiteX105" fmla="*/ 436145 w 563203"/>
              <a:gd name="connsiteY105" fmla="*/ 10378 h 766990"/>
              <a:gd name="connsiteX106" fmla="*/ 446390 w 563203"/>
              <a:gd name="connsiteY106" fmla="*/ 4077 h 766990"/>
              <a:gd name="connsiteX107" fmla="*/ 463756 w 563203"/>
              <a:gd name="connsiteY107" fmla="*/ 6548 h 766990"/>
              <a:gd name="connsiteX108" fmla="*/ 485619 w 563203"/>
              <a:gd name="connsiteY108" fmla="*/ 6919 h 766990"/>
              <a:gd name="connsiteX109" fmla="*/ 495364 w 563203"/>
              <a:gd name="connsiteY109" fmla="*/ 1977 h 766990"/>
              <a:gd name="connsiteX110" fmla="*/ 524349 w 563203"/>
              <a:gd name="connsiteY110" fmla="*/ 0 h 766990"/>
              <a:gd name="connsiteX111" fmla="*/ 544088 w 563203"/>
              <a:gd name="connsiteY111" fmla="*/ 10378 h 766990"/>
              <a:gd name="connsiteX112" fmla="*/ 563203 w 563203"/>
              <a:gd name="connsiteY112" fmla="*/ 20509 h 766990"/>
              <a:gd name="connsiteX113" fmla="*/ 563203 w 563203"/>
              <a:gd name="connsiteY113" fmla="*/ 665928 h 766990"/>
              <a:gd name="connsiteX114" fmla="*/ 533094 w 563203"/>
              <a:gd name="connsiteY114" fmla="*/ 686684 h 76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63203" h="766990">
                <a:moveTo>
                  <a:pt x="533094" y="686684"/>
                </a:moveTo>
                <a:lnTo>
                  <a:pt x="521225" y="697803"/>
                </a:lnTo>
                <a:lnTo>
                  <a:pt x="517977" y="714729"/>
                </a:lnTo>
                <a:lnTo>
                  <a:pt x="503859" y="728567"/>
                </a:lnTo>
                <a:lnTo>
                  <a:pt x="472751" y="744258"/>
                </a:lnTo>
                <a:lnTo>
                  <a:pt x="469752" y="753524"/>
                </a:lnTo>
                <a:lnTo>
                  <a:pt x="454385" y="766002"/>
                </a:lnTo>
                <a:lnTo>
                  <a:pt x="431273" y="766991"/>
                </a:lnTo>
                <a:lnTo>
                  <a:pt x="414531" y="761184"/>
                </a:lnTo>
                <a:lnTo>
                  <a:pt x="413907" y="748705"/>
                </a:lnTo>
                <a:lnTo>
                  <a:pt x="399290" y="731038"/>
                </a:lnTo>
                <a:lnTo>
                  <a:pt x="396416" y="695703"/>
                </a:lnTo>
                <a:lnTo>
                  <a:pt x="393043" y="677541"/>
                </a:lnTo>
                <a:lnTo>
                  <a:pt x="393293" y="654561"/>
                </a:lnTo>
                <a:lnTo>
                  <a:pt x="385922" y="637882"/>
                </a:lnTo>
                <a:lnTo>
                  <a:pt x="370805" y="639241"/>
                </a:lnTo>
                <a:lnTo>
                  <a:pt x="364808" y="622439"/>
                </a:lnTo>
                <a:lnTo>
                  <a:pt x="367806" y="601312"/>
                </a:lnTo>
                <a:lnTo>
                  <a:pt x="367181" y="586980"/>
                </a:lnTo>
                <a:lnTo>
                  <a:pt x="350315" y="579196"/>
                </a:lnTo>
                <a:lnTo>
                  <a:pt x="333949" y="568695"/>
                </a:lnTo>
                <a:lnTo>
                  <a:pt x="312210" y="569683"/>
                </a:lnTo>
                <a:lnTo>
                  <a:pt x="303590" y="586362"/>
                </a:lnTo>
                <a:lnTo>
                  <a:pt x="301466" y="612678"/>
                </a:lnTo>
                <a:lnTo>
                  <a:pt x="290597" y="622933"/>
                </a:lnTo>
                <a:lnTo>
                  <a:pt x="283226" y="635782"/>
                </a:lnTo>
                <a:lnTo>
                  <a:pt x="288973" y="660368"/>
                </a:lnTo>
                <a:lnTo>
                  <a:pt x="277229" y="680506"/>
                </a:lnTo>
                <a:lnTo>
                  <a:pt x="257489" y="683348"/>
                </a:lnTo>
                <a:lnTo>
                  <a:pt x="254366" y="673588"/>
                </a:lnTo>
                <a:lnTo>
                  <a:pt x="245121" y="674082"/>
                </a:lnTo>
                <a:lnTo>
                  <a:pt x="238374" y="684213"/>
                </a:lnTo>
                <a:lnTo>
                  <a:pt x="218760" y="690267"/>
                </a:lnTo>
                <a:lnTo>
                  <a:pt x="217885" y="702745"/>
                </a:lnTo>
                <a:lnTo>
                  <a:pt x="226880" y="710776"/>
                </a:lnTo>
                <a:lnTo>
                  <a:pt x="228130" y="725231"/>
                </a:lnTo>
                <a:lnTo>
                  <a:pt x="196272" y="723872"/>
                </a:lnTo>
                <a:lnTo>
                  <a:pt x="185777" y="711270"/>
                </a:lnTo>
                <a:lnTo>
                  <a:pt x="176282" y="705093"/>
                </a:lnTo>
                <a:lnTo>
                  <a:pt x="166162" y="715347"/>
                </a:lnTo>
                <a:lnTo>
                  <a:pt x="155668" y="717818"/>
                </a:lnTo>
                <a:lnTo>
                  <a:pt x="146423" y="732644"/>
                </a:lnTo>
                <a:lnTo>
                  <a:pt x="127058" y="744505"/>
                </a:lnTo>
                <a:lnTo>
                  <a:pt x="96949" y="752412"/>
                </a:lnTo>
                <a:lnTo>
                  <a:pt x="82706" y="747099"/>
                </a:lnTo>
                <a:lnTo>
                  <a:pt x="61842" y="722389"/>
                </a:lnTo>
                <a:lnTo>
                  <a:pt x="70213" y="732273"/>
                </a:lnTo>
                <a:lnTo>
                  <a:pt x="74336" y="674700"/>
                </a:lnTo>
                <a:lnTo>
                  <a:pt x="91577" y="629481"/>
                </a:lnTo>
                <a:lnTo>
                  <a:pt x="99697" y="618732"/>
                </a:lnTo>
                <a:lnTo>
                  <a:pt x="95949" y="593899"/>
                </a:lnTo>
                <a:lnTo>
                  <a:pt x="77084" y="586856"/>
                </a:lnTo>
                <a:lnTo>
                  <a:pt x="66090" y="561776"/>
                </a:lnTo>
                <a:lnTo>
                  <a:pt x="73836" y="543120"/>
                </a:lnTo>
                <a:lnTo>
                  <a:pt x="68339" y="523105"/>
                </a:lnTo>
                <a:lnTo>
                  <a:pt x="42603" y="524835"/>
                </a:lnTo>
                <a:lnTo>
                  <a:pt x="27111" y="533978"/>
                </a:lnTo>
                <a:lnTo>
                  <a:pt x="1874" y="500990"/>
                </a:lnTo>
                <a:lnTo>
                  <a:pt x="0" y="472945"/>
                </a:lnTo>
                <a:lnTo>
                  <a:pt x="17866" y="457748"/>
                </a:lnTo>
                <a:lnTo>
                  <a:pt x="59094" y="461949"/>
                </a:lnTo>
                <a:lnTo>
                  <a:pt x="75460" y="456636"/>
                </a:lnTo>
                <a:lnTo>
                  <a:pt x="77084" y="435633"/>
                </a:lnTo>
                <a:lnTo>
                  <a:pt x="112316" y="421672"/>
                </a:lnTo>
                <a:lnTo>
                  <a:pt x="105819" y="407587"/>
                </a:lnTo>
                <a:lnTo>
                  <a:pt x="97574" y="400669"/>
                </a:lnTo>
                <a:lnTo>
                  <a:pt x="136803" y="389796"/>
                </a:lnTo>
                <a:lnTo>
                  <a:pt x="167287" y="375465"/>
                </a:lnTo>
                <a:lnTo>
                  <a:pt x="167037" y="357056"/>
                </a:lnTo>
                <a:lnTo>
                  <a:pt x="138052" y="344577"/>
                </a:lnTo>
                <a:lnTo>
                  <a:pt x="138552" y="322956"/>
                </a:lnTo>
                <a:lnTo>
                  <a:pt x="161290" y="313443"/>
                </a:lnTo>
                <a:lnTo>
                  <a:pt x="184903" y="294787"/>
                </a:lnTo>
                <a:lnTo>
                  <a:pt x="203518" y="295281"/>
                </a:lnTo>
                <a:lnTo>
                  <a:pt x="231253" y="264641"/>
                </a:lnTo>
                <a:lnTo>
                  <a:pt x="251992" y="284039"/>
                </a:lnTo>
                <a:lnTo>
                  <a:pt x="259863" y="296888"/>
                </a:lnTo>
                <a:lnTo>
                  <a:pt x="304464" y="287745"/>
                </a:lnTo>
                <a:lnTo>
                  <a:pt x="336323" y="288363"/>
                </a:lnTo>
                <a:lnTo>
                  <a:pt x="360810" y="258464"/>
                </a:lnTo>
                <a:lnTo>
                  <a:pt x="355438" y="240426"/>
                </a:lnTo>
                <a:lnTo>
                  <a:pt x="308962" y="207685"/>
                </a:lnTo>
                <a:lnTo>
                  <a:pt x="296968" y="205585"/>
                </a:lnTo>
                <a:lnTo>
                  <a:pt x="295344" y="231160"/>
                </a:lnTo>
                <a:lnTo>
                  <a:pt x="280227" y="248827"/>
                </a:lnTo>
                <a:lnTo>
                  <a:pt x="263486" y="243638"/>
                </a:lnTo>
                <a:lnTo>
                  <a:pt x="246245" y="228689"/>
                </a:lnTo>
                <a:lnTo>
                  <a:pt x="204767" y="218681"/>
                </a:lnTo>
                <a:lnTo>
                  <a:pt x="187151" y="208921"/>
                </a:lnTo>
                <a:lnTo>
                  <a:pt x="200020" y="185447"/>
                </a:lnTo>
                <a:lnTo>
                  <a:pt x="227255" y="139734"/>
                </a:lnTo>
                <a:lnTo>
                  <a:pt x="225006" y="120831"/>
                </a:lnTo>
                <a:lnTo>
                  <a:pt x="209764" y="119595"/>
                </a:lnTo>
                <a:lnTo>
                  <a:pt x="215511" y="119966"/>
                </a:lnTo>
                <a:lnTo>
                  <a:pt x="218010" y="111688"/>
                </a:lnTo>
                <a:lnTo>
                  <a:pt x="237625" y="97974"/>
                </a:lnTo>
                <a:lnTo>
                  <a:pt x="230503" y="87843"/>
                </a:lnTo>
                <a:lnTo>
                  <a:pt x="246995" y="68693"/>
                </a:lnTo>
                <a:lnTo>
                  <a:pt x="277604" y="71411"/>
                </a:lnTo>
                <a:lnTo>
                  <a:pt x="293845" y="79812"/>
                </a:lnTo>
                <a:lnTo>
                  <a:pt x="361684" y="83519"/>
                </a:lnTo>
                <a:lnTo>
                  <a:pt x="418529" y="79812"/>
                </a:lnTo>
                <a:lnTo>
                  <a:pt x="446889" y="74006"/>
                </a:lnTo>
                <a:lnTo>
                  <a:pt x="445140" y="49914"/>
                </a:lnTo>
                <a:lnTo>
                  <a:pt x="439019" y="29899"/>
                </a:lnTo>
                <a:lnTo>
                  <a:pt x="436145" y="10378"/>
                </a:lnTo>
                <a:lnTo>
                  <a:pt x="446390" y="4077"/>
                </a:lnTo>
                <a:lnTo>
                  <a:pt x="463756" y="6548"/>
                </a:lnTo>
                <a:lnTo>
                  <a:pt x="485619" y="6919"/>
                </a:lnTo>
                <a:lnTo>
                  <a:pt x="495364" y="1977"/>
                </a:lnTo>
                <a:lnTo>
                  <a:pt x="524349" y="0"/>
                </a:lnTo>
                <a:lnTo>
                  <a:pt x="544088" y="10378"/>
                </a:lnTo>
                <a:lnTo>
                  <a:pt x="563203" y="20509"/>
                </a:lnTo>
                <a:lnTo>
                  <a:pt x="563203" y="665928"/>
                </a:lnTo>
                <a:lnTo>
                  <a:pt x="533094" y="68668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45" name="Graphic 153">
            <a:extLst>
              <a:ext uri="{FF2B5EF4-FFF2-40B4-BE49-F238E27FC236}">
                <a16:creationId xmlns:a16="http://schemas.microsoft.com/office/drawing/2014/main" id="{BDB77383-1331-8273-4743-DF1EDD85C2E3}"/>
              </a:ext>
            </a:extLst>
          </p:cNvPr>
          <p:cNvSpPr/>
          <p:nvPr/>
        </p:nvSpPr>
        <p:spPr>
          <a:xfrm rot="1141104">
            <a:off x="7183270" y="2126942"/>
            <a:ext cx="581443" cy="437732"/>
          </a:xfrm>
          <a:custGeom>
            <a:avLst/>
            <a:gdLst>
              <a:gd name="connsiteX0" fmla="*/ 421278 w 581443"/>
              <a:gd name="connsiteY0" fmla="*/ 426243 h 437732"/>
              <a:gd name="connsiteX1" fmla="*/ 426900 w 581443"/>
              <a:gd name="connsiteY1" fmla="*/ 432297 h 437732"/>
              <a:gd name="connsiteX2" fmla="*/ 445640 w 581443"/>
              <a:gd name="connsiteY2" fmla="*/ 437733 h 437732"/>
              <a:gd name="connsiteX3" fmla="*/ 456884 w 581443"/>
              <a:gd name="connsiteY3" fmla="*/ 421177 h 437732"/>
              <a:gd name="connsiteX4" fmla="*/ 468003 w 581443"/>
              <a:gd name="connsiteY4" fmla="*/ 424019 h 437732"/>
              <a:gd name="connsiteX5" fmla="*/ 469002 w 581443"/>
              <a:gd name="connsiteY5" fmla="*/ 415741 h 437732"/>
              <a:gd name="connsiteX6" fmla="*/ 460507 w 581443"/>
              <a:gd name="connsiteY6" fmla="*/ 402274 h 437732"/>
              <a:gd name="connsiteX7" fmla="*/ 463755 w 581443"/>
              <a:gd name="connsiteY7" fmla="*/ 386954 h 437732"/>
              <a:gd name="connsiteX8" fmla="*/ 450137 w 581443"/>
              <a:gd name="connsiteY8" fmla="*/ 384854 h 437732"/>
              <a:gd name="connsiteX9" fmla="*/ 444016 w 581443"/>
              <a:gd name="connsiteY9" fmla="*/ 388437 h 437732"/>
              <a:gd name="connsiteX10" fmla="*/ 437894 w 581443"/>
              <a:gd name="connsiteY10" fmla="*/ 385101 h 437732"/>
              <a:gd name="connsiteX11" fmla="*/ 424151 w 581443"/>
              <a:gd name="connsiteY11" fmla="*/ 389302 h 437732"/>
              <a:gd name="connsiteX12" fmla="*/ 425650 w 581443"/>
              <a:gd name="connsiteY12" fmla="*/ 400421 h 437732"/>
              <a:gd name="connsiteX13" fmla="*/ 439893 w 581443"/>
              <a:gd name="connsiteY13" fmla="*/ 401162 h 437732"/>
              <a:gd name="connsiteX14" fmla="*/ 436145 w 581443"/>
              <a:gd name="connsiteY14" fmla="*/ 405981 h 437732"/>
              <a:gd name="connsiteX15" fmla="*/ 425151 w 581443"/>
              <a:gd name="connsiteY15" fmla="*/ 413023 h 437732"/>
              <a:gd name="connsiteX16" fmla="*/ 421403 w 581443"/>
              <a:gd name="connsiteY16" fmla="*/ 426366 h 437732"/>
              <a:gd name="connsiteX17" fmla="*/ 421403 w 581443"/>
              <a:gd name="connsiteY17" fmla="*/ 426366 h 437732"/>
              <a:gd name="connsiteX18" fmla="*/ 547586 w 581443"/>
              <a:gd name="connsiteY18" fmla="*/ 294663 h 437732"/>
              <a:gd name="connsiteX19" fmla="*/ 543963 w 581443"/>
              <a:gd name="connsiteY19" fmla="*/ 318755 h 437732"/>
              <a:gd name="connsiteX20" fmla="*/ 549335 w 581443"/>
              <a:gd name="connsiteY20" fmla="*/ 335311 h 437732"/>
              <a:gd name="connsiteX21" fmla="*/ 578819 w 581443"/>
              <a:gd name="connsiteY21" fmla="*/ 343959 h 437732"/>
              <a:gd name="connsiteX22" fmla="*/ 581443 w 581443"/>
              <a:gd name="connsiteY22" fmla="*/ 328392 h 437732"/>
              <a:gd name="connsiteX23" fmla="*/ 564452 w 581443"/>
              <a:gd name="connsiteY23" fmla="*/ 303806 h 437732"/>
              <a:gd name="connsiteX24" fmla="*/ 547461 w 581443"/>
              <a:gd name="connsiteY24" fmla="*/ 294663 h 437732"/>
              <a:gd name="connsiteX25" fmla="*/ 547461 w 581443"/>
              <a:gd name="connsiteY25" fmla="*/ 294663 h 437732"/>
              <a:gd name="connsiteX26" fmla="*/ 366307 w 581443"/>
              <a:gd name="connsiteY26" fmla="*/ 261429 h 437732"/>
              <a:gd name="connsiteX27" fmla="*/ 360560 w 581443"/>
              <a:gd name="connsiteY27" fmla="*/ 280702 h 437732"/>
              <a:gd name="connsiteX28" fmla="*/ 373303 w 581443"/>
              <a:gd name="connsiteY28" fmla="*/ 284038 h 437732"/>
              <a:gd name="connsiteX29" fmla="*/ 366432 w 581443"/>
              <a:gd name="connsiteY29" fmla="*/ 261429 h 437732"/>
              <a:gd name="connsiteX30" fmla="*/ 366432 w 581443"/>
              <a:gd name="connsiteY30" fmla="*/ 261429 h 437732"/>
              <a:gd name="connsiteX31" fmla="*/ 324829 w 581443"/>
              <a:gd name="connsiteY31" fmla="*/ 352731 h 437732"/>
              <a:gd name="connsiteX32" fmla="*/ 310961 w 581443"/>
              <a:gd name="connsiteY32" fmla="*/ 353967 h 437732"/>
              <a:gd name="connsiteX33" fmla="*/ 303590 w 581443"/>
              <a:gd name="connsiteY33" fmla="*/ 344701 h 437732"/>
              <a:gd name="connsiteX34" fmla="*/ 311086 w 581443"/>
              <a:gd name="connsiteY34" fmla="*/ 334940 h 437732"/>
              <a:gd name="connsiteX35" fmla="*/ 307463 w 581443"/>
              <a:gd name="connsiteY35" fmla="*/ 326786 h 437732"/>
              <a:gd name="connsiteX36" fmla="*/ 286099 w 581443"/>
              <a:gd name="connsiteY36" fmla="*/ 322091 h 437732"/>
              <a:gd name="connsiteX37" fmla="*/ 274480 w 581443"/>
              <a:gd name="connsiteY37" fmla="*/ 322585 h 437732"/>
              <a:gd name="connsiteX38" fmla="*/ 263361 w 581443"/>
              <a:gd name="connsiteY38" fmla="*/ 310231 h 437732"/>
              <a:gd name="connsiteX39" fmla="*/ 263361 w 581443"/>
              <a:gd name="connsiteY39" fmla="*/ 291451 h 437732"/>
              <a:gd name="connsiteX40" fmla="*/ 255740 w 581443"/>
              <a:gd name="connsiteY40" fmla="*/ 280579 h 437732"/>
              <a:gd name="connsiteX41" fmla="*/ 252867 w 581443"/>
              <a:gd name="connsiteY41" fmla="*/ 267606 h 437732"/>
              <a:gd name="connsiteX42" fmla="*/ 263736 w 581443"/>
              <a:gd name="connsiteY42" fmla="*/ 263900 h 437732"/>
              <a:gd name="connsiteX43" fmla="*/ 270357 w 581443"/>
              <a:gd name="connsiteY43" fmla="*/ 249815 h 437732"/>
              <a:gd name="connsiteX44" fmla="*/ 278728 w 581443"/>
              <a:gd name="connsiteY44" fmla="*/ 243514 h 437732"/>
              <a:gd name="connsiteX45" fmla="*/ 287848 w 581443"/>
              <a:gd name="connsiteY45" fmla="*/ 254016 h 437732"/>
              <a:gd name="connsiteX46" fmla="*/ 288848 w 581443"/>
              <a:gd name="connsiteY46" fmla="*/ 262541 h 437732"/>
              <a:gd name="connsiteX47" fmla="*/ 305839 w 581443"/>
              <a:gd name="connsiteY47" fmla="*/ 272919 h 437732"/>
              <a:gd name="connsiteX48" fmla="*/ 309587 w 581443"/>
              <a:gd name="connsiteY48" fmla="*/ 268224 h 437732"/>
              <a:gd name="connsiteX49" fmla="*/ 319331 w 581443"/>
              <a:gd name="connsiteY49" fmla="*/ 270077 h 437732"/>
              <a:gd name="connsiteX50" fmla="*/ 320331 w 581443"/>
              <a:gd name="connsiteY50" fmla="*/ 260440 h 437732"/>
              <a:gd name="connsiteX51" fmla="*/ 305589 w 581443"/>
              <a:gd name="connsiteY51" fmla="*/ 251545 h 437732"/>
              <a:gd name="connsiteX52" fmla="*/ 298967 w 581443"/>
              <a:gd name="connsiteY52" fmla="*/ 244009 h 437732"/>
              <a:gd name="connsiteX53" fmla="*/ 306838 w 581443"/>
              <a:gd name="connsiteY53" fmla="*/ 227577 h 437732"/>
              <a:gd name="connsiteX54" fmla="*/ 330700 w 581443"/>
              <a:gd name="connsiteY54" fmla="*/ 220658 h 437732"/>
              <a:gd name="connsiteX55" fmla="*/ 351814 w 581443"/>
              <a:gd name="connsiteY55" fmla="*/ 218805 h 437732"/>
              <a:gd name="connsiteX56" fmla="*/ 357811 w 581443"/>
              <a:gd name="connsiteY56" fmla="*/ 233630 h 437732"/>
              <a:gd name="connsiteX57" fmla="*/ 360685 w 581443"/>
              <a:gd name="connsiteY57" fmla="*/ 253151 h 437732"/>
              <a:gd name="connsiteX58" fmla="*/ 355687 w 581443"/>
              <a:gd name="connsiteY58" fmla="*/ 275019 h 437732"/>
              <a:gd name="connsiteX59" fmla="*/ 336947 w 581443"/>
              <a:gd name="connsiteY59" fmla="*/ 285027 h 437732"/>
              <a:gd name="connsiteX60" fmla="*/ 337197 w 581443"/>
              <a:gd name="connsiteY60" fmla="*/ 291575 h 437732"/>
              <a:gd name="connsiteX61" fmla="*/ 354188 w 581443"/>
              <a:gd name="connsiteY61" fmla="*/ 301953 h 437732"/>
              <a:gd name="connsiteX62" fmla="*/ 357936 w 581443"/>
              <a:gd name="connsiteY62" fmla="*/ 312949 h 437732"/>
              <a:gd name="connsiteX63" fmla="*/ 349066 w 581443"/>
              <a:gd name="connsiteY63" fmla="*/ 321844 h 437732"/>
              <a:gd name="connsiteX64" fmla="*/ 330201 w 581443"/>
              <a:gd name="connsiteY64" fmla="*/ 330493 h 437732"/>
              <a:gd name="connsiteX65" fmla="*/ 331450 w 581443"/>
              <a:gd name="connsiteY65" fmla="*/ 342847 h 437732"/>
              <a:gd name="connsiteX66" fmla="*/ 324829 w 581443"/>
              <a:gd name="connsiteY66" fmla="*/ 352855 h 437732"/>
              <a:gd name="connsiteX67" fmla="*/ 324829 w 581443"/>
              <a:gd name="connsiteY67" fmla="*/ 352855 h 437732"/>
              <a:gd name="connsiteX68" fmla="*/ 335698 w 581443"/>
              <a:gd name="connsiteY68" fmla="*/ 357550 h 437732"/>
              <a:gd name="connsiteX69" fmla="*/ 338946 w 581443"/>
              <a:gd name="connsiteY69" fmla="*/ 364345 h 437732"/>
              <a:gd name="connsiteX70" fmla="*/ 346692 w 581443"/>
              <a:gd name="connsiteY70" fmla="*/ 352114 h 437732"/>
              <a:gd name="connsiteX71" fmla="*/ 358811 w 581443"/>
              <a:gd name="connsiteY71" fmla="*/ 349272 h 437732"/>
              <a:gd name="connsiteX72" fmla="*/ 355812 w 581443"/>
              <a:gd name="connsiteY72" fmla="*/ 339512 h 437732"/>
              <a:gd name="connsiteX73" fmla="*/ 342819 w 581443"/>
              <a:gd name="connsiteY73" fmla="*/ 345689 h 437732"/>
              <a:gd name="connsiteX74" fmla="*/ 335698 w 581443"/>
              <a:gd name="connsiteY74" fmla="*/ 357550 h 437732"/>
              <a:gd name="connsiteX75" fmla="*/ 335698 w 581443"/>
              <a:gd name="connsiteY75" fmla="*/ 357550 h 437732"/>
              <a:gd name="connsiteX76" fmla="*/ 266984 w 581443"/>
              <a:gd name="connsiteY76" fmla="*/ 357797 h 437732"/>
              <a:gd name="connsiteX77" fmla="*/ 284850 w 581443"/>
              <a:gd name="connsiteY77" fmla="*/ 380653 h 437732"/>
              <a:gd name="connsiteX78" fmla="*/ 296344 w 581443"/>
              <a:gd name="connsiteY78" fmla="*/ 376576 h 437732"/>
              <a:gd name="connsiteX79" fmla="*/ 305589 w 581443"/>
              <a:gd name="connsiteY79" fmla="*/ 376206 h 437732"/>
              <a:gd name="connsiteX80" fmla="*/ 310961 w 581443"/>
              <a:gd name="connsiteY80" fmla="*/ 362245 h 437732"/>
              <a:gd name="connsiteX81" fmla="*/ 325828 w 581443"/>
              <a:gd name="connsiteY81" fmla="*/ 362245 h 437732"/>
              <a:gd name="connsiteX82" fmla="*/ 329076 w 581443"/>
              <a:gd name="connsiteY82" fmla="*/ 359526 h 437732"/>
              <a:gd name="connsiteX83" fmla="*/ 332574 w 581443"/>
              <a:gd name="connsiteY83" fmla="*/ 372252 h 437732"/>
              <a:gd name="connsiteX84" fmla="*/ 324953 w 581443"/>
              <a:gd name="connsiteY84" fmla="*/ 388313 h 437732"/>
              <a:gd name="connsiteX85" fmla="*/ 325953 w 581443"/>
              <a:gd name="connsiteY85" fmla="*/ 402768 h 437732"/>
              <a:gd name="connsiteX86" fmla="*/ 321580 w 581443"/>
              <a:gd name="connsiteY86" fmla="*/ 400668 h 437732"/>
              <a:gd name="connsiteX87" fmla="*/ 316333 w 581443"/>
              <a:gd name="connsiteY87" fmla="*/ 387078 h 437732"/>
              <a:gd name="connsiteX88" fmla="*/ 307962 w 581443"/>
              <a:gd name="connsiteY88" fmla="*/ 398568 h 437732"/>
              <a:gd name="connsiteX89" fmla="*/ 282226 w 581443"/>
              <a:gd name="connsiteY89" fmla="*/ 402027 h 437732"/>
              <a:gd name="connsiteX90" fmla="*/ 255740 w 581443"/>
              <a:gd name="connsiteY90" fmla="*/ 394244 h 437732"/>
              <a:gd name="connsiteX91" fmla="*/ 247994 w 581443"/>
              <a:gd name="connsiteY91" fmla="*/ 384360 h 437732"/>
              <a:gd name="connsiteX92" fmla="*/ 258114 w 581443"/>
              <a:gd name="connsiteY92" fmla="*/ 380036 h 437732"/>
              <a:gd name="connsiteX93" fmla="*/ 251492 w 581443"/>
              <a:gd name="connsiteY93" fmla="*/ 372499 h 437732"/>
              <a:gd name="connsiteX94" fmla="*/ 258239 w 581443"/>
              <a:gd name="connsiteY94" fmla="*/ 360762 h 437732"/>
              <a:gd name="connsiteX95" fmla="*/ 267109 w 581443"/>
              <a:gd name="connsiteY95" fmla="*/ 358044 h 437732"/>
              <a:gd name="connsiteX96" fmla="*/ 267109 w 581443"/>
              <a:gd name="connsiteY96" fmla="*/ 358044 h 437732"/>
              <a:gd name="connsiteX97" fmla="*/ 197771 w 581443"/>
              <a:gd name="connsiteY97" fmla="*/ 270077 h 437732"/>
              <a:gd name="connsiteX98" fmla="*/ 206141 w 581443"/>
              <a:gd name="connsiteY98" fmla="*/ 255622 h 437732"/>
              <a:gd name="connsiteX99" fmla="*/ 205392 w 581443"/>
              <a:gd name="connsiteY99" fmla="*/ 231036 h 437732"/>
              <a:gd name="connsiteX100" fmla="*/ 213137 w 581443"/>
              <a:gd name="connsiteY100" fmla="*/ 254016 h 437732"/>
              <a:gd name="connsiteX101" fmla="*/ 212013 w 581443"/>
              <a:gd name="connsiteY101" fmla="*/ 266618 h 437732"/>
              <a:gd name="connsiteX102" fmla="*/ 197896 w 581443"/>
              <a:gd name="connsiteY102" fmla="*/ 270201 h 437732"/>
              <a:gd name="connsiteX103" fmla="*/ 197896 w 581443"/>
              <a:gd name="connsiteY103" fmla="*/ 270201 h 437732"/>
              <a:gd name="connsiteX104" fmla="*/ 192773 w 581443"/>
              <a:gd name="connsiteY104" fmla="*/ 367186 h 437732"/>
              <a:gd name="connsiteX105" fmla="*/ 206891 w 581443"/>
              <a:gd name="connsiteY105" fmla="*/ 380036 h 437732"/>
              <a:gd name="connsiteX106" fmla="*/ 213262 w 581443"/>
              <a:gd name="connsiteY106" fmla="*/ 373858 h 437732"/>
              <a:gd name="connsiteX107" fmla="*/ 192773 w 581443"/>
              <a:gd name="connsiteY107" fmla="*/ 367186 h 437732"/>
              <a:gd name="connsiteX108" fmla="*/ 192773 w 581443"/>
              <a:gd name="connsiteY108" fmla="*/ 367186 h 437732"/>
              <a:gd name="connsiteX109" fmla="*/ 233127 w 581443"/>
              <a:gd name="connsiteY109" fmla="*/ 335805 h 437732"/>
              <a:gd name="connsiteX110" fmla="*/ 229629 w 581443"/>
              <a:gd name="connsiteY110" fmla="*/ 361503 h 437732"/>
              <a:gd name="connsiteX111" fmla="*/ 223007 w 581443"/>
              <a:gd name="connsiteY111" fmla="*/ 376206 h 437732"/>
              <a:gd name="connsiteX112" fmla="*/ 226630 w 581443"/>
              <a:gd name="connsiteY112" fmla="*/ 384607 h 437732"/>
              <a:gd name="connsiteX113" fmla="*/ 236000 w 581443"/>
              <a:gd name="connsiteY113" fmla="*/ 370522 h 437732"/>
              <a:gd name="connsiteX114" fmla="*/ 245620 w 581443"/>
              <a:gd name="connsiteY114" fmla="*/ 349148 h 437732"/>
              <a:gd name="connsiteX115" fmla="*/ 233127 w 581443"/>
              <a:gd name="connsiteY115" fmla="*/ 335929 h 437732"/>
              <a:gd name="connsiteX116" fmla="*/ 233127 w 581443"/>
              <a:gd name="connsiteY116" fmla="*/ 335929 h 437732"/>
              <a:gd name="connsiteX117" fmla="*/ 147172 w 581443"/>
              <a:gd name="connsiteY117" fmla="*/ 293675 h 437732"/>
              <a:gd name="connsiteX118" fmla="*/ 174783 w 581443"/>
              <a:gd name="connsiteY118" fmla="*/ 287251 h 437732"/>
              <a:gd name="connsiteX119" fmla="*/ 195022 w 581443"/>
              <a:gd name="connsiteY119" fmla="*/ 296887 h 437732"/>
              <a:gd name="connsiteX120" fmla="*/ 207515 w 581443"/>
              <a:gd name="connsiteY120" fmla="*/ 294416 h 437732"/>
              <a:gd name="connsiteX121" fmla="*/ 220509 w 581443"/>
              <a:gd name="connsiteY121" fmla="*/ 319373 h 437732"/>
              <a:gd name="connsiteX122" fmla="*/ 225756 w 581443"/>
              <a:gd name="connsiteY122" fmla="*/ 333581 h 437732"/>
              <a:gd name="connsiteX123" fmla="*/ 215511 w 581443"/>
              <a:gd name="connsiteY123" fmla="*/ 355573 h 437732"/>
              <a:gd name="connsiteX124" fmla="*/ 197771 w 581443"/>
              <a:gd name="connsiteY124" fmla="*/ 359650 h 437732"/>
              <a:gd name="connsiteX125" fmla="*/ 187526 w 581443"/>
              <a:gd name="connsiteY125" fmla="*/ 353473 h 437732"/>
              <a:gd name="connsiteX126" fmla="*/ 172284 w 581443"/>
              <a:gd name="connsiteY126" fmla="*/ 352114 h 437732"/>
              <a:gd name="connsiteX127" fmla="*/ 154294 w 581443"/>
              <a:gd name="connsiteY127" fmla="*/ 335187 h 437732"/>
              <a:gd name="connsiteX128" fmla="*/ 144174 w 581443"/>
              <a:gd name="connsiteY128" fmla="*/ 315914 h 437732"/>
              <a:gd name="connsiteX129" fmla="*/ 147172 w 581443"/>
              <a:gd name="connsiteY129" fmla="*/ 293552 h 437732"/>
              <a:gd name="connsiteX130" fmla="*/ 147172 w 581443"/>
              <a:gd name="connsiteY130" fmla="*/ 293552 h 437732"/>
              <a:gd name="connsiteX131" fmla="*/ 210764 w 581443"/>
              <a:gd name="connsiteY131" fmla="*/ 63257 h 437732"/>
              <a:gd name="connsiteX132" fmla="*/ 218884 w 581443"/>
              <a:gd name="connsiteY132" fmla="*/ 51767 h 437732"/>
              <a:gd name="connsiteX133" fmla="*/ 238749 w 581443"/>
              <a:gd name="connsiteY133" fmla="*/ 50902 h 437732"/>
              <a:gd name="connsiteX134" fmla="*/ 224382 w 581443"/>
              <a:gd name="connsiteY134" fmla="*/ 62392 h 437732"/>
              <a:gd name="connsiteX135" fmla="*/ 210764 w 581443"/>
              <a:gd name="connsiteY135" fmla="*/ 63257 h 437732"/>
              <a:gd name="connsiteX136" fmla="*/ 210764 w 581443"/>
              <a:gd name="connsiteY136" fmla="*/ 63257 h 437732"/>
              <a:gd name="connsiteX137" fmla="*/ 50973 w 581443"/>
              <a:gd name="connsiteY137" fmla="*/ 155795 h 437732"/>
              <a:gd name="connsiteX138" fmla="*/ 48474 w 581443"/>
              <a:gd name="connsiteY138" fmla="*/ 137139 h 437732"/>
              <a:gd name="connsiteX139" fmla="*/ 61468 w 581443"/>
              <a:gd name="connsiteY139" fmla="*/ 123796 h 437732"/>
              <a:gd name="connsiteX140" fmla="*/ 75960 w 581443"/>
              <a:gd name="connsiteY140" fmla="*/ 122190 h 437732"/>
              <a:gd name="connsiteX141" fmla="*/ 73836 w 581443"/>
              <a:gd name="connsiteY141" fmla="*/ 134050 h 437732"/>
              <a:gd name="connsiteX142" fmla="*/ 60093 w 581443"/>
              <a:gd name="connsiteY142" fmla="*/ 151100 h 437732"/>
              <a:gd name="connsiteX143" fmla="*/ 50973 w 581443"/>
              <a:gd name="connsiteY143" fmla="*/ 155795 h 437732"/>
              <a:gd name="connsiteX144" fmla="*/ 50973 w 581443"/>
              <a:gd name="connsiteY144" fmla="*/ 155795 h 437732"/>
              <a:gd name="connsiteX145" fmla="*/ 45601 w 581443"/>
              <a:gd name="connsiteY145" fmla="*/ 165184 h 437732"/>
              <a:gd name="connsiteX146" fmla="*/ 40604 w 581443"/>
              <a:gd name="connsiteY146" fmla="*/ 141834 h 437732"/>
              <a:gd name="connsiteX147" fmla="*/ 44102 w 581443"/>
              <a:gd name="connsiteY147" fmla="*/ 129232 h 437732"/>
              <a:gd name="connsiteX148" fmla="*/ 73586 w 581443"/>
              <a:gd name="connsiteY148" fmla="*/ 108970 h 437732"/>
              <a:gd name="connsiteX149" fmla="*/ 77709 w 581443"/>
              <a:gd name="connsiteY149" fmla="*/ 112059 h 437732"/>
              <a:gd name="connsiteX150" fmla="*/ 92826 w 581443"/>
              <a:gd name="connsiteY150" fmla="*/ 108846 h 437732"/>
              <a:gd name="connsiteX151" fmla="*/ 112815 w 581443"/>
              <a:gd name="connsiteY151" fmla="*/ 111935 h 437732"/>
              <a:gd name="connsiteX152" fmla="*/ 125809 w 581443"/>
              <a:gd name="connsiteY152" fmla="*/ 106746 h 437732"/>
              <a:gd name="connsiteX153" fmla="*/ 143674 w 581443"/>
              <a:gd name="connsiteY153" fmla="*/ 106005 h 437732"/>
              <a:gd name="connsiteX154" fmla="*/ 159166 w 581443"/>
              <a:gd name="connsiteY154" fmla="*/ 111935 h 437732"/>
              <a:gd name="connsiteX155" fmla="*/ 168911 w 581443"/>
              <a:gd name="connsiteY155" fmla="*/ 106993 h 437732"/>
              <a:gd name="connsiteX156" fmla="*/ 185402 w 581443"/>
              <a:gd name="connsiteY156" fmla="*/ 75488 h 437732"/>
              <a:gd name="connsiteX157" fmla="*/ 180530 w 581443"/>
              <a:gd name="connsiteY157" fmla="*/ 56709 h 437732"/>
              <a:gd name="connsiteX158" fmla="*/ 183528 w 581443"/>
              <a:gd name="connsiteY158" fmla="*/ 48678 h 437732"/>
              <a:gd name="connsiteX159" fmla="*/ 178781 w 581443"/>
              <a:gd name="connsiteY159" fmla="*/ 30517 h 437732"/>
              <a:gd name="connsiteX160" fmla="*/ 190899 w 581443"/>
              <a:gd name="connsiteY160" fmla="*/ 6425 h 437732"/>
              <a:gd name="connsiteX161" fmla="*/ 188026 w 581443"/>
              <a:gd name="connsiteY161" fmla="*/ 0 h 437732"/>
              <a:gd name="connsiteX162" fmla="*/ 164663 w 581443"/>
              <a:gd name="connsiteY162" fmla="*/ 25204 h 437732"/>
              <a:gd name="connsiteX163" fmla="*/ 141925 w 581443"/>
              <a:gd name="connsiteY163" fmla="*/ 36694 h 437732"/>
              <a:gd name="connsiteX164" fmla="*/ 125559 w 581443"/>
              <a:gd name="connsiteY164" fmla="*/ 39288 h 437732"/>
              <a:gd name="connsiteX165" fmla="*/ 115064 w 581443"/>
              <a:gd name="connsiteY165" fmla="*/ 56832 h 437732"/>
              <a:gd name="connsiteX166" fmla="*/ 106694 w 581443"/>
              <a:gd name="connsiteY166" fmla="*/ 78083 h 437732"/>
              <a:gd name="connsiteX167" fmla="*/ 89328 w 581443"/>
              <a:gd name="connsiteY167" fmla="*/ 91302 h 437732"/>
              <a:gd name="connsiteX168" fmla="*/ 69463 w 581443"/>
              <a:gd name="connsiteY168" fmla="*/ 92167 h 437732"/>
              <a:gd name="connsiteX169" fmla="*/ 47100 w 581443"/>
              <a:gd name="connsiteY169" fmla="*/ 111441 h 437732"/>
              <a:gd name="connsiteX170" fmla="*/ 40229 w 581443"/>
              <a:gd name="connsiteY170" fmla="*/ 107117 h 437732"/>
              <a:gd name="connsiteX171" fmla="*/ 27111 w 581443"/>
              <a:gd name="connsiteY171" fmla="*/ 108352 h 437732"/>
              <a:gd name="connsiteX172" fmla="*/ 21988 w 581443"/>
              <a:gd name="connsiteY172" fmla="*/ 128243 h 437732"/>
              <a:gd name="connsiteX173" fmla="*/ 8620 w 581443"/>
              <a:gd name="connsiteY173" fmla="*/ 142575 h 437732"/>
              <a:gd name="connsiteX174" fmla="*/ 17491 w 581443"/>
              <a:gd name="connsiteY174" fmla="*/ 149370 h 437732"/>
              <a:gd name="connsiteX175" fmla="*/ 25237 w 581443"/>
              <a:gd name="connsiteY175" fmla="*/ 144428 h 437732"/>
              <a:gd name="connsiteX176" fmla="*/ 45351 w 581443"/>
              <a:gd name="connsiteY176" fmla="*/ 165184 h 437732"/>
              <a:gd name="connsiteX177" fmla="*/ 45351 w 581443"/>
              <a:gd name="connsiteY177" fmla="*/ 165184 h 437732"/>
              <a:gd name="connsiteX178" fmla="*/ 134054 w 581443"/>
              <a:gd name="connsiteY178" fmla="*/ 376329 h 437732"/>
              <a:gd name="connsiteX179" fmla="*/ 133055 w 581443"/>
              <a:gd name="connsiteY179" fmla="*/ 375341 h 437732"/>
              <a:gd name="connsiteX180" fmla="*/ 137427 w 581443"/>
              <a:gd name="connsiteY180" fmla="*/ 364098 h 437732"/>
              <a:gd name="connsiteX181" fmla="*/ 124434 w 581443"/>
              <a:gd name="connsiteY181" fmla="*/ 352237 h 437732"/>
              <a:gd name="connsiteX182" fmla="*/ 117563 w 581443"/>
              <a:gd name="connsiteY182" fmla="*/ 352484 h 437732"/>
              <a:gd name="connsiteX183" fmla="*/ 117563 w 581443"/>
              <a:gd name="connsiteY183" fmla="*/ 340129 h 437732"/>
              <a:gd name="connsiteX184" fmla="*/ 127683 w 581443"/>
              <a:gd name="connsiteY184" fmla="*/ 330740 h 437732"/>
              <a:gd name="connsiteX185" fmla="*/ 128432 w 581443"/>
              <a:gd name="connsiteY185" fmla="*/ 316902 h 437732"/>
              <a:gd name="connsiteX186" fmla="*/ 119312 w 581443"/>
              <a:gd name="connsiteY186" fmla="*/ 313196 h 437732"/>
              <a:gd name="connsiteX187" fmla="*/ 119312 w 581443"/>
              <a:gd name="connsiteY187" fmla="*/ 300841 h 437732"/>
              <a:gd name="connsiteX188" fmla="*/ 154044 w 581443"/>
              <a:gd name="connsiteY188" fmla="*/ 281444 h 437732"/>
              <a:gd name="connsiteX189" fmla="*/ 146173 w 581443"/>
              <a:gd name="connsiteY189" fmla="*/ 275637 h 437732"/>
              <a:gd name="connsiteX190" fmla="*/ 158791 w 581443"/>
              <a:gd name="connsiteY190" fmla="*/ 260688 h 437732"/>
              <a:gd name="connsiteX191" fmla="*/ 166662 w 581443"/>
              <a:gd name="connsiteY191" fmla="*/ 265135 h 437732"/>
              <a:gd name="connsiteX192" fmla="*/ 185027 w 581443"/>
              <a:gd name="connsiteY192" fmla="*/ 257475 h 437732"/>
              <a:gd name="connsiteX193" fmla="*/ 183278 w 581443"/>
              <a:gd name="connsiteY193" fmla="*/ 232766 h 437732"/>
              <a:gd name="connsiteX194" fmla="*/ 174283 w 581443"/>
              <a:gd name="connsiteY194" fmla="*/ 216704 h 437732"/>
              <a:gd name="connsiteX195" fmla="*/ 184902 w 581443"/>
              <a:gd name="connsiteY195" fmla="*/ 205338 h 437732"/>
              <a:gd name="connsiteX196" fmla="*/ 200769 w 581443"/>
              <a:gd name="connsiteY196" fmla="*/ 202620 h 437732"/>
              <a:gd name="connsiteX197" fmla="*/ 212388 w 581443"/>
              <a:gd name="connsiteY197" fmla="*/ 214480 h 437732"/>
              <a:gd name="connsiteX198" fmla="*/ 218385 w 581443"/>
              <a:gd name="connsiteY198" fmla="*/ 209415 h 437732"/>
              <a:gd name="connsiteX199" fmla="*/ 225381 w 581443"/>
              <a:gd name="connsiteY199" fmla="*/ 211886 h 437732"/>
              <a:gd name="connsiteX200" fmla="*/ 231253 w 581443"/>
              <a:gd name="connsiteY200" fmla="*/ 202743 h 437732"/>
              <a:gd name="connsiteX201" fmla="*/ 236125 w 581443"/>
              <a:gd name="connsiteY201" fmla="*/ 187423 h 437732"/>
              <a:gd name="connsiteX202" fmla="*/ 219384 w 581443"/>
              <a:gd name="connsiteY202" fmla="*/ 170991 h 437732"/>
              <a:gd name="connsiteX203" fmla="*/ 210764 w 581443"/>
              <a:gd name="connsiteY203" fmla="*/ 178281 h 437732"/>
              <a:gd name="connsiteX204" fmla="*/ 189275 w 581443"/>
              <a:gd name="connsiteY204" fmla="*/ 178528 h 437732"/>
              <a:gd name="connsiteX205" fmla="*/ 178406 w 581443"/>
              <a:gd name="connsiteY205" fmla="*/ 168026 h 437732"/>
              <a:gd name="connsiteX206" fmla="*/ 168036 w 581443"/>
              <a:gd name="connsiteY206" fmla="*/ 154065 h 437732"/>
              <a:gd name="connsiteX207" fmla="*/ 158916 w 581443"/>
              <a:gd name="connsiteY207" fmla="*/ 152335 h 437732"/>
              <a:gd name="connsiteX208" fmla="*/ 166162 w 581443"/>
              <a:gd name="connsiteY208" fmla="*/ 142452 h 437732"/>
              <a:gd name="connsiteX209" fmla="*/ 165413 w 581443"/>
              <a:gd name="connsiteY209" fmla="*/ 123919 h 437732"/>
              <a:gd name="connsiteX210" fmla="*/ 147547 w 581443"/>
              <a:gd name="connsiteY210" fmla="*/ 112923 h 437732"/>
              <a:gd name="connsiteX211" fmla="*/ 120561 w 581443"/>
              <a:gd name="connsiteY211" fmla="*/ 116136 h 437732"/>
              <a:gd name="connsiteX212" fmla="*/ 107693 w 581443"/>
              <a:gd name="connsiteY212" fmla="*/ 122807 h 437732"/>
              <a:gd name="connsiteX213" fmla="*/ 92951 w 581443"/>
              <a:gd name="connsiteY213" fmla="*/ 121325 h 437732"/>
              <a:gd name="connsiteX214" fmla="*/ 86329 w 581443"/>
              <a:gd name="connsiteY214" fmla="*/ 127749 h 437732"/>
              <a:gd name="connsiteX215" fmla="*/ 102446 w 581443"/>
              <a:gd name="connsiteY215" fmla="*/ 147641 h 437732"/>
              <a:gd name="connsiteX216" fmla="*/ 98698 w 581443"/>
              <a:gd name="connsiteY216" fmla="*/ 154683 h 437732"/>
              <a:gd name="connsiteX217" fmla="*/ 114065 w 581443"/>
              <a:gd name="connsiteY217" fmla="*/ 171980 h 437732"/>
              <a:gd name="connsiteX218" fmla="*/ 112815 w 581443"/>
              <a:gd name="connsiteY218" fmla="*/ 177539 h 437732"/>
              <a:gd name="connsiteX219" fmla="*/ 98698 w 581443"/>
              <a:gd name="connsiteY219" fmla="*/ 172597 h 437732"/>
              <a:gd name="connsiteX220" fmla="*/ 83581 w 581443"/>
              <a:gd name="connsiteY220" fmla="*/ 176675 h 437732"/>
              <a:gd name="connsiteX221" fmla="*/ 80458 w 581443"/>
              <a:gd name="connsiteY221" fmla="*/ 168520 h 437732"/>
              <a:gd name="connsiteX222" fmla="*/ 89703 w 581443"/>
              <a:gd name="connsiteY222" fmla="*/ 157772 h 437732"/>
              <a:gd name="connsiteX223" fmla="*/ 79208 w 581443"/>
              <a:gd name="connsiteY223" fmla="*/ 140969 h 437732"/>
              <a:gd name="connsiteX224" fmla="*/ 74336 w 581443"/>
              <a:gd name="connsiteY224" fmla="*/ 141216 h 437732"/>
              <a:gd name="connsiteX225" fmla="*/ 60593 w 581443"/>
              <a:gd name="connsiteY225" fmla="*/ 161725 h 437732"/>
              <a:gd name="connsiteX226" fmla="*/ 69338 w 581443"/>
              <a:gd name="connsiteY226" fmla="*/ 172968 h 437732"/>
              <a:gd name="connsiteX227" fmla="*/ 52597 w 581443"/>
              <a:gd name="connsiteY227" fmla="*/ 186064 h 437732"/>
              <a:gd name="connsiteX228" fmla="*/ 41603 w 581443"/>
              <a:gd name="connsiteY228" fmla="*/ 174821 h 437732"/>
              <a:gd name="connsiteX229" fmla="*/ 26361 w 581443"/>
              <a:gd name="connsiteY229" fmla="*/ 175439 h 437732"/>
              <a:gd name="connsiteX230" fmla="*/ 15617 w 581443"/>
              <a:gd name="connsiteY230" fmla="*/ 170374 h 437732"/>
              <a:gd name="connsiteX231" fmla="*/ 3748 w 581443"/>
              <a:gd name="connsiteY231" fmla="*/ 183964 h 437732"/>
              <a:gd name="connsiteX232" fmla="*/ 23737 w 581443"/>
              <a:gd name="connsiteY232" fmla="*/ 197554 h 437732"/>
              <a:gd name="connsiteX233" fmla="*/ 24487 w 581443"/>
              <a:gd name="connsiteY233" fmla="*/ 214727 h 437732"/>
              <a:gd name="connsiteX234" fmla="*/ 12244 w 581443"/>
              <a:gd name="connsiteY234" fmla="*/ 206326 h 437732"/>
              <a:gd name="connsiteX235" fmla="*/ 4747 w 581443"/>
              <a:gd name="connsiteY235" fmla="*/ 208674 h 437732"/>
              <a:gd name="connsiteX236" fmla="*/ 9245 w 581443"/>
              <a:gd name="connsiteY236" fmla="*/ 231159 h 437732"/>
              <a:gd name="connsiteX237" fmla="*/ 21988 w 581443"/>
              <a:gd name="connsiteY237" fmla="*/ 237460 h 437732"/>
              <a:gd name="connsiteX238" fmla="*/ 22863 w 581443"/>
              <a:gd name="connsiteY238" fmla="*/ 258093 h 437732"/>
              <a:gd name="connsiteX239" fmla="*/ 33732 w 581443"/>
              <a:gd name="connsiteY239" fmla="*/ 267977 h 437732"/>
              <a:gd name="connsiteX240" fmla="*/ 9245 w 581443"/>
              <a:gd name="connsiteY240" fmla="*/ 280702 h 437732"/>
              <a:gd name="connsiteX241" fmla="*/ 0 w 581443"/>
              <a:gd name="connsiteY241" fmla="*/ 307265 h 437732"/>
              <a:gd name="connsiteX242" fmla="*/ 10744 w 581443"/>
              <a:gd name="connsiteY242" fmla="*/ 315049 h 437732"/>
              <a:gd name="connsiteX243" fmla="*/ 25736 w 581443"/>
              <a:gd name="connsiteY243" fmla="*/ 306153 h 437732"/>
              <a:gd name="connsiteX244" fmla="*/ 47350 w 581443"/>
              <a:gd name="connsiteY244" fmla="*/ 323821 h 437732"/>
              <a:gd name="connsiteX245" fmla="*/ 52722 w 581443"/>
              <a:gd name="connsiteY245" fmla="*/ 351125 h 437732"/>
              <a:gd name="connsiteX246" fmla="*/ 45226 w 581443"/>
              <a:gd name="connsiteY246" fmla="*/ 356191 h 437732"/>
              <a:gd name="connsiteX247" fmla="*/ 49599 w 581443"/>
              <a:gd name="connsiteY247" fmla="*/ 369905 h 437732"/>
              <a:gd name="connsiteX248" fmla="*/ 73711 w 581443"/>
              <a:gd name="connsiteY248" fmla="*/ 367681 h 437732"/>
              <a:gd name="connsiteX249" fmla="*/ 107818 w 581443"/>
              <a:gd name="connsiteY249" fmla="*/ 375464 h 437732"/>
              <a:gd name="connsiteX250" fmla="*/ 117938 w 581443"/>
              <a:gd name="connsiteY250" fmla="*/ 379665 h 437732"/>
              <a:gd name="connsiteX251" fmla="*/ 133929 w 581443"/>
              <a:gd name="connsiteY251" fmla="*/ 376206 h 4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581443" h="437732">
                <a:moveTo>
                  <a:pt x="421278" y="426243"/>
                </a:moveTo>
                <a:lnTo>
                  <a:pt x="426900" y="432297"/>
                </a:lnTo>
                <a:lnTo>
                  <a:pt x="445640" y="437733"/>
                </a:lnTo>
                <a:lnTo>
                  <a:pt x="456884" y="421177"/>
                </a:lnTo>
                <a:lnTo>
                  <a:pt x="468003" y="424019"/>
                </a:lnTo>
                <a:lnTo>
                  <a:pt x="469002" y="415741"/>
                </a:lnTo>
                <a:lnTo>
                  <a:pt x="460507" y="402274"/>
                </a:lnTo>
                <a:lnTo>
                  <a:pt x="463755" y="386954"/>
                </a:lnTo>
                <a:lnTo>
                  <a:pt x="450137" y="384854"/>
                </a:lnTo>
                <a:lnTo>
                  <a:pt x="444016" y="388437"/>
                </a:lnTo>
                <a:lnTo>
                  <a:pt x="437894" y="385101"/>
                </a:lnTo>
                <a:lnTo>
                  <a:pt x="424151" y="389302"/>
                </a:lnTo>
                <a:lnTo>
                  <a:pt x="425650" y="400421"/>
                </a:lnTo>
                <a:lnTo>
                  <a:pt x="439893" y="401162"/>
                </a:lnTo>
                <a:lnTo>
                  <a:pt x="436145" y="405981"/>
                </a:lnTo>
                <a:lnTo>
                  <a:pt x="425151" y="413023"/>
                </a:lnTo>
                <a:lnTo>
                  <a:pt x="421403" y="426366"/>
                </a:lnTo>
                <a:lnTo>
                  <a:pt x="421403" y="426366"/>
                </a:lnTo>
                <a:close/>
                <a:moveTo>
                  <a:pt x="547586" y="294663"/>
                </a:moveTo>
                <a:lnTo>
                  <a:pt x="543963" y="318755"/>
                </a:lnTo>
                <a:lnTo>
                  <a:pt x="549335" y="335311"/>
                </a:lnTo>
                <a:lnTo>
                  <a:pt x="578819" y="343959"/>
                </a:lnTo>
                <a:lnTo>
                  <a:pt x="581443" y="328392"/>
                </a:lnTo>
                <a:lnTo>
                  <a:pt x="564452" y="303806"/>
                </a:lnTo>
                <a:lnTo>
                  <a:pt x="547461" y="294663"/>
                </a:lnTo>
                <a:lnTo>
                  <a:pt x="547461" y="294663"/>
                </a:lnTo>
                <a:close/>
                <a:moveTo>
                  <a:pt x="366307" y="261429"/>
                </a:moveTo>
                <a:lnTo>
                  <a:pt x="360560" y="280702"/>
                </a:lnTo>
                <a:lnTo>
                  <a:pt x="373303" y="284038"/>
                </a:lnTo>
                <a:lnTo>
                  <a:pt x="366432" y="261429"/>
                </a:lnTo>
                <a:lnTo>
                  <a:pt x="366432" y="261429"/>
                </a:lnTo>
                <a:close/>
                <a:moveTo>
                  <a:pt x="324829" y="352731"/>
                </a:moveTo>
                <a:lnTo>
                  <a:pt x="310961" y="353967"/>
                </a:lnTo>
                <a:lnTo>
                  <a:pt x="303590" y="344701"/>
                </a:lnTo>
                <a:lnTo>
                  <a:pt x="311086" y="334940"/>
                </a:lnTo>
                <a:lnTo>
                  <a:pt x="307463" y="326786"/>
                </a:lnTo>
                <a:lnTo>
                  <a:pt x="286099" y="322091"/>
                </a:lnTo>
                <a:lnTo>
                  <a:pt x="274480" y="322585"/>
                </a:lnTo>
                <a:lnTo>
                  <a:pt x="263361" y="310231"/>
                </a:lnTo>
                <a:lnTo>
                  <a:pt x="263361" y="291451"/>
                </a:lnTo>
                <a:cubicBezTo>
                  <a:pt x="263361" y="291451"/>
                  <a:pt x="255740" y="280579"/>
                  <a:pt x="255740" y="280579"/>
                </a:cubicBezTo>
                <a:lnTo>
                  <a:pt x="252867" y="267606"/>
                </a:lnTo>
                <a:lnTo>
                  <a:pt x="263736" y="263900"/>
                </a:lnTo>
                <a:lnTo>
                  <a:pt x="270357" y="249815"/>
                </a:lnTo>
                <a:lnTo>
                  <a:pt x="278728" y="243514"/>
                </a:lnTo>
                <a:lnTo>
                  <a:pt x="287848" y="254016"/>
                </a:lnTo>
                <a:lnTo>
                  <a:pt x="288848" y="262541"/>
                </a:lnTo>
                <a:lnTo>
                  <a:pt x="305839" y="272919"/>
                </a:lnTo>
                <a:lnTo>
                  <a:pt x="309587" y="268224"/>
                </a:lnTo>
                <a:lnTo>
                  <a:pt x="319331" y="270077"/>
                </a:lnTo>
                <a:lnTo>
                  <a:pt x="320331" y="260440"/>
                </a:lnTo>
                <a:lnTo>
                  <a:pt x="305589" y="251545"/>
                </a:lnTo>
                <a:lnTo>
                  <a:pt x="298967" y="244009"/>
                </a:lnTo>
                <a:lnTo>
                  <a:pt x="306838" y="227577"/>
                </a:lnTo>
                <a:lnTo>
                  <a:pt x="330700" y="220658"/>
                </a:lnTo>
                <a:lnTo>
                  <a:pt x="351814" y="218805"/>
                </a:lnTo>
                <a:lnTo>
                  <a:pt x="357811" y="233630"/>
                </a:lnTo>
                <a:lnTo>
                  <a:pt x="360685" y="253151"/>
                </a:lnTo>
                <a:lnTo>
                  <a:pt x="355687" y="275019"/>
                </a:lnTo>
                <a:lnTo>
                  <a:pt x="336947" y="285027"/>
                </a:lnTo>
                <a:lnTo>
                  <a:pt x="337197" y="291575"/>
                </a:lnTo>
                <a:lnTo>
                  <a:pt x="354188" y="301953"/>
                </a:lnTo>
                <a:lnTo>
                  <a:pt x="357936" y="312949"/>
                </a:lnTo>
                <a:lnTo>
                  <a:pt x="349066" y="321844"/>
                </a:lnTo>
                <a:lnTo>
                  <a:pt x="330201" y="330493"/>
                </a:lnTo>
                <a:lnTo>
                  <a:pt x="331450" y="342847"/>
                </a:lnTo>
                <a:lnTo>
                  <a:pt x="324829" y="352855"/>
                </a:lnTo>
                <a:lnTo>
                  <a:pt x="324829" y="352855"/>
                </a:lnTo>
                <a:close/>
                <a:moveTo>
                  <a:pt x="335698" y="357550"/>
                </a:moveTo>
                <a:lnTo>
                  <a:pt x="338946" y="364345"/>
                </a:lnTo>
                <a:lnTo>
                  <a:pt x="346692" y="352114"/>
                </a:lnTo>
                <a:lnTo>
                  <a:pt x="358811" y="349272"/>
                </a:lnTo>
                <a:lnTo>
                  <a:pt x="355812" y="339512"/>
                </a:lnTo>
                <a:lnTo>
                  <a:pt x="342819" y="345689"/>
                </a:lnTo>
                <a:lnTo>
                  <a:pt x="335698" y="357550"/>
                </a:lnTo>
                <a:lnTo>
                  <a:pt x="335698" y="357550"/>
                </a:lnTo>
                <a:close/>
                <a:moveTo>
                  <a:pt x="266984" y="357797"/>
                </a:moveTo>
                <a:lnTo>
                  <a:pt x="284850" y="380653"/>
                </a:lnTo>
                <a:lnTo>
                  <a:pt x="296344" y="376576"/>
                </a:lnTo>
                <a:lnTo>
                  <a:pt x="305589" y="376206"/>
                </a:lnTo>
                <a:lnTo>
                  <a:pt x="310961" y="362245"/>
                </a:lnTo>
                <a:lnTo>
                  <a:pt x="325828" y="362245"/>
                </a:lnTo>
                <a:cubicBezTo>
                  <a:pt x="325828" y="362245"/>
                  <a:pt x="329076" y="359526"/>
                  <a:pt x="329076" y="359526"/>
                </a:cubicBezTo>
                <a:lnTo>
                  <a:pt x="332574" y="372252"/>
                </a:lnTo>
                <a:lnTo>
                  <a:pt x="324953" y="388313"/>
                </a:lnTo>
                <a:lnTo>
                  <a:pt x="325953" y="402768"/>
                </a:lnTo>
                <a:lnTo>
                  <a:pt x="321580" y="400668"/>
                </a:lnTo>
                <a:lnTo>
                  <a:pt x="316333" y="387078"/>
                </a:lnTo>
                <a:lnTo>
                  <a:pt x="307962" y="398568"/>
                </a:lnTo>
                <a:lnTo>
                  <a:pt x="282226" y="402027"/>
                </a:lnTo>
                <a:lnTo>
                  <a:pt x="255740" y="394244"/>
                </a:lnTo>
                <a:lnTo>
                  <a:pt x="247994" y="384360"/>
                </a:lnTo>
                <a:lnTo>
                  <a:pt x="258114" y="380036"/>
                </a:lnTo>
                <a:lnTo>
                  <a:pt x="251492" y="372499"/>
                </a:lnTo>
                <a:lnTo>
                  <a:pt x="258239" y="360762"/>
                </a:lnTo>
                <a:lnTo>
                  <a:pt x="267109" y="358044"/>
                </a:lnTo>
                <a:lnTo>
                  <a:pt x="267109" y="358044"/>
                </a:lnTo>
                <a:close/>
                <a:moveTo>
                  <a:pt x="197771" y="270077"/>
                </a:moveTo>
                <a:lnTo>
                  <a:pt x="206141" y="255622"/>
                </a:lnTo>
                <a:lnTo>
                  <a:pt x="205392" y="231036"/>
                </a:lnTo>
                <a:lnTo>
                  <a:pt x="213137" y="254016"/>
                </a:lnTo>
                <a:lnTo>
                  <a:pt x="212013" y="266618"/>
                </a:lnTo>
                <a:lnTo>
                  <a:pt x="197896" y="270201"/>
                </a:lnTo>
                <a:lnTo>
                  <a:pt x="197896" y="270201"/>
                </a:lnTo>
                <a:close/>
                <a:moveTo>
                  <a:pt x="192773" y="367186"/>
                </a:moveTo>
                <a:lnTo>
                  <a:pt x="206891" y="380036"/>
                </a:lnTo>
                <a:lnTo>
                  <a:pt x="213262" y="373858"/>
                </a:lnTo>
                <a:lnTo>
                  <a:pt x="192773" y="367186"/>
                </a:lnTo>
                <a:lnTo>
                  <a:pt x="192773" y="367186"/>
                </a:lnTo>
                <a:close/>
                <a:moveTo>
                  <a:pt x="233127" y="335805"/>
                </a:moveTo>
                <a:lnTo>
                  <a:pt x="229629" y="361503"/>
                </a:lnTo>
                <a:lnTo>
                  <a:pt x="223007" y="376206"/>
                </a:lnTo>
                <a:lnTo>
                  <a:pt x="226630" y="384607"/>
                </a:lnTo>
                <a:lnTo>
                  <a:pt x="236000" y="370522"/>
                </a:lnTo>
                <a:lnTo>
                  <a:pt x="245620" y="349148"/>
                </a:lnTo>
                <a:cubicBezTo>
                  <a:pt x="245620" y="349148"/>
                  <a:pt x="231128" y="336670"/>
                  <a:pt x="233127" y="335929"/>
                </a:cubicBezTo>
                <a:lnTo>
                  <a:pt x="233127" y="335929"/>
                </a:lnTo>
                <a:close/>
                <a:moveTo>
                  <a:pt x="147172" y="293675"/>
                </a:moveTo>
                <a:lnTo>
                  <a:pt x="174783" y="287251"/>
                </a:lnTo>
                <a:lnTo>
                  <a:pt x="195022" y="296887"/>
                </a:lnTo>
                <a:lnTo>
                  <a:pt x="207515" y="294416"/>
                </a:lnTo>
                <a:lnTo>
                  <a:pt x="220509" y="319373"/>
                </a:lnTo>
                <a:lnTo>
                  <a:pt x="225756" y="333581"/>
                </a:lnTo>
                <a:lnTo>
                  <a:pt x="215511" y="355573"/>
                </a:lnTo>
                <a:lnTo>
                  <a:pt x="197771" y="359650"/>
                </a:lnTo>
                <a:lnTo>
                  <a:pt x="187526" y="353473"/>
                </a:lnTo>
                <a:lnTo>
                  <a:pt x="172284" y="352114"/>
                </a:lnTo>
                <a:lnTo>
                  <a:pt x="154294" y="335187"/>
                </a:lnTo>
                <a:lnTo>
                  <a:pt x="144174" y="315914"/>
                </a:lnTo>
                <a:lnTo>
                  <a:pt x="147172" y="293552"/>
                </a:lnTo>
                <a:lnTo>
                  <a:pt x="147172" y="293552"/>
                </a:lnTo>
                <a:close/>
                <a:moveTo>
                  <a:pt x="210764" y="63257"/>
                </a:moveTo>
                <a:lnTo>
                  <a:pt x="218884" y="51767"/>
                </a:lnTo>
                <a:lnTo>
                  <a:pt x="238749" y="50902"/>
                </a:lnTo>
                <a:lnTo>
                  <a:pt x="224382" y="62392"/>
                </a:lnTo>
                <a:lnTo>
                  <a:pt x="210764" y="63257"/>
                </a:lnTo>
                <a:lnTo>
                  <a:pt x="210764" y="63257"/>
                </a:lnTo>
                <a:close/>
                <a:moveTo>
                  <a:pt x="50973" y="155795"/>
                </a:moveTo>
                <a:lnTo>
                  <a:pt x="48474" y="137139"/>
                </a:lnTo>
                <a:lnTo>
                  <a:pt x="61468" y="123796"/>
                </a:lnTo>
                <a:lnTo>
                  <a:pt x="75960" y="122190"/>
                </a:lnTo>
                <a:lnTo>
                  <a:pt x="73836" y="134050"/>
                </a:lnTo>
                <a:lnTo>
                  <a:pt x="60093" y="151100"/>
                </a:lnTo>
                <a:lnTo>
                  <a:pt x="50973" y="155795"/>
                </a:lnTo>
                <a:lnTo>
                  <a:pt x="50973" y="155795"/>
                </a:lnTo>
                <a:close/>
                <a:moveTo>
                  <a:pt x="45601" y="165184"/>
                </a:moveTo>
                <a:lnTo>
                  <a:pt x="40604" y="141834"/>
                </a:lnTo>
                <a:lnTo>
                  <a:pt x="44102" y="129232"/>
                </a:lnTo>
                <a:lnTo>
                  <a:pt x="73586" y="108970"/>
                </a:lnTo>
                <a:lnTo>
                  <a:pt x="77709" y="112059"/>
                </a:lnTo>
                <a:lnTo>
                  <a:pt x="92826" y="108846"/>
                </a:lnTo>
                <a:lnTo>
                  <a:pt x="112815" y="111935"/>
                </a:lnTo>
                <a:lnTo>
                  <a:pt x="125809" y="106746"/>
                </a:lnTo>
                <a:lnTo>
                  <a:pt x="143674" y="106005"/>
                </a:lnTo>
                <a:lnTo>
                  <a:pt x="159166" y="111935"/>
                </a:lnTo>
                <a:lnTo>
                  <a:pt x="168911" y="106993"/>
                </a:lnTo>
                <a:lnTo>
                  <a:pt x="185402" y="75488"/>
                </a:lnTo>
                <a:lnTo>
                  <a:pt x="180530" y="56709"/>
                </a:lnTo>
                <a:lnTo>
                  <a:pt x="183528" y="48678"/>
                </a:lnTo>
                <a:lnTo>
                  <a:pt x="178781" y="30517"/>
                </a:lnTo>
                <a:lnTo>
                  <a:pt x="190899" y="6425"/>
                </a:lnTo>
                <a:lnTo>
                  <a:pt x="188026" y="0"/>
                </a:lnTo>
                <a:lnTo>
                  <a:pt x="164663" y="25204"/>
                </a:lnTo>
                <a:lnTo>
                  <a:pt x="141925" y="36694"/>
                </a:lnTo>
                <a:lnTo>
                  <a:pt x="125559" y="39288"/>
                </a:lnTo>
                <a:lnTo>
                  <a:pt x="115064" y="56832"/>
                </a:lnTo>
                <a:lnTo>
                  <a:pt x="106694" y="78083"/>
                </a:lnTo>
                <a:lnTo>
                  <a:pt x="89328" y="91302"/>
                </a:lnTo>
                <a:lnTo>
                  <a:pt x="69463" y="92167"/>
                </a:lnTo>
                <a:lnTo>
                  <a:pt x="47100" y="111441"/>
                </a:lnTo>
                <a:lnTo>
                  <a:pt x="40229" y="107117"/>
                </a:lnTo>
                <a:lnTo>
                  <a:pt x="27111" y="108352"/>
                </a:lnTo>
                <a:lnTo>
                  <a:pt x="21988" y="128243"/>
                </a:lnTo>
                <a:lnTo>
                  <a:pt x="8620" y="142575"/>
                </a:lnTo>
                <a:lnTo>
                  <a:pt x="17491" y="149370"/>
                </a:lnTo>
                <a:lnTo>
                  <a:pt x="25237" y="144428"/>
                </a:lnTo>
                <a:lnTo>
                  <a:pt x="45351" y="165184"/>
                </a:lnTo>
                <a:lnTo>
                  <a:pt x="45351" y="165184"/>
                </a:lnTo>
                <a:close/>
                <a:moveTo>
                  <a:pt x="134054" y="376329"/>
                </a:moveTo>
                <a:lnTo>
                  <a:pt x="133055" y="375341"/>
                </a:lnTo>
                <a:lnTo>
                  <a:pt x="137427" y="364098"/>
                </a:lnTo>
                <a:lnTo>
                  <a:pt x="124434" y="352237"/>
                </a:lnTo>
                <a:lnTo>
                  <a:pt x="117563" y="352484"/>
                </a:lnTo>
                <a:lnTo>
                  <a:pt x="117563" y="340129"/>
                </a:lnTo>
                <a:cubicBezTo>
                  <a:pt x="117563" y="340129"/>
                  <a:pt x="127683" y="330740"/>
                  <a:pt x="127683" y="330740"/>
                </a:cubicBezTo>
                <a:lnTo>
                  <a:pt x="128432" y="316902"/>
                </a:lnTo>
                <a:lnTo>
                  <a:pt x="119312" y="313196"/>
                </a:lnTo>
                <a:lnTo>
                  <a:pt x="119312" y="300841"/>
                </a:lnTo>
                <a:cubicBezTo>
                  <a:pt x="119312" y="300841"/>
                  <a:pt x="154044" y="281444"/>
                  <a:pt x="154044" y="281444"/>
                </a:cubicBezTo>
                <a:lnTo>
                  <a:pt x="146173" y="275637"/>
                </a:lnTo>
                <a:lnTo>
                  <a:pt x="158791" y="260688"/>
                </a:lnTo>
                <a:lnTo>
                  <a:pt x="166662" y="265135"/>
                </a:lnTo>
                <a:lnTo>
                  <a:pt x="185027" y="257475"/>
                </a:lnTo>
                <a:lnTo>
                  <a:pt x="183278" y="232766"/>
                </a:lnTo>
                <a:lnTo>
                  <a:pt x="174283" y="216704"/>
                </a:lnTo>
                <a:lnTo>
                  <a:pt x="184902" y="205338"/>
                </a:lnTo>
                <a:lnTo>
                  <a:pt x="200769" y="202620"/>
                </a:lnTo>
                <a:lnTo>
                  <a:pt x="212388" y="214480"/>
                </a:lnTo>
                <a:lnTo>
                  <a:pt x="218385" y="209415"/>
                </a:lnTo>
                <a:lnTo>
                  <a:pt x="225381" y="211886"/>
                </a:lnTo>
                <a:lnTo>
                  <a:pt x="231253" y="202743"/>
                </a:lnTo>
                <a:lnTo>
                  <a:pt x="236125" y="187423"/>
                </a:lnTo>
                <a:lnTo>
                  <a:pt x="219384" y="170991"/>
                </a:lnTo>
                <a:lnTo>
                  <a:pt x="210764" y="178281"/>
                </a:lnTo>
                <a:lnTo>
                  <a:pt x="189275" y="178528"/>
                </a:lnTo>
                <a:lnTo>
                  <a:pt x="178406" y="168026"/>
                </a:lnTo>
                <a:lnTo>
                  <a:pt x="168036" y="154065"/>
                </a:lnTo>
                <a:lnTo>
                  <a:pt x="158916" y="152335"/>
                </a:lnTo>
                <a:lnTo>
                  <a:pt x="166162" y="142452"/>
                </a:lnTo>
                <a:lnTo>
                  <a:pt x="165413" y="123919"/>
                </a:lnTo>
                <a:lnTo>
                  <a:pt x="147547" y="112923"/>
                </a:lnTo>
                <a:lnTo>
                  <a:pt x="120561" y="116136"/>
                </a:lnTo>
                <a:lnTo>
                  <a:pt x="107693" y="122807"/>
                </a:lnTo>
                <a:lnTo>
                  <a:pt x="92951" y="121325"/>
                </a:lnTo>
                <a:lnTo>
                  <a:pt x="86329" y="127749"/>
                </a:lnTo>
                <a:lnTo>
                  <a:pt x="102446" y="147641"/>
                </a:lnTo>
                <a:lnTo>
                  <a:pt x="98698" y="154683"/>
                </a:lnTo>
                <a:lnTo>
                  <a:pt x="114065" y="171980"/>
                </a:lnTo>
                <a:lnTo>
                  <a:pt x="112815" y="177539"/>
                </a:lnTo>
                <a:lnTo>
                  <a:pt x="98698" y="172597"/>
                </a:lnTo>
                <a:lnTo>
                  <a:pt x="83581" y="176675"/>
                </a:lnTo>
                <a:lnTo>
                  <a:pt x="80458" y="168520"/>
                </a:lnTo>
                <a:lnTo>
                  <a:pt x="89703" y="157772"/>
                </a:lnTo>
                <a:lnTo>
                  <a:pt x="79208" y="140969"/>
                </a:lnTo>
                <a:lnTo>
                  <a:pt x="74336" y="141216"/>
                </a:lnTo>
                <a:lnTo>
                  <a:pt x="60593" y="161725"/>
                </a:lnTo>
                <a:lnTo>
                  <a:pt x="69338" y="172968"/>
                </a:lnTo>
                <a:lnTo>
                  <a:pt x="52597" y="186064"/>
                </a:lnTo>
                <a:lnTo>
                  <a:pt x="41603" y="174821"/>
                </a:lnTo>
                <a:lnTo>
                  <a:pt x="26361" y="175439"/>
                </a:lnTo>
                <a:lnTo>
                  <a:pt x="15617" y="170374"/>
                </a:lnTo>
                <a:lnTo>
                  <a:pt x="3748" y="183964"/>
                </a:lnTo>
                <a:lnTo>
                  <a:pt x="23737" y="197554"/>
                </a:lnTo>
                <a:lnTo>
                  <a:pt x="24487" y="214727"/>
                </a:lnTo>
                <a:lnTo>
                  <a:pt x="12244" y="206326"/>
                </a:lnTo>
                <a:lnTo>
                  <a:pt x="4747" y="208674"/>
                </a:lnTo>
                <a:lnTo>
                  <a:pt x="9245" y="231159"/>
                </a:lnTo>
                <a:lnTo>
                  <a:pt x="21988" y="237460"/>
                </a:lnTo>
                <a:lnTo>
                  <a:pt x="22863" y="258093"/>
                </a:lnTo>
                <a:lnTo>
                  <a:pt x="33732" y="267977"/>
                </a:lnTo>
                <a:lnTo>
                  <a:pt x="9245" y="280702"/>
                </a:lnTo>
                <a:lnTo>
                  <a:pt x="0" y="307265"/>
                </a:lnTo>
                <a:lnTo>
                  <a:pt x="10744" y="315049"/>
                </a:lnTo>
                <a:lnTo>
                  <a:pt x="25736" y="306153"/>
                </a:lnTo>
                <a:lnTo>
                  <a:pt x="47350" y="323821"/>
                </a:lnTo>
                <a:lnTo>
                  <a:pt x="52722" y="351125"/>
                </a:lnTo>
                <a:lnTo>
                  <a:pt x="45226" y="356191"/>
                </a:lnTo>
                <a:lnTo>
                  <a:pt x="49599" y="369905"/>
                </a:lnTo>
                <a:lnTo>
                  <a:pt x="73711" y="367681"/>
                </a:lnTo>
                <a:lnTo>
                  <a:pt x="107818" y="375464"/>
                </a:lnTo>
                <a:lnTo>
                  <a:pt x="117938" y="379665"/>
                </a:lnTo>
                <a:lnTo>
                  <a:pt x="133929" y="376206"/>
                </a:lnTo>
                <a:close/>
              </a:path>
            </a:pathLst>
          </a:custGeom>
          <a:solidFill>
            <a:schemeClr val="bg2"/>
          </a:solidFill>
          <a:ln w="7043" cap="flat">
            <a:solidFill>
              <a:schemeClr val="accent4"/>
            </a:solidFill>
            <a:prstDash val="solid"/>
            <a:miter/>
          </a:ln>
        </p:spPr>
        <p:txBody>
          <a:bodyPr rtlCol="0" anchor="ctr"/>
          <a:lstStyle/>
          <a:p>
            <a:endParaRPr lang="en-GB"/>
          </a:p>
        </p:txBody>
      </p:sp>
      <p:sp>
        <p:nvSpPr>
          <p:cNvPr id="49" name="Graphic 123">
            <a:extLst>
              <a:ext uri="{FF2B5EF4-FFF2-40B4-BE49-F238E27FC236}">
                <a16:creationId xmlns:a16="http://schemas.microsoft.com/office/drawing/2014/main" id="{ACE5E1CF-95DE-ECD3-DD0D-99FD511A9DD4}"/>
              </a:ext>
            </a:extLst>
          </p:cNvPr>
          <p:cNvSpPr/>
          <p:nvPr/>
        </p:nvSpPr>
        <p:spPr>
          <a:xfrm rot="1141104">
            <a:off x="5327762" y="732662"/>
            <a:ext cx="657778" cy="442921"/>
          </a:xfrm>
          <a:custGeom>
            <a:avLst/>
            <a:gdLst>
              <a:gd name="connsiteX0" fmla="*/ 176532 w 657778"/>
              <a:gd name="connsiteY0" fmla="*/ 438350 h 442921"/>
              <a:gd name="connsiteX1" fmla="*/ 173783 w 657778"/>
              <a:gd name="connsiteY1" fmla="*/ 427602 h 442921"/>
              <a:gd name="connsiteX2" fmla="*/ 179780 w 657778"/>
              <a:gd name="connsiteY2" fmla="*/ 417965 h 442921"/>
              <a:gd name="connsiteX3" fmla="*/ 187776 w 657778"/>
              <a:gd name="connsiteY3" fmla="*/ 417471 h 442921"/>
              <a:gd name="connsiteX4" fmla="*/ 187276 w 657778"/>
              <a:gd name="connsiteY4" fmla="*/ 433532 h 442921"/>
              <a:gd name="connsiteX5" fmla="*/ 176532 w 657778"/>
              <a:gd name="connsiteY5" fmla="*/ 438474 h 442921"/>
              <a:gd name="connsiteX6" fmla="*/ 176532 w 657778"/>
              <a:gd name="connsiteY6" fmla="*/ 438474 h 442921"/>
              <a:gd name="connsiteX7" fmla="*/ 154294 w 657778"/>
              <a:gd name="connsiteY7" fmla="*/ 367310 h 442921"/>
              <a:gd name="connsiteX8" fmla="*/ 171035 w 657778"/>
              <a:gd name="connsiteY8" fmla="*/ 364963 h 442921"/>
              <a:gd name="connsiteX9" fmla="*/ 166412 w 657778"/>
              <a:gd name="connsiteY9" fmla="*/ 380159 h 442921"/>
              <a:gd name="connsiteX10" fmla="*/ 179905 w 657778"/>
              <a:gd name="connsiteY10" fmla="*/ 399803 h 442921"/>
              <a:gd name="connsiteX11" fmla="*/ 190650 w 657778"/>
              <a:gd name="connsiteY11" fmla="*/ 407834 h 442921"/>
              <a:gd name="connsiteX12" fmla="*/ 204392 w 657778"/>
              <a:gd name="connsiteY12" fmla="*/ 399927 h 442921"/>
              <a:gd name="connsiteX13" fmla="*/ 218260 w 657778"/>
              <a:gd name="connsiteY13" fmla="*/ 403633 h 442921"/>
              <a:gd name="connsiteX14" fmla="*/ 237750 w 657778"/>
              <a:gd name="connsiteY14" fmla="*/ 430443 h 442921"/>
              <a:gd name="connsiteX15" fmla="*/ 269108 w 657778"/>
              <a:gd name="connsiteY15" fmla="*/ 435756 h 442921"/>
              <a:gd name="connsiteX16" fmla="*/ 280602 w 657778"/>
              <a:gd name="connsiteY16" fmla="*/ 442922 h 442921"/>
              <a:gd name="connsiteX17" fmla="*/ 301716 w 657778"/>
              <a:gd name="connsiteY17" fmla="*/ 440821 h 442921"/>
              <a:gd name="connsiteX18" fmla="*/ 302216 w 657778"/>
              <a:gd name="connsiteY18" fmla="*/ 423772 h 442921"/>
              <a:gd name="connsiteX19" fmla="*/ 308337 w 657778"/>
              <a:gd name="connsiteY19" fmla="*/ 417718 h 442921"/>
              <a:gd name="connsiteX20" fmla="*/ 310336 w 657778"/>
              <a:gd name="connsiteY20" fmla="*/ 427478 h 442921"/>
              <a:gd name="connsiteX21" fmla="*/ 326203 w 657778"/>
              <a:gd name="connsiteY21" fmla="*/ 434891 h 442921"/>
              <a:gd name="connsiteX22" fmla="*/ 345318 w 657778"/>
              <a:gd name="connsiteY22" fmla="*/ 422413 h 442921"/>
              <a:gd name="connsiteX23" fmla="*/ 349816 w 657778"/>
              <a:gd name="connsiteY23" fmla="*/ 404498 h 442921"/>
              <a:gd name="connsiteX24" fmla="*/ 369680 w 657778"/>
              <a:gd name="connsiteY24" fmla="*/ 405981 h 442921"/>
              <a:gd name="connsiteX25" fmla="*/ 360935 w 657778"/>
              <a:gd name="connsiteY25" fmla="*/ 413764 h 442921"/>
              <a:gd name="connsiteX26" fmla="*/ 364933 w 657778"/>
              <a:gd name="connsiteY26" fmla="*/ 421671 h 442921"/>
              <a:gd name="connsiteX27" fmla="*/ 372179 w 657778"/>
              <a:gd name="connsiteY27" fmla="*/ 415865 h 442921"/>
              <a:gd name="connsiteX28" fmla="*/ 383923 w 657778"/>
              <a:gd name="connsiteY28" fmla="*/ 415865 h 442921"/>
              <a:gd name="connsiteX29" fmla="*/ 400789 w 657778"/>
              <a:gd name="connsiteY29" fmla="*/ 400792 h 442921"/>
              <a:gd name="connsiteX30" fmla="*/ 407160 w 657778"/>
              <a:gd name="connsiteY30" fmla="*/ 406104 h 442921"/>
              <a:gd name="connsiteX31" fmla="*/ 412283 w 657778"/>
              <a:gd name="connsiteY31" fmla="*/ 405363 h 442921"/>
              <a:gd name="connsiteX32" fmla="*/ 424901 w 657778"/>
              <a:gd name="connsiteY32" fmla="*/ 408575 h 442921"/>
              <a:gd name="connsiteX33" fmla="*/ 423777 w 657778"/>
              <a:gd name="connsiteY33" fmla="*/ 412529 h 442921"/>
              <a:gd name="connsiteX34" fmla="*/ 430773 w 657778"/>
              <a:gd name="connsiteY34" fmla="*/ 409687 h 442921"/>
              <a:gd name="connsiteX35" fmla="*/ 467379 w 657778"/>
              <a:gd name="connsiteY35" fmla="*/ 388560 h 442921"/>
              <a:gd name="connsiteX36" fmla="*/ 482371 w 657778"/>
              <a:gd name="connsiteY36" fmla="*/ 374723 h 442921"/>
              <a:gd name="connsiteX37" fmla="*/ 521100 w 657778"/>
              <a:gd name="connsiteY37" fmla="*/ 374476 h 442921"/>
              <a:gd name="connsiteX38" fmla="*/ 530096 w 657778"/>
              <a:gd name="connsiteY38" fmla="*/ 367063 h 442921"/>
              <a:gd name="connsiteX39" fmla="*/ 527847 w 657778"/>
              <a:gd name="connsiteY39" fmla="*/ 359650 h 442921"/>
              <a:gd name="connsiteX40" fmla="*/ 531595 w 657778"/>
              <a:gd name="connsiteY40" fmla="*/ 350137 h 442921"/>
              <a:gd name="connsiteX41" fmla="*/ 538466 w 657778"/>
              <a:gd name="connsiteY41" fmla="*/ 352237 h 442921"/>
              <a:gd name="connsiteX42" fmla="*/ 539591 w 657778"/>
              <a:gd name="connsiteY42" fmla="*/ 363851 h 442921"/>
              <a:gd name="connsiteX43" fmla="*/ 557081 w 657778"/>
              <a:gd name="connsiteY43" fmla="*/ 373735 h 442921"/>
              <a:gd name="connsiteX44" fmla="*/ 570200 w 657778"/>
              <a:gd name="connsiteY44" fmla="*/ 363974 h 442921"/>
              <a:gd name="connsiteX45" fmla="*/ 573823 w 657778"/>
              <a:gd name="connsiteY45" fmla="*/ 355202 h 442921"/>
              <a:gd name="connsiteX46" fmla="*/ 570200 w 657778"/>
              <a:gd name="connsiteY46" fmla="*/ 349272 h 442921"/>
              <a:gd name="connsiteX47" fmla="*/ 573573 w 657778"/>
              <a:gd name="connsiteY47" fmla="*/ 340253 h 442921"/>
              <a:gd name="connsiteX48" fmla="*/ 582693 w 657778"/>
              <a:gd name="connsiteY48" fmla="*/ 339512 h 442921"/>
              <a:gd name="connsiteX49" fmla="*/ 579694 w 657778"/>
              <a:gd name="connsiteY49" fmla="*/ 320114 h 442921"/>
              <a:gd name="connsiteX50" fmla="*/ 586941 w 657778"/>
              <a:gd name="connsiteY50" fmla="*/ 314308 h 442921"/>
              <a:gd name="connsiteX51" fmla="*/ 598185 w 657778"/>
              <a:gd name="connsiteY51" fmla="*/ 324439 h 442921"/>
              <a:gd name="connsiteX52" fmla="*/ 598684 w 657778"/>
              <a:gd name="connsiteY52" fmla="*/ 336670 h 442921"/>
              <a:gd name="connsiteX53" fmla="*/ 611178 w 657778"/>
              <a:gd name="connsiteY53" fmla="*/ 337041 h 442921"/>
              <a:gd name="connsiteX54" fmla="*/ 622297 w 657778"/>
              <a:gd name="connsiteY54" fmla="*/ 323080 h 442921"/>
              <a:gd name="connsiteX55" fmla="*/ 620423 w 657778"/>
              <a:gd name="connsiteY55" fmla="*/ 309119 h 442921"/>
              <a:gd name="connsiteX56" fmla="*/ 609804 w 657778"/>
              <a:gd name="connsiteY56" fmla="*/ 292687 h 442921"/>
              <a:gd name="connsiteX57" fmla="*/ 612052 w 657778"/>
              <a:gd name="connsiteY57" fmla="*/ 277861 h 442921"/>
              <a:gd name="connsiteX58" fmla="*/ 621422 w 657778"/>
              <a:gd name="connsiteY58" fmla="*/ 272672 h 442921"/>
              <a:gd name="connsiteX59" fmla="*/ 622922 w 657778"/>
              <a:gd name="connsiteY59" fmla="*/ 259081 h 442921"/>
              <a:gd name="connsiteX60" fmla="*/ 637164 w 657778"/>
              <a:gd name="connsiteY60" fmla="*/ 254881 h 442921"/>
              <a:gd name="connsiteX61" fmla="*/ 648783 w 657778"/>
              <a:gd name="connsiteY61" fmla="*/ 256734 h 442921"/>
              <a:gd name="connsiteX62" fmla="*/ 657778 w 657778"/>
              <a:gd name="connsiteY62" fmla="*/ 247839 h 442921"/>
              <a:gd name="connsiteX63" fmla="*/ 647659 w 657778"/>
              <a:gd name="connsiteY63" fmla="*/ 233260 h 442921"/>
              <a:gd name="connsiteX64" fmla="*/ 618424 w 657778"/>
              <a:gd name="connsiteY64" fmla="*/ 225229 h 442921"/>
              <a:gd name="connsiteX65" fmla="*/ 607555 w 657778"/>
              <a:gd name="connsiteY65" fmla="*/ 230665 h 442921"/>
              <a:gd name="connsiteX66" fmla="*/ 617924 w 657778"/>
              <a:gd name="connsiteY66" fmla="*/ 218805 h 442921"/>
              <a:gd name="connsiteX67" fmla="*/ 617924 w 657778"/>
              <a:gd name="connsiteY67" fmla="*/ 207685 h 442921"/>
              <a:gd name="connsiteX68" fmla="*/ 601558 w 657778"/>
              <a:gd name="connsiteY68" fmla="*/ 203237 h 442921"/>
              <a:gd name="connsiteX69" fmla="*/ 596561 w 657778"/>
              <a:gd name="connsiteY69" fmla="*/ 206203 h 442921"/>
              <a:gd name="connsiteX70" fmla="*/ 593812 w 657778"/>
              <a:gd name="connsiteY70" fmla="*/ 191500 h 442921"/>
              <a:gd name="connsiteX71" fmla="*/ 606805 w 657778"/>
              <a:gd name="connsiteY71" fmla="*/ 180628 h 442921"/>
              <a:gd name="connsiteX72" fmla="*/ 618549 w 657778"/>
              <a:gd name="connsiteY72" fmla="*/ 179145 h 442921"/>
              <a:gd name="connsiteX73" fmla="*/ 619798 w 657778"/>
              <a:gd name="connsiteY73" fmla="*/ 159378 h 442921"/>
              <a:gd name="connsiteX74" fmla="*/ 613302 w 657778"/>
              <a:gd name="connsiteY74" fmla="*/ 153694 h 442921"/>
              <a:gd name="connsiteX75" fmla="*/ 601808 w 657778"/>
              <a:gd name="connsiteY75" fmla="*/ 159625 h 442921"/>
              <a:gd name="connsiteX76" fmla="*/ 590564 w 657778"/>
              <a:gd name="connsiteY76" fmla="*/ 152212 h 442921"/>
              <a:gd name="connsiteX77" fmla="*/ 587191 w 657778"/>
              <a:gd name="connsiteY77" fmla="*/ 137386 h 442921"/>
              <a:gd name="connsiteX78" fmla="*/ 601808 w 657778"/>
              <a:gd name="connsiteY78" fmla="*/ 134050 h 442921"/>
              <a:gd name="connsiteX79" fmla="*/ 605556 w 657778"/>
              <a:gd name="connsiteY79" fmla="*/ 123178 h 442921"/>
              <a:gd name="connsiteX80" fmla="*/ 613427 w 657778"/>
              <a:gd name="connsiteY80" fmla="*/ 118854 h 442921"/>
              <a:gd name="connsiteX81" fmla="*/ 628169 w 657778"/>
              <a:gd name="connsiteY81" fmla="*/ 117989 h 442921"/>
              <a:gd name="connsiteX82" fmla="*/ 614301 w 657778"/>
              <a:gd name="connsiteY82" fmla="*/ 108476 h 442921"/>
              <a:gd name="connsiteX83" fmla="*/ 602058 w 657778"/>
              <a:gd name="connsiteY83" fmla="*/ 109464 h 442921"/>
              <a:gd name="connsiteX84" fmla="*/ 573948 w 657778"/>
              <a:gd name="connsiteY84" fmla="*/ 127255 h 442921"/>
              <a:gd name="connsiteX85" fmla="*/ 567201 w 657778"/>
              <a:gd name="connsiteY85" fmla="*/ 138745 h 442921"/>
              <a:gd name="connsiteX86" fmla="*/ 558331 w 657778"/>
              <a:gd name="connsiteY86" fmla="*/ 138498 h 442921"/>
              <a:gd name="connsiteX87" fmla="*/ 551334 w 657778"/>
              <a:gd name="connsiteY87" fmla="*/ 122190 h 442921"/>
              <a:gd name="connsiteX88" fmla="*/ 558706 w 657778"/>
              <a:gd name="connsiteY88" fmla="*/ 114406 h 442921"/>
              <a:gd name="connsiteX89" fmla="*/ 553084 w 657778"/>
              <a:gd name="connsiteY89" fmla="*/ 105881 h 442921"/>
              <a:gd name="connsiteX90" fmla="*/ 553084 w 657778"/>
              <a:gd name="connsiteY90" fmla="*/ 92291 h 442921"/>
              <a:gd name="connsiteX91" fmla="*/ 539841 w 657778"/>
              <a:gd name="connsiteY91" fmla="*/ 85619 h 442921"/>
              <a:gd name="connsiteX92" fmla="*/ 526722 w 657778"/>
              <a:gd name="connsiteY92" fmla="*/ 90932 h 442921"/>
              <a:gd name="connsiteX93" fmla="*/ 518602 w 657778"/>
              <a:gd name="connsiteY93" fmla="*/ 85001 h 442921"/>
              <a:gd name="connsiteX94" fmla="*/ 509481 w 657778"/>
              <a:gd name="connsiteY94" fmla="*/ 96368 h 442921"/>
              <a:gd name="connsiteX95" fmla="*/ 512730 w 657778"/>
              <a:gd name="connsiteY95" fmla="*/ 111688 h 442921"/>
              <a:gd name="connsiteX96" fmla="*/ 505109 w 657778"/>
              <a:gd name="connsiteY96" fmla="*/ 120831 h 442921"/>
              <a:gd name="connsiteX97" fmla="*/ 490242 w 657778"/>
              <a:gd name="connsiteY97" fmla="*/ 119472 h 442921"/>
              <a:gd name="connsiteX98" fmla="*/ 474375 w 657778"/>
              <a:gd name="connsiteY98" fmla="*/ 123425 h 442921"/>
              <a:gd name="connsiteX99" fmla="*/ 476499 w 657778"/>
              <a:gd name="connsiteY99" fmla="*/ 111070 h 442921"/>
              <a:gd name="connsiteX100" fmla="*/ 469752 w 657778"/>
              <a:gd name="connsiteY100" fmla="*/ 103904 h 442921"/>
              <a:gd name="connsiteX101" fmla="*/ 458633 w 657778"/>
              <a:gd name="connsiteY101" fmla="*/ 114900 h 442921"/>
              <a:gd name="connsiteX102" fmla="*/ 446640 w 657778"/>
              <a:gd name="connsiteY102" fmla="*/ 132073 h 442921"/>
              <a:gd name="connsiteX103" fmla="*/ 432272 w 657778"/>
              <a:gd name="connsiteY103" fmla="*/ 128738 h 442921"/>
              <a:gd name="connsiteX104" fmla="*/ 422902 w 657778"/>
              <a:gd name="connsiteY104" fmla="*/ 102051 h 442921"/>
              <a:gd name="connsiteX105" fmla="*/ 411658 w 657778"/>
              <a:gd name="connsiteY105" fmla="*/ 102669 h 442921"/>
              <a:gd name="connsiteX106" fmla="*/ 407535 w 657778"/>
              <a:gd name="connsiteY106" fmla="*/ 97974 h 442921"/>
              <a:gd name="connsiteX107" fmla="*/ 396041 w 657778"/>
              <a:gd name="connsiteY107" fmla="*/ 96986 h 442921"/>
              <a:gd name="connsiteX108" fmla="*/ 386546 w 657778"/>
              <a:gd name="connsiteY108" fmla="*/ 120583 h 442921"/>
              <a:gd name="connsiteX109" fmla="*/ 395042 w 657778"/>
              <a:gd name="connsiteY109" fmla="*/ 149247 h 442921"/>
              <a:gd name="connsiteX110" fmla="*/ 371679 w 657778"/>
              <a:gd name="connsiteY110" fmla="*/ 183593 h 442921"/>
              <a:gd name="connsiteX111" fmla="*/ 383798 w 657778"/>
              <a:gd name="connsiteY111" fmla="*/ 152706 h 442921"/>
              <a:gd name="connsiteX112" fmla="*/ 373428 w 657778"/>
              <a:gd name="connsiteY112" fmla="*/ 128120 h 442921"/>
              <a:gd name="connsiteX113" fmla="*/ 375677 w 657778"/>
              <a:gd name="connsiteY113" fmla="*/ 116383 h 442921"/>
              <a:gd name="connsiteX114" fmla="*/ 370805 w 657778"/>
              <a:gd name="connsiteY114" fmla="*/ 109341 h 442921"/>
              <a:gd name="connsiteX115" fmla="*/ 375302 w 657778"/>
              <a:gd name="connsiteY115" fmla="*/ 94638 h 442921"/>
              <a:gd name="connsiteX116" fmla="*/ 361934 w 657778"/>
              <a:gd name="connsiteY116" fmla="*/ 82778 h 442921"/>
              <a:gd name="connsiteX117" fmla="*/ 329202 w 657778"/>
              <a:gd name="connsiteY117" fmla="*/ 95997 h 442921"/>
              <a:gd name="connsiteX118" fmla="*/ 321830 w 657778"/>
              <a:gd name="connsiteY118" fmla="*/ 111194 h 442921"/>
              <a:gd name="connsiteX119" fmla="*/ 324829 w 657778"/>
              <a:gd name="connsiteY119" fmla="*/ 124413 h 442921"/>
              <a:gd name="connsiteX120" fmla="*/ 308587 w 657778"/>
              <a:gd name="connsiteY120" fmla="*/ 141834 h 442921"/>
              <a:gd name="connsiteX121" fmla="*/ 296719 w 657778"/>
              <a:gd name="connsiteY121" fmla="*/ 139610 h 442921"/>
              <a:gd name="connsiteX122" fmla="*/ 299342 w 657778"/>
              <a:gd name="connsiteY122" fmla="*/ 117371 h 442921"/>
              <a:gd name="connsiteX123" fmla="*/ 289847 w 657778"/>
              <a:gd name="connsiteY123" fmla="*/ 111194 h 442921"/>
              <a:gd name="connsiteX124" fmla="*/ 293470 w 657778"/>
              <a:gd name="connsiteY124" fmla="*/ 80430 h 442921"/>
              <a:gd name="connsiteX125" fmla="*/ 284725 w 657778"/>
              <a:gd name="connsiteY125" fmla="*/ 70546 h 442921"/>
              <a:gd name="connsiteX126" fmla="*/ 263486 w 657778"/>
              <a:gd name="connsiteY126" fmla="*/ 82530 h 442921"/>
              <a:gd name="connsiteX127" fmla="*/ 259738 w 657778"/>
              <a:gd name="connsiteY127" fmla="*/ 116630 h 442921"/>
              <a:gd name="connsiteX128" fmla="*/ 265360 w 657778"/>
              <a:gd name="connsiteY128" fmla="*/ 128243 h 442921"/>
              <a:gd name="connsiteX129" fmla="*/ 259738 w 657778"/>
              <a:gd name="connsiteY129" fmla="*/ 151594 h 442921"/>
              <a:gd name="connsiteX130" fmla="*/ 248369 w 657778"/>
              <a:gd name="connsiteY130" fmla="*/ 161602 h 442921"/>
              <a:gd name="connsiteX131" fmla="*/ 235251 w 657778"/>
              <a:gd name="connsiteY131" fmla="*/ 159748 h 442921"/>
              <a:gd name="connsiteX132" fmla="*/ 238125 w 657778"/>
              <a:gd name="connsiteY132" fmla="*/ 142081 h 442921"/>
              <a:gd name="connsiteX133" fmla="*/ 221633 w 657778"/>
              <a:gd name="connsiteY133" fmla="*/ 146776 h 442921"/>
              <a:gd name="connsiteX134" fmla="*/ 212263 w 657778"/>
              <a:gd name="connsiteY134" fmla="*/ 163208 h 442921"/>
              <a:gd name="connsiteX135" fmla="*/ 202019 w 657778"/>
              <a:gd name="connsiteY135" fmla="*/ 167408 h 442921"/>
              <a:gd name="connsiteX136" fmla="*/ 197021 w 657778"/>
              <a:gd name="connsiteY136" fmla="*/ 190759 h 442921"/>
              <a:gd name="connsiteX137" fmla="*/ 191149 w 657778"/>
              <a:gd name="connsiteY137" fmla="*/ 165926 h 442921"/>
              <a:gd name="connsiteX138" fmla="*/ 180530 w 657778"/>
              <a:gd name="connsiteY138" fmla="*/ 162837 h 442921"/>
              <a:gd name="connsiteX139" fmla="*/ 184778 w 657778"/>
              <a:gd name="connsiteY139" fmla="*/ 151965 h 442921"/>
              <a:gd name="connsiteX140" fmla="*/ 198271 w 657778"/>
              <a:gd name="connsiteY140" fmla="*/ 140104 h 442921"/>
              <a:gd name="connsiteX141" fmla="*/ 200394 w 657778"/>
              <a:gd name="connsiteY141" fmla="*/ 128861 h 442921"/>
              <a:gd name="connsiteX142" fmla="*/ 183653 w 657778"/>
              <a:gd name="connsiteY142" fmla="*/ 125772 h 442921"/>
              <a:gd name="connsiteX143" fmla="*/ 192524 w 657778"/>
              <a:gd name="connsiteY143" fmla="*/ 117495 h 442921"/>
              <a:gd name="connsiteX144" fmla="*/ 187151 w 657778"/>
              <a:gd name="connsiteY144" fmla="*/ 98839 h 442921"/>
              <a:gd name="connsiteX145" fmla="*/ 196646 w 657778"/>
              <a:gd name="connsiteY145" fmla="*/ 107858 h 442921"/>
              <a:gd name="connsiteX146" fmla="*/ 210889 w 657778"/>
              <a:gd name="connsiteY146" fmla="*/ 97851 h 442921"/>
              <a:gd name="connsiteX147" fmla="*/ 209265 w 657778"/>
              <a:gd name="connsiteY147" fmla="*/ 88708 h 442921"/>
              <a:gd name="connsiteX148" fmla="*/ 196521 w 657778"/>
              <a:gd name="connsiteY148" fmla="*/ 79689 h 442921"/>
              <a:gd name="connsiteX149" fmla="*/ 210639 w 657778"/>
              <a:gd name="connsiteY149" fmla="*/ 73017 h 442921"/>
              <a:gd name="connsiteX150" fmla="*/ 201644 w 657778"/>
              <a:gd name="connsiteY150" fmla="*/ 58562 h 442921"/>
              <a:gd name="connsiteX151" fmla="*/ 192274 w 657778"/>
              <a:gd name="connsiteY151" fmla="*/ 63504 h 442921"/>
              <a:gd name="connsiteX152" fmla="*/ 187401 w 657778"/>
              <a:gd name="connsiteY152" fmla="*/ 51026 h 442921"/>
              <a:gd name="connsiteX153" fmla="*/ 170910 w 657778"/>
              <a:gd name="connsiteY153" fmla="*/ 37312 h 442921"/>
              <a:gd name="connsiteX154" fmla="*/ 173034 w 657778"/>
              <a:gd name="connsiteY154" fmla="*/ 24710 h 442921"/>
              <a:gd name="connsiteX155" fmla="*/ 168411 w 657778"/>
              <a:gd name="connsiteY155" fmla="*/ 9390 h 442921"/>
              <a:gd name="connsiteX156" fmla="*/ 153919 w 657778"/>
              <a:gd name="connsiteY156" fmla="*/ 10255 h 442921"/>
              <a:gd name="connsiteX157" fmla="*/ 139177 w 657778"/>
              <a:gd name="connsiteY157" fmla="*/ 2471 h 442921"/>
              <a:gd name="connsiteX158" fmla="*/ 116938 w 657778"/>
              <a:gd name="connsiteY158" fmla="*/ 0 h 442921"/>
              <a:gd name="connsiteX159" fmla="*/ 113565 w 657778"/>
              <a:gd name="connsiteY159" fmla="*/ 5807 h 442921"/>
              <a:gd name="connsiteX160" fmla="*/ 118063 w 657778"/>
              <a:gd name="connsiteY160" fmla="*/ 15814 h 442921"/>
              <a:gd name="connsiteX161" fmla="*/ 127058 w 657778"/>
              <a:gd name="connsiteY161" fmla="*/ 16926 h 442921"/>
              <a:gd name="connsiteX162" fmla="*/ 129932 w 657778"/>
              <a:gd name="connsiteY162" fmla="*/ 10749 h 442921"/>
              <a:gd name="connsiteX163" fmla="*/ 140676 w 657778"/>
              <a:gd name="connsiteY163" fmla="*/ 13343 h 442921"/>
              <a:gd name="connsiteX164" fmla="*/ 148297 w 657778"/>
              <a:gd name="connsiteY164" fmla="*/ 20633 h 442921"/>
              <a:gd name="connsiteX165" fmla="*/ 159416 w 657778"/>
              <a:gd name="connsiteY165" fmla="*/ 26810 h 442921"/>
              <a:gd name="connsiteX166" fmla="*/ 152170 w 657778"/>
              <a:gd name="connsiteY166" fmla="*/ 32617 h 442921"/>
              <a:gd name="connsiteX167" fmla="*/ 139676 w 657778"/>
              <a:gd name="connsiteY167" fmla="*/ 26069 h 442921"/>
              <a:gd name="connsiteX168" fmla="*/ 126308 w 657778"/>
              <a:gd name="connsiteY168" fmla="*/ 23845 h 442921"/>
              <a:gd name="connsiteX169" fmla="*/ 127308 w 657778"/>
              <a:gd name="connsiteY169" fmla="*/ 29034 h 442921"/>
              <a:gd name="connsiteX170" fmla="*/ 145298 w 657778"/>
              <a:gd name="connsiteY170" fmla="*/ 46331 h 442921"/>
              <a:gd name="connsiteX171" fmla="*/ 155668 w 657778"/>
              <a:gd name="connsiteY171" fmla="*/ 64987 h 442921"/>
              <a:gd name="connsiteX172" fmla="*/ 149796 w 657778"/>
              <a:gd name="connsiteY172" fmla="*/ 74994 h 442921"/>
              <a:gd name="connsiteX173" fmla="*/ 143050 w 657778"/>
              <a:gd name="connsiteY173" fmla="*/ 74994 h 442921"/>
              <a:gd name="connsiteX174" fmla="*/ 144799 w 657778"/>
              <a:gd name="connsiteY174" fmla="*/ 65975 h 442921"/>
              <a:gd name="connsiteX175" fmla="*/ 131431 w 657778"/>
              <a:gd name="connsiteY175" fmla="*/ 52385 h 442921"/>
              <a:gd name="connsiteX176" fmla="*/ 119437 w 657778"/>
              <a:gd name="connsiteY176" fmla="*/ 59550 h 442921"/>
              <a:gd name="connsiteX177" fmla="*/ 111316 w 657778"/>
              <a:gd name="connsiteY177" fmla="*/ 55226 h 442921"/>
              <a:gd name="connsiteX178" fmla="*/ 117313 w 657778"/>
              <a:gd name="connsiteY178" fmla="*/ 47196 h 442921"/>
              <a:gd name="connsiteX179" fmla="*/ 108068 w 657778"/>
              <a:gd name="connsiteY179" fmla="*/ 29652 h 442921"/>
              <a:gd name="connsiteX180" fmla="*/ 94950 w 657778"/>
              <a:gd name="connsiteY180" fmla="*/ 20756 h 442921"/>
              <a:gd name="connsiteX181" fmla="*/ 83206 w 657778"/>
              <a:gd name="connsiteY181" fmla="*/ 25204 h 442921"/>
              <a:gd name="connsiteX182" fmla="*/ 90827 w 657778"/>
              <a:gd name="connsiteY182" fmla="*/ 41142 h 442921"/>
              <a:gd name="connsiteX183" fmla="*/ 86329 w 657778"/>
              <a:gd name="connsiteY183" fmla="*/ 48308 h 442921"/>
              <a:gd name="connsiteX184" fmla="*/ 80208 w 657778"/>
              <a:gd name="connsiteY184" fmla="*/ 33852 h 442921"/>
              <a:gd name="connsiteX185" fmla="*/ 68714 w 657778"/>
              <a:gd name="connsiteY185" fmla="*/ 27798 h 442921"/>
              <a:gd name="connsiteX186" fmla="*/ 63467 w 657778"/>
              <a:gd name="connsiteY186" fmla="*/ 35953 h 442921"/>
              <a:gd name="connsiteX187" fmla="*/ 69838 w 657778"/>
              <a:gd name="connsiteY187" fmla="*/ 48184 h 442921"/>
              <a:gd name="connsiteX188" fmla="*/ 77584 w 657778"/>
              <a:gd name="connsiteY188" fmla="*/ 54856 h 442921"/>
              <a:gd name="connsiteX189" fmla="*/ 81207 w 657778"/>
              <a:gd name="connsiteY189" fmla="*/ 63380 h 442921"/>
              <a:gd name="connsiteX190" fmla="*/ 68464 w 657778"/>
              <a:gd name="connsiteY190" fmla="*/ 55103 h 442921"/>
              <a:gd name="connsiteX191" fmla="*/ 54096 w 657778"/>
              <a:gd name="connsiteY191" fmla="*/ 58315 h 442921"/>
              <a:gd name="connsiteX192" fmla="*/ 59968 w 657778"/>
              <a:gd name="connsiteY192" fmla="*/ 71288 h 442921"/>
              <a:gd name="connsiteX193" fmla="*/ 78584 w 657778"/>
              <a:gd name="connsiteY193" fmla="*/ 80554 h 442921"/>
              <a:gd name="connsiteX194" fmla="*/ 68714 w 657778"/>
              <a:gd name="connsiteY194" fmla="*/ 80554 h 442921"/>
              <a:gd name="connsiteX195" fmla="*/ 63966 w 657778"/>
              <a:gd name="connsiteY195" fmla="*/ 83395 h 442921"/>
              <a:gd name="connsiteX196" fmla="*/ 65840 w 657778"/>
              <a:gd name="connsiteY196" fmla="*/ 92291 h 442921"/>
              <a:gd name="connsiteX197" fmla="*/ 60968 w 657778"/>
              <a:gd name="connsiteY197" fmla="*/ 92538 h 442921"/>
              <a:gd name="connsiteX198" fmla="*/ 43602 w 657778"/>
              <a:gd name="connsiteY198" fmla="*/ 69311 h 442921"/>
              <a:gd name="connsiteX199" fmla="*/ 37355 w 657778"/>
              <a:gd name="connsiteY199" fmla="*/ 66716 h 442921"/>
              <a:gd name="connsiteX200" fmla="*/ 28860 w 657778"/>
              <a:gd name="connsiteY200" fmla="*/ 72894 h 442921"/>
              <a:gd name="connsiteX201" fmla="*/ 34857 w 657778"/>
              <a:gd name="connsiteY201" fmla="*/ 91426 h 442921"/>
              <a:gd name="connsiteX202" fmla="*/ 38605 w 657778"/>
              <a:gd name="connsiteY202" fmla="*/ 102669 h 442921"/>
              <a:gd name="connsiteX203" fmla="*/ 32483 w 657778"/>
              <a:gd name="connsiteY203" fmla="*/ 104028 h 442921"/>
              <a:gd name="connsiteX204" fmla="*/ 22988 w 657778"/>
              <a:gd name="connsiteY204" fmla="*/ 84754 h 442921"/>
              <a:gd name="connsiteX205" fmla="*/ 11244 w 657778"/>
              <a:gd name="connsiteY205" fmla="*/ 78948 h 442921"/>
              <a:gd name="connsiteX206" fmla="*/ 625 w 657778"/>
              <a:gd name="connsiteY206" fmla="*/ 91920 h 442921"/>
              <a:gd name="connsiteX207" fmla="*/ 15117 w 657778"/>
              <a:gd name="connsiteY207" fmla="*/ 101063 h 442921"/>
              <a:gd name="connsiteX208" fmla="*/ 24987 w 657778"/>
              <a:gd name="connsiteY208" fmla="*/ 117001 h 442921"/>
              <a:gd name="connsiteX209" fmla="*/ 42727 w 657778"/>
              <a:gd name="connsiteY209" fmla="*/ 123919 h 442921"/>
              <a:gd name="connsiteX210" fmla="*/ 54721 w 657778"/>
              <a:gd name="connsiteY210" fmla="*/ 111194 h 442921"/>
              <a:gd name="connsiteX211" fmla="*/ 71837 w 657778"/>
              <a:gd name="connsiteY211" fmla="*/ 109711 h 442921"/>
              <a:gd name="connsiteX212" fmla="*/ 81332 w 657778"/>
              <a:gd name="connsiteY212" fmla="*/ 98221 h 442921"/>
              <a:gd name="connsiteX213" fmla="*/ 84455 w 657778"/>
              <a:gd name="connsiteY213" fmla="*/ 106622 h 442921"/>
              <a:gd name="connsiteX214" fmla="*/ 83331 w 657778"/>
              <a:gd name="connsiteY214" fmla="*/ 113912 h 442921"/>
              <a:gd name="connsiteX215" fmla="*/ 91452 w 657778"/>
              <a:gd name="connsiteY215" fmla="*/ 115394 h 442921"/>
              <a:gd name="connsiteX216" fmla="*/ 102321 w 657778"/>
              <a:gd name="connsiteY216" fmla="*/ 111317 h 442921"/>
              <a:gd name="connsiteX217" fmla="*/ 102321 w 657778"/>
              <a:gd name="connsiteY217" fmla="*/ 125772 h 442921"/>
              <a:gd name="connsiteX218" fmla="*/ 108568 w 657778"/>
              <a:gd name="connsiteY218" fmla="*/ 126884 h 442921"/>
              <a:gd name="connsiteX219" fmla="*/ 122186 w 657778"/>
              <a:gd name="connsiteY219" fmla="*/ 119966 h 442921"/>
              <a:gd name="connsiteX220" fmla="*/ 127183 w 657778"/>
              <a:gd name="connsiteY220" fmla="*/ 112800 h 442921"/>
              <a:gd name="connsiteX221" fmla="*/ 125684 w 657778"/>
              <a:gd name="connsiteY221" fmla="*/ 127749 h 442921"/>
              <a:gd name="connsiteX222" fmla="*/ 130306 w 657778"/>
              <a:gd name="connsiteY222" fmla="*/ 128367 h 442921"/>
              <a:gd name="connsiteX223" fmla="*/ 147797 w 657778"/>
              <a:gd name="connsiteY223" fmla="*/ 118854 h 442921"/>
              <a:gd name="connsiteX224" fmla="*/ 145673 w 657778"/>
              <a:gd name="connsiteY224" fmla="*/ 125649 h 442921"/>
              <a:gd name="connsiteX225" fmla="*/ 138552 w 657778"/>
              <a:gd name="connsiteY225" fmla="*/ 136274 h 442921"/>
              <a:gd name="connsiteX226" fmla="*/ 144049 w 657778"/>
              <a:gd name="connsiteY226" fmla="*/ 142575 h 442921"/>
              <a:gd name="connsiteX227" fmla="*/ 155668 w 657778"/>
              <a:gd name="connsiteY227" fmla="*/ 136151 h 442921"/>
              <a:gd name="connsiteX228" fmla="*/ 169910 w 657778"/>
              <a:gd name="connsiteY228" fmla="*/ 148258 h 442921"/>
              <a:gd name="connsiteX229" fmla="*/ 160540 w 657778"/>
              <a:gd name="connsiteY229" fmla="*/ 150112 h 442921"/>
              <a:gd name="connsiteX230" fmla="*/ 151795 w 657778"/>
              <a:gd name="connsiteY230" fmla="*/ 148753 h 442921"/>
              <a:gd name="connsiteX231" fmla="*/ 140051 w 657778"/>
              <a:gd name="connsiteY231" fmla="*/ 154312 h 442921"/>
              <a:gd name="connsiteX232" fmla="*/ 127683 w 657778"/>
              <a:gd name="connsiteY232" fmla="*/ 153077 h 442921"/>
              <a:gd name="connsiteX233" fmla="*/ 106319 w 657778"/>
              <a:gd name="connsiteY233" fmla="*/ 157895 h 442921"/>
              <a:gd name="connsiteX234" fmla="*/ 103945 w 657778"/>
              <a:gd name="connsiteY234" fmla="*/ 162961 h 442921"/>
              <a:gd name="connsiteX235" fmla="*/ 127558 w 657778"/>
              <a:gd name="connsiteY235" fmla="*/ 174574 h 442921"/>
              <a:gd name="connsiteX236" fmla="*/ 141425 w 657778"/>
              <a:gd name="connsiteY236" fmla="*/ 174945 h 442921"/>
              <a:gd name="connsiteX237" fmla="*/ 148797 w 657778"/>
              <a:gd name="connsiteY237" fmla="*/ 167161 h 442921"/>
              <a:gd name="connsiteX238" fmla="*/ 157792 w 657778"/>
              <a:gd name="connsiteY238" fmla="*/ 165308 h 442921"/>
              <a:gd name="connsiteX239" fmla="*/ 154668 w 657778"/>
              <a:gd name="connsiteY239" fmla="*/ 176922 h 442921"/>
              <a:gd name="connsiteX240" fmla="*/ 144049 w 657778"/>
              <a:gd name="connsiteY240" fmla="*/ 186929 h 442921"/>
              <a:gd name="connsiteX241" fmla="*/ 117813 w 657778"/>
              <a:gd name="connsiteY241" fmla="*/ 185076 h 442921"/>
              <a:gd name="connsiteX242" fmla="*/ 109567 w 657778"/>
              <a:gd name="connsiteY242" fmla="*/ 180999 h 442921"/>
              <a:gd name="connsiteX243" fmla="*/ 95575 w 657778"/>
              <a:gd name="connsiteY243" fmla="*/ 190018 h 442921"/>
              <a:gd name="connsiteX244" fmla="*/ 91077 w 657778"/>
              <a:gd name="connsiteY244" fmla="*/ 181616 h 442921"/>
              <a:gd name="connsiteX245" fmla="*/ 87329 w 657778"/>
              <a:gd name="connsiteY245" fmla="*/ 176180 h 442921"/>
              <a:gd name="connsiteX246" fmla="*/ 88328 w 657778"/>
              <a:gd name="connsiteY246" fmla="*/ 170126 h 442921"/>
              <a:gd name="connsiteX247" fmla="*/ 81082 w 657778"/>
              <a:gd name="connsiteY247" fmla="*/ 166420 h 442921"/>
              <a:gd name="connsiteX248" fmla="*/ 78084 w 657778"/>
              <a:gd name="connsiteY248" fmla="*/ 169509 h 442921"/>
              <a:gd name="connsiteX249" fmla="*/ 79583 w 657778"/>
              <a:gd name="connsiteY249" fmla="*/ 176057 h 442921"/>
              <a:gd name="connsiteX250" fmla="*/ 66340 w 657778"/>
              <a:gd name="connsiteY250" fmla="*/ 182234 h 442921"/>
              <a:gd name="connsiteX251" fmla="*/ 58469 w 657778"/>
              <a:gd name="connsiteY251" fmla="*/ 175933 h 442921"/>
              <a:gd name="connsiteX252" fmla="*/ 45726 w 657778"/>
              <a:gd name="connsiteY252" fmla="*/ 174451 h 442921"/>
              <a:gd name="connsiteX253" fmla="*/ 31608 w 657778"/>
              <a:gd name="connsiteY253" fmla="*/ 178528 h 442921"/>
              <a:gd name="connsiteX254" fmla="*/ 17741 w 657778"/>
              <a:gd name="connsiteY254" fmla="*/ 169879 h 442921"/>
              <a:gd name="connsiteX255" fmla="*/ 6871 w 657778"/>
              <a:gd name="connsiteY255" fmla="*/ 171856 h 442921"/>
              <a:gd name="connsiteX256" fmla="*/ 0 w 657778"/>
              <a:gd name="connsiteY256" fmla="*/ 169756 h 442921"/>
              <a:gd name="connsiteX257" fmla="*/ 6996 w 657778"/>
              <a:gd name="connsiteY257" fmla="*/ 187423 h 442921"/>
              <a:gd name="connsiteX258" fmla="*/ 10370 w 657778"/>
              <a:gd name="connsiteY258" fmla="*/ 201631 h 442921"/>
              <a:gd name="connsiteX259" fmla="*/ 29360 w 657778"/>
              <a:gd name="connsiteY259" fmla="*/ 206573 h 442921"/>
              <a:gd name="connsiteX260" fmla="*/ 30234 w 657778"/>
              <a:gd name="connsiteY260" fmla="*/ 201755 h 442921"/>
              <a:gd name="connsiteX261" fmla="*/ 53097 w 657778"/>
              <a:gd name="connsiteY261" fmla="*/ 212627 h 442921"/>
              <a:gd name="connsiteX262" fmla="*/ 81832 w 657778"/>
              <a:gd name="connsiteY262" fmla="*/ 216087 h 442921"/>
              <a:gd name="connsiteX263" fmla="*/ 97574 w 657778"/>
              <a:gd name="connsiteY263" fmla="*/ 220411 h 442921"/>
              <a:gd name="connsiteX264" fmla="*/ 95200 w 657778"/>
              <a:gd name="connsiteY264" fmla="*/ 226959 h 442921"/>
              <a:gd name="connsiteX265" fmla="*/ 84206 w 657778"/>
              <a:gd name="connsiteY265" fmla="*/ 231530 h 442921"/>
              <a:gd name="connsiteX266" fmla="*/ 82207 w 657778"/>
              <a:gd name="connsiteY266" fmla="*/ 239190 h 442921"/>
              <a:gd name="connsiteX267" fmla="*/ 93950 w 657778"/>
              <a:gd name="connsiteY267" fmla="*/ 251051 h 442921"/>
              <a:gd name="connsiteX268" fmla="*/ 95325 w 657778"/>
              <a:gd name="connsiteY268" fmla="*/ 261305 h 442921"/>
              <a:gd name="connsiteX269" fmla="*/ 104570 w 657778"/>
              <a:gd name="connsiteY269" fmla="*/ 261305 h 442921"/>
              <a:gd name="connsiteX270" fmla="*/ 125684 w 657778"/>
              <a:gd name="connsiteY270" fmla="*/ 252039 h 442921"/>
              <a:gd name="connsiteX271" fmla="*/ 120561 w 657778"/>
              <a:gd name="connsiteY271" fmla="*/ 260811 h 442921"/>
              <a:gd name="connsiteX272" fmla="*/ 105444 w 657778"/>
              <a:gd name="connsiteY272" fmla="*/ 267977 h 442921"/>
              <a:gd name="connsiteX273" fmla="*/ 96074 w 657778"/>
              <a:gd name="connsiteY273" fmla="*/ 277367 h 442921"/>
              <a:gd name="connsiteX274" fmla="*/ 105819 w 657778"/>
              <a:gd name="connsiteY274" fmla="*/ 287745 h 442921"/>
              <a:gd name="connsiteX275" fmla="*/ 129182 w 657778"/>
              <a:gd name="connsiteY275" fmla="*/ 275513 h 442921"/>
              <a:gd name="connsiteX276" fmla="*/ 144174 w 657778"/>
              <a:gd name="connsiteY276" fmla="*/ 283297 h 442921"/>
              <a:gd name="connsiteX277" fmla="*/ 146298 w 657778"/>
              <a:gd name="connsiteY277" fmla="*/ 292563 h 442921"/>
              <a:gd name="connsiteX278" fmla="*/ 137677 w 657778"/>
              <a:gd name="connsiteY278" fmla="*/ 284780 h 442921"/>
              <a:gd name="connsiteX279" fmla="*/ 122061 w 657778"/>
              <a:gd name="connsiteY279" fmla="*/ 287127 h 442921"/>
              <a:gd name="connsiteX280" fmla="*/ 109817 w 657778"/>
              <a:gd name="connsiteY280" fmla="*/ 294293 h 442921"/>
              <a:gd name="connsiteX281" fmla="*/ 95949 w 657778"/>
              <a:gd name="connsiteY281" fmla="*/ 291945 h 442921"/>
              <a:gd name="connsiteX282" fmla="*/ 93201 w 657778"/>
              <a:gd name="connsiteY282" fmla="*/ 301953 h 442921"/>
              <a:gd name="connsiteX283" fmla="*/ 84580 w 657778"/>
              <a:gd name="connsiteY283" fmla="*/ 309242 h 442921"/>
              <a:gd name="connsiteX284" fmla="*/ 76835 w 657778"/>
              <a:gd name="connsiteY284" fmla="*/ 305906 h 442921"/>
              <a:gd name="connsiteX285" fmla="*/ 66340 w 657778"/>
              <a:gd name="connsiteY285" fmla="*/ 309489 h 442921"/>
              <a:gd name="connsiteX286" fmla="*/ 63467 w 657778"/>
              <a:gd name="connsiteY286" fmla="*/ 299235 h 442921"/>
              <a:gd name="connsiteX287" fmla="*/ 52597 w 657778"/>
              <a:gd name="connsiteY287" fmla="*/ 288610 h 442921"/>
              <a:gd name="connsiteX288" fmla="*/ 50848 w 657778"/>
              <a:gd name="connsiteY288" fmla="*/ 294911 h 442921"/>
              <a:gd name="connsiteX289" fmla="*/ 45476 w 657778"/>
              <a:gd name="connsiteY289" fmla="*/ 293922 h 442921"/>
              <a:gd name="connsiteX290" fmla="*/ 45476 w 657778"/>
              <a:gd name="connsiteY290" fmla="*/ 311960 h 442921"/>
              <a:gd name="connsiteX291" fmla="*/ 51848 w 657778"/>
              <a:gd name="connsiteY291" fmla="*/ 316532 h 442921"/>
              <a:gd name="connsiteX292" fmla="*/ 45726 w 657778"/>
              <a:gd name="connsiteY292" fmla="*/ 319497 h 442921"/>
              <a:gd name="connsiteX293" fmla="*/ 39229 w 657778"/>
              <a:gd name="connsiteY293" fmla="*/ 343218 h 442921"/>
              <a:gd name="connsiteX294" fmla="*/ 56845 w 657778"/>
              <a:gd name="connsiteY294" fmla="*/ 346307 h 442921"/>
              <a:gd name="connsiteX295" fmla="*/ 62842 w 657778"/>
              <a:gd name="connsiteY295" fmla="*/ 341612 h 442921"/>
              <a:gd name="connsiteX296" fmla="*/ 72962 w 657778"/>
              <a:gd name="connsiteY296" fmla="*/ 350384 h 442921"/>
              <a:gd name="connsiteX297" fmla="*/ 96949 w 657778"/>
              <a:gd name="connsiteY297" fmla="*/ 357920 h 442921"/>
              <a:gd name="connsiteX298" fmla="*/ 117063 w 657778"/>
              <a:gd name="connsiteY298" fmla="*/ 347789 h 442921"/>
              <a:gd name="connsiteX299" fmla="*/ 130431 w 657778"/>
              <a:gd name="connsiteY299" fmla="*/ 358662 h 442921"/>
              <a:gd name="connsiteX300" fmla="*/ 143050 w 657778"/>
              <a:gd name="connsiteY300" fmla="*/ 353843 h 442921"/>
              <a:gd name="connsiteX301" fmla="*/ 144174 w 657778"/>
              <a:gd name="connsiteY301" fmla="*/ 362615 h 442921"/>
              <a:gd name="connsiteX302" fmla="*/ 152919 w 657778"/>
              <a:gd name="connsiteY302" fmla="*/ 367063 h 44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Lst>
            <a:rect l="l" t="t" r="r" b="b"/>
            <a:pathLst>
              <a:path w="657778" h="442921">
                <a:moveTo>
                  <a:pt x="176532" y="438350"/>
                </a:moveTo>
                <a:lnTo>
                  <a:pt x="173783" y="427602"/>
                </a:lnTo>
                <a:lnTo>
                  <a:pt x="179780" y="417965"/>
                </a:lnTo>
                <a:lnTo>
                  <a:pt x="187776" y="417471"/>
                </a:lnTo>
                <a:lnTo>
                  <a:pt x="187276" y="433532"/>
                </a:lnTo>
                <a:lnTo>
                  <a:pt x="176532" y="438474"/>
                </a:lnTo>
                <a:lnTo>
                  <a:pt x="176532" y="438474"/>
                </a:lnTo>
                <a:close/>
                <a:moveTo>
                  <a:pt x="154294" y="367310"/>
                </a:moveTo>
                <a:lnTo>
                  <a:pt x="171035" y="364963"/>
                </a:lnTo>
                <a:lnTo>
                  <a:pt x="166412" y="380159"/>
                </a:lnTo>
                <a:lnTo>
                  <a:pt x="179905" y="399803"/>
                </a:lnTo>
                <a:lnTo>
                  <a:pt x="190650" y="407834"/>
                </a:lnTo>
                <a:lnTo>
                  <a:pt x="204392" y="399927"/>
                </a:lnTo>
                <a:lnTo>
                  <a:pt x="218260" y="403633"/>
                </a:lnTo>
                <a:lnTo>
                  <a:pt x="237750" y="430443"/>
                </a:lnTo>
                <a:lnTo>
                  <a:pt x="269108" y="435756"/>
                </a:lnTo>
                <a:lnTo>
                  <a:pt x="280602" y="442922"/>
                </a:lnTo>
                <a:lnTo>
                  <a:pt x="301716" y="440821"/>
                </a:lnTo>
                <a:lnTo>
                  <a:pt x="302216" y="423772"/>
                </a:lnTo>
                <a:lnTo>
                  <a:pt x="308337" y="417718"/>
                </a:lnTo>
                <a:lnTo>
                  <a:pt x="310336" y="427478"/>
                </a:lnTo>
                <a:lnTo>
                  <a:pt x="326203" y="434891"/>
                </a:lnTo>
                <a:lnTo>
                  <a:pt x="345318" y="422413"/>
                </a:lnTo>
                <a:lnTo>
                  <a:pt x="349816" y="404498"/>
                </a:lnTo>
                <a:lnTo>
                  <a:pt x="369680" y="405981"/>
                </a:lnTo>
                <a:lnTo>
                  <a:pt x="360935" y="413764"/>
                </a:lnTo>
                <a:lnTo>
                  <a:pt x="364933" y="421671"/>
                </a:lnTo>
                <a:lnTo>
                  <a:pt x="372179" y="415865"/>
                </a:lnTo>
                <a:lnTo>
                  <a:pt x="383923" y="415865"/>
                </a:lnTo>
                <a:cubicBezTo>
                  <a:pt x="383923" y="415865"/>
                  <a:pt x="400789" y="400792"/>
                  <a:pt x="400789" y="400792"/>
                </a:cubicBezTo>
                <a:lnTo>
                  <a:pt x="407160" y="406104"/>
                </a:lnTo>
                <a:lnTo>
                  <a:pt x="412283" y="405363"/>
                </a:lnTo>
                <a:lnTo>
                  <a:pt x="424901" y="408575"/>
                </a:lnTo>
                <a:lnTo>
                  <a:pt x="423777" y="412529"/>
                </a:lnTo>
                <a:lnTo>
                  <a:pt x="430773" y="409687"/>
                </a:lnTo>
                <a:lnTo>
                  <a:pt x="467379" y="388560"/>
                </a:lnTo>
                <a:lnTo>
                  <a:pt x="482371" y="374723"/>
                </a:lnTo>
                <a:lnTo>
                  <a:pt x="521100" y="374476"/>
                </a:lnTo>
                <a:lnTo>
                  <a:pt x="530096" y="367063"/>
                </a:lnTo>
                <a:lnTo>
                  <a:pt x="527847" y="359650"/>
                </a:lnTo>
                <a:lnTo>
                  <a:pt x="531595" y="350137"/>
                </a:lnTo>
                <a:lnTo>
                  <a:pt x="538466" y="352237"/>
                </a:lnTo>
                <a:lnTo>
                  <a:pt x="539591" y="363851"/>
                </a:lnTo>
                <a:lnTo>
                  <a:pt x="557081" y="373735"/>
                </a:lnTo>
                <a:lnTo>
                  <a:pt x="570200" y="363974"/>
                </a:lnTo>
                <a:lnTo>
                  <a:pt x="573823" y="355202"/>
                </a:lnTo>
                <a:lnTo>
                  <a:pt x="570200" y="349272"/>
                </a:lnTo>
                <a:lnTo>
                  <a:pt x="573573" y="340253"/>
                </a:lnTo>
                <a:lnTo>
                  <a:pt x="582693" y="339512"/>
                </a:lnTo>
                <a:lnTo>
                  <a:pt x="579694" y="320114"/>
                </a:lnTo>
                <a:lnTo>
                  <a:pt x="586941" y="314308"/>
                </a:lnTo>
                <a:lnTo>
                  <a:pt x="598185" y="324439"/>
                </a:lnTo>
                <a:lnTo>
                  <a:pt x="598684" y="336670"/>
                </a:lnTo>
                <a:lnTo>
                  <a:pt x="611178" y="337041"/>
                </a:lnTo>
                <a:lnTo>
                  <a:pt x="622297" y="323080"/>
                </a:lnTo>
                <a:lnTo>
                  <a:pt x="620423" y="309119"/>
                </a:lnTo>
                <a:lnTo>
                  <a:pt x="609804" y="292687"/>
                </a:lnTo>
                <a:lnTo>
                  <a:pt x="612052" y="277861"/>
                </a:lnTo>
                <a:lnTo>
                  <a:pt x="621422" y="272672"/>
                </a:lnTo>
                <a:lnTo>
                  <a:pt x="622922" y="259081"/>
                </a:lnTo>
                <a:lnTo>
                  <a:pt x="637164" y="254881"/>
                </a:lnTo>
                <a:lnTo>
                  <a:pt x="648783" y="256734"/>
                </a:lnTo>
                <a:lnTo>
                  <a:pt x="657778" y="247839"/>
                </a:lnTo>
                <a:lnTo>
                  <a:pt x="647659" y="233260"/>
                </a:lnTo>
                <a:lnTo>
                  <a:pt x="618424" y="225229"/>
                </a:lnTo>
                <a:lnTo>
                  <a:pt x="607555" y="230665"/>
                </a:lnTo>
                <a:lnTo>
                  <a:pt x="617924" y="218805"/>
                </a:lnTo>
                <a:lnTo>
                  <a:pt x="617924" y="207685"/>
                </a:lnTo>
                <a:cubicBezTo>
                  <a:pt x="617924" y="207685"/>
                  <a:pt x="601558" y="203237"/>
                  <a:pt x="601558" y="203237"/>
                </a:cubicBezTo>
                <a:lnTo>
                  <a:pt x="596561" y="206203"/>
                </a:lnTo>
                <a:lnTo>
                  <a:pt x="593812" y="191500"/>
                </a:lnTo>
                <a:lnTo>
                  <a:pt x="606805" y="180628"/>
                </a:lnTo>
                <a:lnTo>
                  <a:pt x="618549" y="179145"/>
                </a:lnTo>
                <a:lnTo>
                  <a:pt x="619798" y="159378"/>
                </a:lnTo>
                <a:lnTo>
                  <a:pt x="613302" y="153694"/>
                </a:lnTo>
                <a:lnTo>
                  <a:pt x="601808" y="159625"/>
                </a:lnTo>
                <a:lnTo>
                  <a:pt x="590564" y="152212"/>
                </a:lnTo>
                <a:lnTo>
                  <a:pt x="587191" y="137386"/>
                </a:lnTo>
                <a:lnTo>
                  <a:pt x="601808" y="134050"/>
                </a:lnTo>
                <a:lnTo>
                  <a:pt x="605556" y="123178"/>
                </a:lnTo>
                <a:lnTo>
                  <a:pt x="613427" y="118854"/>
                </a:lnTo>
                <a:lnTo>
                  <a:pt x="628169" y="117989"/>
                </a:lnTo>
                <a:lnTo>
                  <a:pt x="614301" y="108476"/>
                </a:lnTo>
                <a:lnTo>
                  <a:pt x="602058" y="109464"/>
                </a:lnTo>
                <a:lnTo>
                  <a:pt x="573948" y="127255"/>
                </a:lnTo>
                <a:lnTo>
                  <a:pt x="567201" y="138745"/>
                </a:lnTo>
                <a:lnTo>
                  <a:pt x="558331" y="138498"/>
                </a:lnTo>
                <a:lnTo>
                  <a:pt x="551334" y="122190"/>
                </a:lnTo>
                <a:lnTo>
                  <a:pt x="558706" y="114406"/>
                </a:lnTo>
                <a:lnTo>
                  <a:pt x="553084" y="105881"/>
                </a:lnTo>
                <a:lnTo>
                  <a:pt x="553084" y="92291"/>
                </a:lnTo>
                <a:cubicBezTo>
                  <a:pt x="553084" y="92291"/>
                  <a:pt x="539841" y="85619"/>
                  <a:pt x="539841" y="85619"/>
                </a:cubicBezTo>
                <a:lnTo>
                  <a:pt x="526722" y="90932"/>
                </a:lnTo>
                <a:lnTo>
                  <a:pt x="518602" y="85001"/>
                </a:lnTo>
                <a:lnTo>
                  <a:pt x="509481" y="96368"/>
                </a:lnTo>
                <a:lnTo>
                  <a:pt x="512730" y="111688"/>
                </a:lnTo>
                <a:lnTo>
                  <a:pt x="505109" y="120831"/>
                </a:lnTo>
                <a:lnTo>
                  <a:pt x="490242" y="119472"/>
                </a:lnTo>
                <a:lnTo>
                  <a:pt x="474375" y="123425"/>
                </a:lnTo>
                <a:lnTo>
                  <a:pt x="476499" y="111070"/>
                </a:lnTo>
                <a:lnTo>
                  <a:pt x="469752" y="103904"/>
                </a:lnTo>
                <a:lnTo>
                  <a:pt x="458633" y="114900"/>
                </a:lnTo>
                <a:lnTo>
                  <a:pt x="446640" y="132073"/>
                </a:lnTo>
                <a:lnTo>
                  <a:pt x="432272" y="128738"/>
                </a:lnTo>
                <a:lnTo>
                  <a:pt x="422902" y="102051"/>
                </a:lnTo>
                <a:lnTo>
                  <a:pt x="411658" y="102669"/>
                </a:lnTo>
                <a:lnTo>
                  <a:pt x="407535" y="97974"/>
                </a:lnTo>
                <a:lnTo>
                  <a:pt x="396041" y="96986"/>
                </a:lnTo>
                <a:lnTo>
                  <a:pt x="386546" y="120583"/>
                </a:lnTo>
                <a:lnTo>
                  <a:pt x="395042" y="149247"/>
                </a:lnTo>
                <a:lnTo>
                  <a:pt x="371679" y="183593"/>
                </a:lnTo>
                <a:lnTo>
                  <a:pt x="383798" y="152706"/>
                </a:lnTo>
                <a:lnTo>
                  <a:pt x="373428" y="128120"/>
                </a:lnTo>
                <a:lnTo>
                  <a:pt x="375677" y="116383"/>
                </a:lnTo>
                <a:lnTo>
                  <a:pt x="370805" y="109341"/>
                </a:lnTo>
                <a:lnTo>
                  <a:pt x="375302" y="94638"/>
                </a:lnTo>
                <a:lnTo>
                  <a:pt x="361934" y="82778"/>
                </a:lnTo>
                <a:lnTo>
                  <a:pt x="329202" y="95997"/>
                </a:lnTo>
                <a:lnTo>
                  <a:pt x="321830" y="111194"/>
                </a:lnTo>
                <a:lnTo>
                  <a:pt x="324829" y="124413"/>
                </a:lnTo>
                <a:lnTo>
                  <a:pt x="308587" y="141834"/>
                </a:lnTo>
                <a:lnTo>
                  <a:pt x="296719" y="139610"/>
                </a:lnTo>
                <a:lnTo>
                  <a:pt x="299342" y="117371"/>
                </a:lnTo>
                <a:lnTo>
                  <a:pt x="289847" y="111194"/>
                </a:lnTo>
                <a:lnTo>
                  <a:pt x="293470" y="80430"/>
                </a:lnTo>
                <a:lnTo>
                  <a:pt x="284725" y="70546"/>
                </a:lnTo>
                <a:lnTo>
                  <a:pt x="263486" y="82530"/>
                </a:lnTo>
                <a:lnTo>
                  <a:pt x="259738" y="116630"/>
                </a:lnTo>
                <a:lnTo>
                  <a:pt x="265360" y="128243"/>
                </a:lnTo>
                <a:lnTo>
                  <a:pt x="259738" y="151594"/>
                </a:lnTo>
                <a:lnTo>
                  <a:pt x="248369" y="161602"/>
                </a:lnTo>
                <a:lnTo>
                  <a:pt x="235251" y="159748"/>
                </a:lnTo>
                <a:lnTo>
                  <a:pt x="238125" y="142081"/>
                </a:lnTo>
                <a:lnTo>
                  <a:pt x="221633" y="146776"/>
                </a:lnTo>
                <a:lnTo>
                  <a:pt x="212263" y="163208"/>
                </a:lnTo>
                <a:lnTo>
                  <a:pt x="202019" y="167408"/>
                </a:lnTo>
                <a:lnTo>
                  <a:pt x="197021" y="190759"/>
                </a:lnTo>
                <a:lnTo>
                  <a:pt x="191149" y="165926"/>
                </a:lnTo>
                <a:lnTo>
                  <a:pt x="180530" y="162837"/>
                </a:lnTo>
                <a:lnTo>
                  <a:pt x="184778" y="151965"/>
                </a:lnTo>
                <a:lnTo>
                  <a:pt x="198271" y="140104"/>
                </a:lnTo>
                <a:lnTo>
                  <a:pt x="200394" y="128861"/>
                </a:lnTo>
                <a:lnTo>
                  <a:pt x="183653" y="125772"/>
                </a:lnTo>
                <a:lnTo>
                  <a:pt x="192524" y="117495"/>
                </a:lnTo>
                <a:lnTo>
                  <a:pt x="187151" y="98839"/>
                </a:lnTo>
                <a:lnTo>
                  <a:pt x="196646" y="107858"/>
                </a:lnTo>
                <a:lnTo>
                  <a:pt x="210889" y="97851"/>
                </a:lnTo>
                <a:lnTo>
                  <a:pt x="209265" y="88708"/>
                </a:lnTo>
                <a:lnTo>
                  <a:pt x="196521" y="79689"/>
                </a:lnTo>
                <a:lnTo>
                  <a:pt x="210639" y="73017"/>
                </a:lnTo>
                <a:lnTo>
                  <a:pt x="201644" y="58562"/>
                </a:lnTo>
                <a:lnTo>
                  <a:pt x="192274" y="63504"/>
                </a:lnTo>
                <a:lnTo>
                  <a:pt x="187401" y="51026"/>
                </a:lnTo>
                <a:lnTo>
                  <a:pt x="170910" y="37312"/>
                </a:lnTo>
                <a:lnTo>
                  <a:pt x="173034" y="24710"/>
                </a:lnTo>
                <a:lnTo>
                  <a:pt x="168411" y="9390"/>
                </a:lnTo>
                <a:lnTo>
                  <a:pt x="153919" y="10255"/>
                </a:lnTo>
                <a:lnTo>
                  <a:pt x="139177" y="2471"/>
                </a:lnTo>
                <a:lnTo>
                  <a:pt x="116938" y="0"/>
                </a:lnTo>
                <a:lnTo>
                  <a:pt x="113565" y="5807"/>
                </a:lnTo>
                <a:lnTo>
                  <a:pt x="118063" y="15814"/>
                </a:lnTo>
                <a:lnTo>
                  <a:pt x="127058" y="16926"/>
                </a:lnTo>
                <a:lnTo>
                  <a:pt x="129932" y="10749"/>
                </a:lnTo>
                <a:lnTo>
                  <a:pt x="140676" y="13343"/>
                </a:lnTo>
                <a:lnTo>
                  <a:pt x="148297" y="20633"/>
                </a:lnTo>
                <a:lnTo>
                  <a:pt x="159416" y="26810"/>
                </a:lnTo>
                <a:lnTo>
                  <a:pt x="152170" y="32617"/>
                </a:lnTo>
                <a:lnTo>
                  <a:pt x="139676" y="26069"/>
                </a:lnTo>
                <a:lnTo>
                  <a:pt x="126308" y="23845"/>
                </a:lnTo>
                <a:lnTo>
                  <a:pt x="127308" y="29034"/>
                </a:lnTo>
                <a:lnTo>
                  <a:pt x="145298" y="46331"/>
                </a:lnTo>
                <a:lnTo>
                  <a:pt x="155668" y="64987"/>
                </a:lnTo>
                <a:lnTo>
                  <a:pt x="149796" y="74994"/>
                </a:lnTo>
                <a:lnTo>
                  <a:pt x="143050" y="74994"/>
                </a:lnTo>
                <a:cubicBezTo>
                  <a:pt x="143050" y="74994"/>
                  <a:pt x="144799" y="65975"/>
                  <a:pt x="144799" y="65975"/>
                </a:cubicBezTo>
                <a:lnTo>
                  <a:pt x="131431" y="52385"/>
                </a:lnTo>
                <a:lnTo>
                  <a:pt x="119437" y="59550"/>
                </a:lnTo>
                <a:lnTo>
                  <a:pt x="111316" y="55226"/>
                </a:lnTo>
                <a:lnTo>
                  <a:pt x="117313" y="47196"/>
                </a:lnTo>
                <a:lnTo>
                  <a:pt x="108068" y="29652"/>
                </a:lnTo>
                <a:lnTo>
                  <a:pt x="94950" y="20756"/>
                </a:lnTo>
                <a:lnTo>
                  <a:pt x="83206" y="25204"/>
                </a:lnTo>
                <a:lnTo>
                  <a:pt x="90827" y="41142"/>
                </a:lnTo>
                <a:lnTo>
                  <a:pt x="86329" y="48308"/>
                </a:lnTo>
                <a:lnTo>
                  <a:pt x="80208" y="33852"/>
                </a:lnTo>
                <a:lnTo>
                  <a:pt x="68714" y="27798"/>
                </a:lnTo>
                <a:lnTo>
                  <a:pt x="63467" y="35953"/>
                </a:lnTo>
                <a:lnTo>
                  <a:pt x="69838" y="48184"/>
                </a:lnTo>
                <a:lnTo>
                  <a:pt x="77584" y="54856"/>
                </a:lnTo>
                <a:lnTo>
                  <a:pt x="81207" y="63380"/>
                </a:lnTo>
                <a:lnTo>
                  <a:pt x="68464" y="55103"/>
                </a:lnTo>
                <a:lnTo>
                  <a:pt x="54096" y="58315"/>
                </a:lnTo>
                <a:lnTo>
                  <a:pt x="59968" y="71288"/>
                </a:lnTo>
                <a:lnTo>
                  <a:pt x="78584" y="80554"/>
                </a:lnTo>
                <a:lnTo>
                  <a:pt x="68714" y="80554"/>
                </a:lnTo>
                <a:cubicBezTo>
                  <a:pt x="68714" y="80554"/>
                  <a:pt x="63966" y="83395"/>
                  <a:pt x="63966" y="83395"/>
                </a:cubicBezTo>
                <a:lnTo>
                  <a:pt x="65840" y="92291"/>
                </a:lnTo>
                <a:lnTo>
                  <a:pt x="60968" y="92538"/>
                </a:lnTo>
                <a:lnTo>
                  <a:pt x="43602" y="69311"/>
                </a:lnTo>
                <a:lnTo>
                  <a:pt x="37355" y="66716"/>
                </a:lnTo>
                <a:lnTo>
                  <a:pt x="28860" y="72894"/>
                </a:lnTo>
                <a:lnTo>
                  <a:pt x="34857" y="91426"/>
                </a:lnTo>
                <a:lnTo>
                  <a:pt x="38605" y="102669"/>
                </a:lnTo>
                <a:lnTo>
                  <a:pt x="32483" y="104028"/>
                </a:lnTo>
                <a:lnTo>
                  <a:pt x="22988" y="84754"/>
                </a:lnTo>
                <a:lnTo>
                  <a:pt x="11244" y="78948"/>
                </a:lnTo>
                <a:lnTo>
                  <a:pt x="625" y="91920"/>
                </a:lnTo>
                <a:lnTo>
                  <a:pt x="15117" y="101063"/>
                </a:lnTo>
                <a:lnTo>
                  <a:pt x="24987" y="117001"/>
                </a:lnTo>
                <a:lnTo>
                  <a:pt x="42727" y="123919"/>
                </a:lnTo>
                <a:lnTo>
                  <a:pt x="54721" y="111194"/>
                </a:lnTo>
                <a:lnTo>
                  <a:pt x="71837" y="109711"/>
                </a:lnTo>
                <a:lnTo>
                  <a:pt x="81332" y="98221"/>
                </a:lnTo>
                <a:lnTo>
                  <a:pt x="84455" y="106622"/>
                </a:lnTo>
                <a:lnTo>
                  <a:pt x="83331" y="113912"/>
                </a:lnTo>
                <a:lnTo>
                  <a:pt x="91452" y="115394"/>
                </a:lnTo>
                <a:lnTo>
                  <a:pt x="102321" y="111317"/>
                </a:lnTo>
                <a:lnTo>
                  <a:pt x="102321" y="125772"/>
                </a:lnTo>
                <a:cubicBezTo>
                  <a:pt x="102321" y="125772"/>
                  <a:pt x="108568" y="126884"/>
                  <a:pt x="108568" y="126884"/>
                </a:cubicBezTo>
                <a:lnTo>
                  <a:pt x="122186" y="119966"/>
                </a:lnTo>
                <a:lnTo>
                  <a:pt x="127183" y="112800"/>
                </a:lnTo>
                <a:lnTo>
                  <a:pt x="125684" y="127749"/>
                </a:lnTo>
                <a:lnTo>
                  <a:pt x="130306" y="128367"/>
                </a:lnTo>
                <a:lnTo>
                  <a:pt x="147797" y="118854"/>
                </a:lnTo>
                <a:lnTo>
                  <a:pt x="145673" y="125649"/>
                </a:lnTo>
                <a:lnTo>
                  <a:pt x="138552" y="136274"/>
                </a:lnTo>
                <a:lnTo>
                  <a:pt x="144049" y="142575"/>
                </a:lnTo>
                <a:lnTo>
                  <a:pt x="155668" y="136151"/>
                </a:lnTo>
                <a:lnTo>
                  <a:pt x="169910" y="148258"/>
                </a:lnTo>
                <a:lnTo>
                  <a:pt x="160540" y="150112"/>
                </a:lnTo>
                <a:lnTo>
                  <a:pt x="151795" y="148753"/>
                </a:lnTo>
                <a:lnTo>
                  <a:pt x="140051" y="154312"/>
                </a:lnTo>
                <a:lnTo>
                  <a:pt x="127683" y="153077"/>
                </a:lnTo>
                <a:lnTo>
                  <a:pt x="106319" y="157895"/>
                </a:lnTo>
                <a:lnTo>
                  <a:pt x="103945" y="162961"/>
                </a:lnTo>
                <a:lnTo>
                  <a:pt x="127558" y="174574"/>
                </a:lnTo>
                <a:lnTo>
                  <a:pt x="141425" y="174945"/>
                </a:lnTo>
                <a:lnTo>
                  <a:pt x="148797" y="167161"/>
                </a:lnTo>
                <a:lnTo>
                  <a:pt x="157792" y="165308"/>
                </a:lnTo>
                <a:lnTo>
                  <a:pt x="154668" y="176922"/>
                </a:lnTo>
                <a:lnTo>
                  <a:pt x="144049" y="186929"/>
                </a:lnTo>
                <a:lnTo>
                  <a:pt x="117813" y="185076"/>
                </a:lnTo>
                <a:lnTo>
                  <a:pt x="109567" y="180999"/>
                </a:lnTo>
                <a:lnTo>
                  <a:pt x="95575" y="190018"/>
                </a:lnTo>
                <a:lnTo>
                  <a:pt x="91077" y="181616"/>
                </a:lnTo>
                <a:lnTo>
                  <a:pt x="87329" y="176180"/>
                </a:lnTo>
                <a:lnTo>
                  <a:pt x="88328" y="170126"/>
                </a:lnTo>
                <a:lnTo>
                  <a:pt x="81082" y="166420"/>
                </a:lnTo>
                <a:lnTo>
                  <a:pt x="78084" y="169509"/>
                </a:lnTo>
                <a:lnTo>
                  <a:pt x="79583" y="176057"/>
                </a:lnTo>
                <a:lnTo>
                  <a:pt x="66340" y="182234"/>
                </a:lnTo>
                <a:lnTo>
                  <a:pt x="58469" y="175933"/>
                </a:lnTo>
                <a:lnTo>
                  <a:pt x="45726" y="174451"/>
                </a:lnTo>
                <a:lnTo>
                  <a:pt x="31608" y="178528"/>
                </a:lnTo>
                <a:lnTo>
                  <a:pt x="17741" y="169879"/>
                </a:lnTo>
                <a:lnTo>
                  <a:pt x="6871" y="171856"/>
                </a:lnTo>
                <a:lnTo>
                  <a:pt x="0" y="169756"/>
                </a:lnTo>
                <a:lnTo>
                  <a:pt x="6996" y="187423"/>
                </a:lnTo>
                <a:lnTo>
                  <a:pt x="10370" y="201631"/>
                </a:lnTo>
                <a:lnTo>
                  <a:pt x="29360" y="206573"/>
                </a:lnTo>
                <a:lnTo>
                  <a:pt x="30234" y="201755"/>
                </a:lnTo>
                <a:lnTo>
                  <a:pt x="53097" y="212627"/>
                </a:lnTo>
                <a:lnTo>
                  <a:pt x="81832" y="216087"/>
                </a:lnTo>
                <a:lnTo>
                  <a:pt x="97574" y="220411"/>
                </a:lnTo>
                <a:lnTo>
                  <a:pt x="95200" y="226959"/>
                </a:lnTo>
                <a:lnTo>
                  <a:pt x="84206" y="231530"/>
                </a:lnTo>
                <a:lnTo>
                  <a:pt x="82207" y="239190"/>
                </a:lnTo>
                <a:lnTo>
                  <a:pt x="93950" y="251051"/>
                </a:lnTo>
                <a:lnTo>
                  <a:pt x="95325" y="261305"/>
                </a:lnTo>
                <a:lnTo>
                  <a:pt x="104570" y="261305"/>
                </a:lnTo>
                <a:cubicBezTo>
                  <a:pt x="104570" y="261305"/>
                  <a:pt x="125684" y="252039"/>
                  <a:pt x="125684" y="252039"/>
                </a:cubicBezTo>
                <a:lnTo>
                  <a:pt x="120561" y="260811"/>
                </a:lnTo>
                <a:lnTo>
                  <a:pt x="105444" y="267977"/>
                </a:lnTo>
                <a:lnTo>
                  <a:pt x="96074" y="277367"/>
                </a:lnTo>
                <a:lnTo>
                  <a:pt x="105819" y="287745"/>
                </a:lnTo>
                <a:lnTo>
                  <a:pt x="129182" y="275513"/>
                </a:lnTo>
                <a:lnTo>
                  <a:pt x="144174" y="283297"/>
                </a:lnTo>
                <a:lnTo>
                  <a:pt x="146298" y="292563"/>
                </a:lnTo>
                <a:lnTo>
                  <a:pt x="137677" y="284780"/>
                </a:lnTo>
                <a:lnTo>
                  <a:pt x="122061" y="287127"/>
                </a:lnTo>
                <a:lnTo>
                  <a:pt x="109817" y="294293"/>
                </a:lnTo>
                <a:lnTo>
                  <a:pt x="95949" y="291945"/>
                </a:lnTo>
                <a:lnTo>
                  <a:pt x="93201" y="301953"/>
                </a:lnTo>
                <a:lnTo>
                  <a:pt x="84580" y="309242"/>
                </a:lnTo>
                <a:lnTo>
                  <a:pt x="76835" y="305906"/>
                </a:lnTo>
                <a:lnTo>
                  <a:pt x="66340" y="309489"/>
                </a:lnTo>
                <a:lnTo>
                  <a:pt x="63467" y="299235"/>
                </a:lnTo>
                <a:lnTo>
                  <a:pt x="52597" y="288610"/>
                </a:lnTo>
                <a:lnTo>
                  <a:pt x="50848" y="294911"/>
                </a:lnTo>
                <a:lnTo>
                  <a:pt x="45476" y="293922"/>
                </a:lnTo>
                <a:lnTo>
                  <a:pt x="45476" y="311960"/>
                </a:lnTo>
                <a:cubicBezTo>
                  <a:pt x="45476" y="311960"/>
                  <a:pt x="51848" y="316532"/>
                  <a:pt x="51848" y="316532"/>
                </a:cubicBezTo>
                <a:lnTo>
                  <a:pt x="45726" y="319497"/>
                </a:lnTo>
                <a:lnTo>
                  <a:pt x="39229" y="343218"/>
                </a:lnTo>
                <a:lnTo>
                  <a:pt x="56845" y="346307"/>
                </a:lnTo>
                <a:lnTo>
                  <a:pt x="62842" y="341612"/>
                </a:lnTo>
                <a:lnTo>
                  <a:pt x="72962" y="350384"/>
                </a:lnTo>
                <a:lnTo>
                  <a:pt x="96949" y="357920"/>
                </a:lnTo>
                <a:lnTo>
                  <a:pt x="117063" y="347789"/>
                </a:lnTo>
                <a:lnTo>
                  <a:pt x="130431" y="358662"/>
                </a:lnTo>
                <a:lnTo>
                  <a:pt x="143050" y="353843"/>
                </a:lnTo>
                <a:lnTo>
                  <a:pt x="144174" y="362615"/>
                </a:lnTo>
                <a:lnTo>
                  <a:pt x="152919" y="36706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50" name="Graphic 130">
            <a:extLst>
              <a:ext uri="{FF2B5EF4-FFF2-40B4-BE49-F238E27FC236}">
                <a16:creationId xmlns:a16="http://schemas.microsoft.com/office/drawing/2014/main" id="{D3A56FC8-94FC-7B01-C86A-ED3F011D11CB}"/>
              </a:ext>
            </a:extLst>
          </p:cNvPr>
          <p:cNvSpPr/>
          <p:nvPr/>
        </p:nvSpPr>
        <p:spPr>
          <a:xfrm rot="1141104">
            <a:off x="6812221" y="2912159"/>
            <a:ext cx="63966" cy="86113"/>
          </a:xfrm>
          <a:custGeom>
            <a:avLst/>
            <a:gdLst>
              <a:gd name="connsiteX0" fmla="*/ 14867 w 63966"/>
              <a:gd name="connsiteY0" fmla="*/ 65975 h 86113"/>
              <a:gd name="connsiteX1" fmla="*/ 14368 w 63966"/>
              <a:gd name="connsiteY1" fmla="*/ 56215 h 86113"/>
              <a:gd name="connsiteX2" fmla="*/ 6871 w 63966"/>
              <a:gd name="connsiteY2" fmla="*/ 50037 h 86113"/>
              <a:gd name="connsiteX3" fmla="*/ 6247 w 63966"/>
              <a:gd name="connsiteY3" fmla="*/ 37559 h 86113"/>
              <a:gd name="connsiteX4" fmla="*/ 0 w 63966"/>
              <a:gd name="connsiteY4" fmla="*/ 30022 h 86113"/>
              <a:gd name="connsiteX5" fmla="*/ 9370 w 63966"/>
              <a:gd name="connsiteY5" fmla="*/ 16432 h 86113"/>
              <a:gd name="connsiteX6" fmla="*/ 13993 w 63966"/>
              <a:gd name="connsiteY6" fmla="*/ 618 h 86113"/>
              <a:gd name="connsiteX7" fmla="*/ 25862 w 63966"/>
              <a:gd name="connsiteY7" fmla="*/ 0 h 86113"/>
              <a:gd name="connsiteX8" fmla="*/ 48850 w 63966"/>
              <a:gd name="connsiteY8" fmla="*/ 25945 h 86113"/>
              <a:gd name="connsiteX9" fmla="*/ 53597 w 63966"/>
              <a:gd name="connsiteY9" fmla="*/ 45342 h 86113"/>
              <a:gd name="connsiteX10" fmla="*/ 63967 w 63966"/>
              <a:gd name="connsiteY10" fmla="*/ 53497 h 86113"/>
              <a:gd name="connsiteX11" fmla="*/ 63467 w 63966"/>
              <a:gd name="connsiteY11" fmla="*/ 82407 h 86113"/>
              <a:gd name="connsiteX12" fmla="*/ 50849 w 63966"/>
              <a:gd name="connsiteY12" fmla="*/ 86113 h 86113"/>
              <a:gd name="connsiteX13" fmla="*/ 27486 w 63966"/>
              <a:gd name="connsiteY13" fmla="*/ 82530 h 86113"/>
              <a:gd name="connsiteX14" fmla="*/ 16117 w 63966"/>
              <a:gd name="connsiteY14" fmla="*/ 65975 h 86113"/>
              <a:gd name="connsiteX15" fmla="*/ 14867 w 63966"/>
              <a:gd name="connsiteY15" fmla="*/ 65975 h 8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66" h="86113">
                <a:moveTo>
                  <a:pt x="14867" y="65975"/>
                </a:moveTo>
                <a:lnTo>
                  <a:pt x="14368" y="56215"/>
                </a:lnTo>
                <a:lnTo>
                  <a:pt x="6871" y="50037"/>
                </a:lnTo>
                <a:lnTo>
                  <a:pt x="6247" y="37559"/>
                </a:lnTo>
                <a:lnTo>
                  <a:pt x="0" y="30022"/>
                </a:lnTo>
                <a:lnTo>
                  <a:pt x="9370" y="16432"/>
                </a:lnTo>
                <a:lnTo>
                  <a:pt x="13993" y="618"/>
                </a:lnTo>
                <a:lnTo>
                  <a:pt x="25862" y="0"/>
                </a:lnTo>
                <a:lnTo>
                  <a:pt x="48850" y="25945"/>
                </a:lnTo>
                <a:lnTo>
                  <a:pt x="53597" y="45342"/>
                </a:lnTo>
                <a:lnTo>
                  <a:pt x="63967" y="53497"/>
                </a:lnTo>
                <a:lnTo>
                  <a:pt x="63467" y="82407"/>
                </a:lnTo>
                <a:lnTo>
                  <a:pt x="50849" y="86113"/>
                </a:lnTo>
                <a:lnTo>
                  <a:pt x="27486" y="82530"/>
                </a:lnTo>
                <a:lnTo>
                  <a:pt x="16117" y="65975"/>
                </a:lnTo>
                <a:lnTo>
                  <a:pt x="14867" y="65975"/>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3" name="Graphic 160">
            <a:extLst>
              <a:ext uri="{FF2B5EF4-FFF2-40B4-BE49-F238E27FC236}">
                <a16:creationId xmlns:a16="http://schemas.microsoft.com/office/drawing/2014/main" id="{B39E3138-5C61-7050-F628-FCD36D05E7CF}"/>
              </a:ext>
            </a:extLst>
          </p:cNvPr>
          <p:cNvSpPr/>
          <p:nvPr/>
        </p:nvSpPr>
        <p:spPr>
          <a:xfrm rot="1141104">
            <a:off x="8079550" y="3198959"/>
            <a:ext cx="1505079" cy="921796"/>
          </a:xfrm>
          <a:custGeom>
            <a:avLst/>
            <a:gdLst>
              <a:gd name="connsiteX0" fmla="*/ 76959 w 1505079"/>
              <a:gd name="connsiteY0" fmla="*/ 118730 h 921796"/>
              <a:gd name="connsiteX1" fmla="*/ 91577 w 1505079"/>
              <a:gd name="connsiteY1" fmla="*/ 116259 h 921796"/>
              <a:gd name="connsiteX2" fmla="*/ 121936 w 1505079"/>
              <a:gd name="connsiteY2" fmla="*/ 130097 h 921796"/>
              <a:gd name="connsiteX3" fmla="*/ 137427 w 1505079"/>
              <a:gd name="connsiteY3" fmla="*/ 120831 h 921796"/>
              <a:gd name="connsiteX4" fmla="*/ 201144 w 1505079"/>
              <a:gd name="connsiteY4" fmla="*/ 108970 h 921796"/>
              <a:gd name="connsiteX5" fmla="*/ 230128 w 1505079"/>
              <a:gd name="connsiteY5" fmla="*/ 106499 h 921796"/>
              <a:gd name="connsiteX6" fmla="*/ 248619 w 1505079"/>
              <a:gd name="connsiteY6" fmla="*/ 89943 h 921796"/>
              <a:gd name="connsiteX7" fmla="*/ 259988 w 1505079"/>
              <a:gd name="connsiteY7" fmla="*/ 90191 h 921796"/>
              <a:gd name="connsiteX8" fmla="*/ 282975 w 1505079"/>
              <a:gd name="connsiteY8" fmla="*/ 101557 h 921796"/>
              <a:gd name="connsiteX9" fmla="*/ 336197 w 1505079"/>
              <a:gd name="connsiteY9" fmla="*/ 107240 h 921796"/>
              <a:gd name="connsiteX10" fmla="*/ 359060 w 1505079"/>
              <a:gd name="connsiteY10" fmla="*/ 117371 h 921796"/>
              <a:gd name="connsiteX11" fmla="*/ 363558 w 1505079"/>
              <a:gd name="connsiteY11" fmla="*/ 127626 h 921796"/>
              <a:gd name="connsiteX12" fmla="*/ 394791 w 1505079"/>
              <a:gd name="connsiteY12" fmla="*/ 113912 h 921796"/>
              <a:gd name="connsiteX13" fmla="*/ 410533 w 1505079"/>
              <a:gd name="connsiteY13" fmla="*/ 127008 h 921796"/>
              <a:gd name="connsiteX14" fmla="*/ 423026 w 1505079"/>
              <a:gd name="connsiteY14" fmla="*/ 125773 h 921796"/>
              <a:gd name="connsiteX15" fmla="*/ 430647 w 1505079"/>
              <a:gd name="connsiteY15" fmla="*/ 117618 h 921796"/>
              <a:gd name="connsiteX16" fmla="*/ 458508 w 1505079"/>
              <a:gd name="connsiteY16" fmla="*/ 120336 h 921796"/>
              <a:gd name="connsiteX17" fmla="*/ 471501 w 1505079"/>
              <a:gd name="connsiteY17" fmla="*/ 125649 h 921796"/>
              <a:gd name="connsiteX18" fmla="*/ 499236 w 1505079"/>
              <a:gd name="connsiteY18" fmla="*/ 107117 h 921796"/>
              <a:gd name="connsiteX19" fmla="*/ 524598 w 1505079"/>
              <a:gd name="connsiteY19" fmla="*/ 109341 h 921796"/>
              <a:gd name="connsiteX20" fmla="*/ 528970 w 1505079"/>
              <a:gd name="connsiteY20" fmla="*/ 126514 h 921796"/>
              <a:gd name="connsiteX21" fmla="*/ 544462 w 1505079"/>
              <a:gd name="connsiteY21" fmla="*/ 130838 h 921796"/>
              <a:gd name="connsiteX22" fmla="*/ 560454 w 1505079"/>
              <a:gd name="connsiteY22" fmla="*/ 109464 h 921796"/>
              <a:gd name="connsiteX23" fmla="*/ 579569 w 1505079"/>
              <a:gd name="connsiteY23" fmla="*/ 107611 h 921796"/>
              <a:gd name="connsiteX24" fmla="*/ 595560 w 1505079"/>
              <a:gd name="connsiteY24" fmla="*/ 117124 h 921796"/>
              <a:gd name="connsiteX25" fmla="*/ 621671 w 1505079"/>
              <a:gd name="connsiteY25" fmla="*/ 108105 h 921796"/>
              <a:gd name="connsiteX26" fmla="*/ 638038 w 1505079"/>
              <a:gd name="connsiteY26" fmla="*/ 121201 h 921796"/>
              <a:gd name="connsiteX27" fmla="*/ 657902 w 1505079"/>
              <a:gd name="connsiteY27" fmla="*/ 117742 h 921796"/>
              <a:gd name="connsiteX28" fmla="*/ 658527 w 1505079"/>
              <a:gd name="connsiteY28" fmla="*/ 86978 h 921796"/>
              <a:gd name="connsiteX29" fmla="*/ 670146 w 1505079"/>
              <a:gd name="connsiteY29" fmla="*/ 51767 h 921796"/>
              <a:gd name="connsiteX30" fmla="*/ 697132 w 1505079"/>
              <a:gd name="connsiteY30" fmla="*/ 47937 h 921796"/>
              <a:gd name="connsiteX31" fmla="*/ 735736 w 1505079"/>
              <a:gd name="connsiteY31" fmla="*/ 36447 h 921796"/>
              <a:gd name="connsiteX32" fmla="*/ 753102 w 1505079"/>
              <a:gd name="connsiteY32" fmla="*/ 39659 h 921796"/>
              <a:gd name="connsiteX33" fmla="*/ 774091 w 1505079"/>
              <a:gd name="connsiteY33" fmla="*/ 34223 h 921796"/>
              <a:gd name="connsiteX34" fmla="*/ 771217 w 1505079"/>
              <a:gd name="connsiteY34" fmla="*/ 15320 h 921796"/>
              <a:gd name="connsiteX35" fmla="*/ 784585 w 1505079"/>
              <a:gd name="connsiteY35" fmla="*/ 2347 h 921796"/>
              <a:gd name="connsiteX36" fmla="*/ 830811 w 1505079"/>
              <a:gd name="connsiteY36" fmla="*/ 15444 h 921796"/>
              <a:gd name="connsiteX37" fmla="*/ 877786 w 1505079"/>
              <a:gd name="connsiteY37" fmla="*/ 13467 h 921796"/>
              <a:gd name="connsiteX38" fmla="*/ 900399 w 1505079"/>
              <a:gd name="connsiteY38" fmla="*/ 0 h 921796"/>
              <a:gd name="connsiteX39" fmla="*/ 921638 w 1505079"/>
              <a:gd name="connsiteY39" fmla="*/ 371 h 921796"/>
              <a:gd name="connsiteX40" fmla="*/ 937255 w 1505079"/>
              <a:gd name="connsiteY40" fmla="*/ 41636 h 921796"/>
              <a:gd name="connsiteX41" fmla="*/ 957119 w 1505079"/>
              <a:gd name="connsiteY41" fmla="*/ 56462 h 921796"/>
              <a:gd name="connsiteX42" fmla="*/ 947499 w 1505079"/>
              <a:gd name="connsiteY42" fmla="*/ 77218 h 921796"/>
              <a:gd name="connsiteX43" fmla="*/ 973985 w 1505079"/>
              <a:gd name="connsiteY43" fmla="*/ 108846 h 921796"/>
              <a:gd name="connsiteX44" fmla="*/ 1024584 w 1505079"/>
              <a:gd name="connsiteY44" fmla="*/ 99457 h 921796"/>
              <a:gd name="connsiteX45" fmla="*/ 1043698 w 1505079"/>
              <a:gd name="connsiteY45" fmla="*/ 114406 h 921796"/>
              <a:gd name="connsiteX46" fmla="*/ 1047197 w 1505079"/>
              <a:gd name="connsiteY46" fmla="*/ 133309 h 921796"/>
              <a:gd name="connsiteX47" fmla="*/ 1064562 w 1505079"/>
              <a:gd name="connsiteY47" fmla="*/ 135162 h 921796"/>
              <a:gd name="connsiteX48" fmla="*/ 1065687 w 1505079"/>
              <a:gd name="connsiteY48" fmla="*/ 159996 h 921796"/>
              <a:gd name="connsiteX49" fmla="*/ 1076806 w 1505079"/>
              <a:gd name="connsiteY49" fmla="*/ 188906 h 921796"/>
              <a:gd name="connsiteX50" fmla="*/ 1120158 w 1505079"/>
              <a:gd name="connsiteY50" fmla="*/ 227082 h 921796"/>
              <a:gd name="connsiteX51" fmla="*/ 1135900 w 1505079"/>
              <a:gd name="connsiteY51" fmla="*/ 208056 h 921796"/>
              <a:gd name="connsiteX52" fmla="*/ 1162261 w 1505079"/>
              <a:gd name="connsiteY52" fmla="*/ 220658 h 921796"/>
              <a:gd name="connsiteX53" fmla="*/ 1183250 w 1505079"/>
              <a:gd name="connsiteY53" fmla="*/ 213863 h 921796"/>
              <a:gd name="connsiteX54" fmla="*/ 1203239 w 1505079"/>
              <a:gd name="connsiteY54" fmla="*/ 216951 h 921796"/>
              <a:gd name="connsiteX55" fmla="*/ 1233223 w 1505079"/>
              <a:gd name="connsiteY55" fmla="*/ 192118 h 921796"/>
              <a:gd name="connsiteX56" fmla="*/ 1247716 w 1505079"/>
              <a:gd name="connsiteY56" fmla="*/ 189524 h 921796"/>
              <a:gd name="connsiteX57" fmla="*/ 1270204 w 1505079"/>
              <a:gd name="connsiteY57" fmla="*/ 233136 h 921796"/>
              <a:gd name="connsiteX58" fmla="*/ 1299313 w 1505079"/>
              <a:gd name="connsiteY58" fmla="*/ 249568 h 921796"/>
              <a:gd name="connsiteX59" fmla="*/ 1308683 w 1505079"/>
              <a:gd name="connsiteY59" fmla="*/ 266865 h 921796"/>
              <a:gd name="connsiteX60" fmla="*/ 1320677 w 1505079"/>
              <a:gd name="connsiteY60" fmla="*/ 253893 h 921796"/>
              <a:gd name="connsiteX61" fmla="*/ 1354034 w 1505079"/>
              <a:gd name="connsiteY61" fmla="*/ 259699 h 921796"/>
              <a:gd name="connsiteX62" fmla="*/ 1378521 w 1505079"/>
              <a:gd name="connsiteY62" fmla="*/ 259329 h 921796"/>
              <a:gd name="connsiteX63" fmla="*/ 1396137 w 1505079"/>
              <a:gd name="connsiteY63" fmla="*/ 268965 h 921796"/>
              <a:gd name="connsiteX64" fmla="*/ 1415877 w 1505079"/>
              <a:gd name="connsiteY64" fmla="*/ 264888 h 921796"/>
              <a:gd name="connsiteX65" fmla="*/ 1440239 w 1505079"/>
              <a:gd name="connsiteY65" fmla="*/ 278232 h 921796"/>
              <a:gd name="connsiteX66" fmla="*/ 1468349 w 1505079"/>
              <a:gd name="connsiteY66" fmla="*/ 282309 h 921796"/>
              <a:gd name="connsiteX67" fmla="*/ 1481592 w 1505079"/>
              <a:gd name="connsiteY67" fmla="*/ 267977 h 921796"/>
              <a:gd name="connsiteX68" fmla="*/ 1490462 w 1505079"/>
              <a:gd name="connsiteY68" fmla="*/ 288610 h 921796"/>
              <a:gd name="connsiteX69" fmla="*/ 1503331 w 1505079"/>
              <a:gd name="connsiteY69" fmla="*/ 295281 h 921796"/>
              <a:gd name="connsiteX70" fmla="*/ 1505080 w 1505079"/>
              <a:gd name="connsiteY70" fmla="*/ 319373 h 921796"/>
              <a:gd name="connsiteX71" fmla="*/ 1490712 w 1505079"/>
              <a:gd name="connsiteY71" fmla="*/ 340253 h 921796"/>
              <a:gd name="connsiteX72" fmla="*/ 1471722 w 1505079"/>
              <a:gd name="connsiteY72" fmla="*/ 345071 h 921796"/>
              <a:gd name="connsiteX73" fmla="*/ 1467474 w 1505079"/>
              <a:gd name="connsiteY73" fmla="*/ 384483 h 921796"/>
              <a:gd name="connsiteX74" fmla="*/ 1494710 w 1505079"/>
              <a:gd name="connsiteY74" fmla="*/ 401657 h 921796"/>
              <a:gd name="connsiteX75" fmla="*/ 1499832 w 1505079"/>
              <a:gd name="connsiteY75" fmla="*/ 427602 h 921796"/>
              <a:gd name="connsiteX76" fmla="*/ 1489963 w 1505079"/>
              <a:gd name="connsiteY76" fmla="*/ 461454 h 921796"/>
              <a:gd name="connsiteX77" fmla="*/ 1494335 w 1505079"/>
              <a:gd name="connsiteY77" fmla="*/ 484187 h 921796"/>
              <a:gd name="connsiteX78" fmla="*/ 1478344 w 1505079"/>
              <a:gd name="connsiteY78" fmla="*/ 497283 h 921796"/>
              <a:gd name="connsiteX79" fmla="*/ 1434117 w 1505079"/>
              <a:gd name="connsiteY79" fmla="*/ 501855 h 921796"/>
              <a:gd name="connsiteX80" fmla="*/ 1415627 w 1505079"/>
              <a:gd name="connsiteY80" fmla="*/ 534101 h 921796"/>
              <a:gd name="connsiteX81" fmla="*/ 1404008 w 1505079"/>
              <a:gd name="connsiteY81" fmla="*/ 539784 h 921796"/>
              <a:gd name="connsiteX82" fmla="*/ 1400510 w 1505079"/>
              <a:gd name="connsiteY82" fmla="*/ 582532 h 921796"/>
              <a:gd name="connsiteX83" fmla="*/ 1383519 w 1505079"/>
              <a:gd name="connsiteY83" fmla="*/ 589327 h 921796"/>
              <a:gd name="connsiteX84" fmla="*/ 1381145 w 1505079"/>
              <a:gd name="connsiteY84" fmla="*/ 579814 h 921796"/>
              <a:gd name="connsiteX85" fmla="*/ 1371275 w 1505079"/>
              <a:gd name="connsiteY85" fmla="*/ 578826 h 921796"/>
              <a:gd name="connsiteX86" fmla="*/ 1348787 w 1505079"/>
              <a:gd name="connsiteY86" fmla="*/ 589327 h 921796"/>
              <a:gd name="connsiteX87" fmla="*/ 1325799 w 1505079"/>
              <a:gd name="connsiteY87" fmla="*/ 588339 h 921796"/>
              <a:gd name="connsiteX88" fmla="*/ 1314430 w 1505079"/>
              <a:gd name="connsiteY88" fmla="*/ 597728 h 921796"/>
              <a:gd name="connsiteX89" fmla="*/ 1307434 w 1505079"/>
              <a:gd name="connsiteY89" fmla="*/ 613790 h 921796"/>
              <a:gd name="connsiteX90" fmla="*/ 1287445 w 1505079"/>
              <a:gd name="connsiteY90" fmla="*/ 616014 h 921796"/>
              <a:gd name="connsiteX91" fmla="*/ 1278324 w 1505079"/>
              <a:gd name="connsiteY91" fmla="*/ 630222 h 921796"/>
              <a:gd name="connsiteX92" fmla="*/ 1259709 w 1505079"/>
              <a:gd name="connsiteY92" fmla="*/ 651596 h 921796"/>
              <a:gd name="connsiteX93" fmla="*/ 1252713 w 1505079"/>
              <a:gd name="connsiteY93" fmla="*/ 649866 h 921796"/>
              <a:gd name="connsiteX94" fmla="*/ 1234098 w 1505079"/>
              <a:gd name="connsiteY94" fmla="*/ 652708 h 921796"/>
              <a:gd name="connsiteX95" fmla="*/ 1219356 w 1505079"/>
              <a:gd name="connsiteY95" fmla="*/ 664939 h 921796"/>
              <a:gd name="connsiteX96" fmla="*/ 1194869 w 1505079"/>
              <a:gd name="connsiteY96" fmla="*/ 660491 h 921796"/>
              <a:gd name="connsiteX97" fmla="*/ 1176628 w 1505079"/>
              <a:gd name="connsiteY97" fmla="*/ 672970 h 921796"/>
              <a:gd name="connsiteX98" fmla="*/ 1164759 w 1505079"/>
              <a:gd name="connsiteY98" fmla="*/ 671487 h 921796"/>
              <a:gd name="connsiteX99" fmla="*/ 1152016 w 1505079"/>
              <a:gd name="connsiteY99" fmla="*/ 652090 h 921796"/>
              <a:gd name="connsiteX100" fmla="*/ 1143770 w 1505079"/>
              <a:gd name="connsiteY100" fmla="*/ 653078 h 921796"/>
              <a:gd name="connsiteX101" fmla="*/ 1149767 w 1505079"/>
              <a:gd name="connsiteY101" fmla="*/ 663827 h 921796"/>
              <a:gd name="connsiteX102" fmla="*/ 1160762 w 1505079"/>
              <a:gd name="connsiteY102" fmla="*/ 676429 h 921796"/>
              <a:gd name="connsiteX103" fmla="*/ 1157138 w 1505079"/>
              <a:gd name="connsiteY103" fmla="*/ 688290 h 921796"/>
              <a:gd name="connsiteX104" fmla="*/ 1138773 w 1505079"/>
              <a:gd name="connsiteY104" fmla="*/ 716582 h 921796"/>
              <a:gd name="connsiteX105" fmla="*/ 1128029 w 1505079"/>
              <a:gd name="connsiteY105" fmla="*/ 723130 h 921796"/>
              <a:gd name="connsiteX106" fmla="*/ 1123531 w 1505079"/>
              <a:gd name="connsiteY106" fmla="*/ 715100 h 921796"/>
              <a:gd name="connsiteX107" fmla="*/ 1130278 w 1505079"/>
              <a:gd name="connsiteY107" fmla="*/ 710775 h 921796"/>
              <a:gd name="connsiteX108" fmla="*/ 1147394 w 1505079"/>
              <a:gd name="connsiteY108" fmla="*/ 688660 h 921796"/>
              <a:gd name="connsiteX109" fmla="*/ 1144270 w 1505079"/>
              <a:gd name="connsiteY109" fmla="*/ 681247 h 921796"/>
              <a:gd name="connsiteX110" fmla="*/ 1134276 w 1505079"/>
              <a:gd name="connsiteY110" fmla="*/ 675564 h 921796"/>
              <a:gd name="connsiteX111" fmla="*/ 1131277 w 1505079"/>
              <a:gd name="connsiteY111" fmla="*/ 685942 h 921796"/>
              <a:gd name="connsiteX112" fmla="*/ 1104791 w 1505079"/>
              <a:gd name="connsiteY112" fmla="*/ 715965 h 921796"/>
              <a:gd name="connsiteX113" fmla="*/ 1088175 w 1505079"/>
              <a:gd name="connsiteY113" fmla="*/ 719424 h 921796"/>
              <a:gd name="connsiteX114" fmla="*/ 1085926 w 1505079"/>
              <a:gd name="connsiteY114" fmla="*/ 730543 h 921796"/>
              <a:gd name="connsiteX115" fmla="*/ 1066561 w 1505079"/>
              <a:gd name="connsiteY115" fmla="*/ 731285 h 921796"/>
              <a:gd name="connsiteX116" fmla="*/ 1052944 w 1505079"/>
              <a:gd name="connsiteY116" fmla="*/ 722266 h 921796"/>
              <a:gd name="connsiteX117" fmla="*/ 1042324 w 1505079"/>
              <a:gd name="connsiteY117" fmla="*/ 733014 h 921796"/>
              <a:gd name="connsiteX118" fmla="*/ 1021960 w 1505079"/>
              <a:gd name="connsiteY118" fmla="*/ 730420 h 921796"/>
              <a:gd name="connsiteX119" fmla="*/ 1019461 w 1505079"/>
              <a:gd name="connsiteY119" fmla="*/ 738080 h 921796"/>
              <a:gd name="connsiteX120" fmla="*/ 1031705 w 1505079"/>
              <a:gd name="connsiteY120" fmla="*/ 745246 h 921796"/>
              <a:gd name="connsiteX121" fmla="*/ 1060689 w 1505079"/>
              <a:gd name="connsiteY121" fmla="*/ 741910 h 921796"/>
              <a:gd name="connsiteX122" fmla="*/ 1072433 w 1505079"/>
              <a:gd name="connsiteY122" fmla="*/ 754388 h 921796"/>
              <a:gd name="connsiteX123" fmla="*/ 1083927 w 1505079"/>
              <a:gd name="connsiteY123" fmla="*/ 762172 h 921796"/>
              <a:gd name="connsiteX124" fmla="*/ 1094047 w 1505079"/>
              <a:gd name="connsiteY124" fmla="*/ 756241 h 921796"/>
              <a:gd name="connsiteX125" fmla="*/ 1100668 w 1505079"/>
              <a:gd name="connsiteY125" fmla="*/ 764890 h 921796"/>
              <a:gd name="connsiteX126" fmla="*/ 1092048 w 1505079"/>
              <a:gd name="connsiteY126" fmla="*/ 776256 h 921796"/>
              <a:gd name="connsiteX127" fmla="*/ 1093172 w 1505079"/>
              <a:gd name="connsiteY127" fmla="*/ 784411 h 921796"/>
              <a:gd name="connsiteX128" fmla="*/ 1101293 w 1505079"/>
              <a:gd name="connsiteY128" fmla="*/ 778604 h 921796"/>
              <a:gd name="connsiteX129" fmla="*/ 1109539 w 1505079"/>
              <a:gd name="connsiteY129" fmla="*/ 778233 h 921796"/>
              <a:gd name="connsiteX130" fmla="*/ 1107415 w 1505079"/>
              <a:gd name="connsiteY130" fmla="*/ 792812 h 921796"/>
              <a:gd name="connsiteX131" fmla="*/ 1118034 w 1505079"/>
              <a:gd name="connsiteY131" fmla="*/ 782063 h 921796"/>
              <a:gd name="connsiteX132" fmla="*/ 1128029 w 1505079"/>
              <a:gd name="connsiteY132" fmla="*/ 787870 h 921796"/>
              <a:gd name="connsiteX133" fmla="*/ 1133151 w 1505079"/>
              <a:gd name="connsiteY133" fmla="*/ 808255 h 921796"/>
              <a:gd name="connsiteX134" fmla="*/ 1144020 w 1505079"/>
              <a:gd name="connsiteY134" fmla="*/ 818757 h 921796"/>
              <a:gd name="connsiteX135" fmla="*/ 1165009 w 1505079"/>
              <a:gd name="connsiteY135" fmla="*/ 824070 h 921796"/>
              <a:gd name="connsiteX136" fmla="*/ 1173880 w 1505079"/>
              <a:gd name="connsiteY136" fmla="*/ 818881 h 921796"/>
              <a:gd name="connsiteX137" fmla="*/ 1142146 w 1505079"/>
              <a:gd name="connsiteY137" fmla="*/ 791329 h 921796"/>
              <a:gd name="connsiteX138" fmla="*/ 1108539 w 1505079"/>
              <a:gd name="connsiteY138" fmla="*/ 754265 h 921796"/>
              <a:gd name="connsiteX139" fmla="*/ 1098419 w 1505079"/>
              <a:gd name="connsiteY139" fmla="*/ 731285 h 921796"/>
              <a:gd name="connsiteX140" fmla="*/ 1105916 w 1505079"/>
              <a:gd name="connsiteY140" fmla="*/ 726219 h 921796"/>
              <a:gd name="connsiteX141" fmla="*/ 1120658 w 1505079"/>
              <a:gd name="connsiteY141" fmla="*/ 744875 h 921796"/>
              <a:gd name="connsiteX142" fmla="*/ 1128653 w 1505079"/>
              <a:gd name="connsiteY142" fmla="*/ 768596 h 921796"/>
              <a:gd name="connsiteX143" fmla="*/ 1175129 w 1505079"/>
              <a:gd name="connsiteY143" fmla="*/ 814680 h 921796"/>
              <a:gd name="connsiteX144" fmla="*/ 1185748 w 1505079"/>
              <a:gd name="connsiteY144" fmla="*/ 818386 h 921796"/>
              <a:gd name="connsiteX145" fmla="*/ 1200241 w 1505079"/>
              <a:gd name="connsiteY145" fmla="*/ 801954 h 921796"/>
              <a:gd name="connsiteX146" fmla="*/ 1210610 w 1505079"/>
              <a:gd name="connsiteY146" fmla="*/ 800842 h 921796"/>
              <a:gd name="connsiteX147" fmla="*/ 1228476 w 1505079"/>
              <a:gd name="connsiteY147" fmla="*/ 810973 h 921796"/>
              <a:gd name="connsiteX148" fmla="*/ 1234598 w 1505079"/>
              <a:gd name="connsiteY148" fmla="*/ 792194 h 921796"/>
              <a:gd name="connsiteX149" fmla="*/ 1263582 w 1505079"/>
              <a:gd name="connsiteY149" fmla="*/ 787499 h 921796"/>
              <a:gd name="connsiteX150" fmla="*/ 1287944 w 1505079"/>
              <a:gd name="connsiteY150" fmla="*/ 787870 h 921796"/>
              <a:gd name="connsiteX151" fmla="*/ 1281573 w 1505079"/>
              <a:gd name="connsiteY151" fmla="*/ 799854 h 921796"/>
              <a:gd name="connsiteX152" fmla="*/ 1272827 w 1505079"/>
              <a:gd name="connsiteY152" fmla="*/ 807761 h 921796"/>
              <a:gd name="connsiteX153" fmla="*/ 1281823 w 1505079"/>
              <a:gd name="connsiteY153" fmla="*/ 823823 h 921796"/>
              <a:gd name="connsiteX154" fmla="*/ 1271328 w 1505079"/>
              <a:gd name="connsiteY154" fmla="*/ 837413 h 921796"/>
              <a:gd name="connsiteX155" fmla="*/ 1240220 w 1505079"/>
              <a:gd name="connsiteY155" fmla="*/ 841490 h 921796"/>
              <a:gd name="connsiteX156" fmla="*/ 1203864 w 1505079"/>
              <a:gd name="connsiteY156" fmla="*/ 836795 h 921796"/>
              <a:gd name="connsiteX157" fmla="*/ 1182875 w 1505079"/>
              <a:gd name="connsiteY157" fmla="*/ 849397 h 921796"/>
              <a:gd name="connsiteX158" fmla="*/ 1167883 w 1505079"/>
              <a:gd name="connsiteY158" fmla="*/ 872007 h 921796"/>
              <a:gd name="connsiteX159" fmla="*/ 1138648 w 1505079"/>
              <a:gd name="connsiteY159" fmla="*/ 872624 h 921796"/>
              <a:gd name="connsiteX160" fmla="*/ 1097795 w 1505079"/>
              <a:gd name="connsiteY160" fmla="*/ 905982 h 921796"/>
              <a:gd name="connsiteX161" fmla="*/ 1066436 w 1505079"/>
              <a:gd name="connsiteY161" fmla="*/ 921673 h 921796"/>
              <a:gd name="connsiteX162" fmla="*/ 1033079 w 1505079"/>
              <a:gd name="connsiteY162" fmla="*/ 921797 h 921796"/>
              <a:gd name="connsiteX163" fmla="*/ 1016588 w 1505079"/>
              <a:gd name="connsiteY163" fmla="*/ 910060 h 921796"/>
              <a:gd name="connsiteX164" fmla="*/ 1021210 w 1505079"/>
              <a:gd name="connsiteY164" fmla="*/ 903017 h 921796"/>
              <a:gd name="connsiteX165" fmla="*/ 1030830 w 1505079"/>
              <a:gd name="connsiteY165" fmla="*/ 869659 h 921796"/>
              <a:gd name="connsiteX166" fmla="*/ 1028831 w 1505079"/>
              <a:gd name="connsiteY166" fmla="*/ 856686 h 921796"/>
              <a:gd name="connsiteX167" fmla="*/ 998722 w 1505079"/>
              <a:gd name="connsiteY167" fmla="*/ 835313 h 921796"/>
              <a:gd name="connsiteX168" fmla="*/ 988353 w 1505079"/>
              <a:gd name="connsiteY168" fmla="*/ 837042 h 921796"/>
              <a:gd name="connsiteX169" fmla="*/ 967864 w 1505079"/>
              <a:gd name="connsiteY169" fmla="*/ 828270 h 921796"/>
              <a:gd name="connsiteX170" fmla="*/ 955870 w 1505079"/>
              <a:gd name="connsiteY170" fmla="*/ 839143 h 921796"/>
              <a:gd name="connsiteX171" fmla="*/ 939503 w 1505079"/>
              <a:gd name="connsiteY171" fmla="*/ 832965 h 921796"/>
              <a:gd name="connsiteX172" fmla="*/ 957119 w 1505079"/>
              <a:gd name="connsiteY172" fmla="*/ 804055 h 921796"/>
              <a:gd name="connsiteX173" fmla="*/ 988852 w 1505079"/>
              <a:gd name="connsiteY173" fmla="*/ 783422 h 921796"/>
              <a:gd name="connsiteX174" fmla="*/ 1015713 w 1505079"/>
              <a:gd name="connsiteY174" fmla="*/ 777492 h 921796"/>
              <a:gd name="connsiteX175" fmla="*/ 1023084 w 1505079"/>
              <a:gd name="connsiteY175" fmla="*/ 772303 h 921796"/>
              <a:gd name="connsiteX176" fmla="*/ 1012215 w 1505079"/>
              <a:gd name="connsiteY176" fmla="*/ 760442 h 921796"/>
              <a:gd name="connsiteX177" fmla="*/ 1007093 w 1505079"/>
              <a:gd name="connsiteY177" fmla="*/ 737956 h 921796"/>
              <a:gd name="connsiteX178" fmla="*/ 998347 w 1505079"/>
              <a:gd name="connsiteY178" fmla="*/ 734373 h 921796"/>
              <a:gd name="connsiteX179" fmla="*/ 991976 w 1505079"/>
              <a:gd name="connsiteY179" fmla="*/ 747717 h 921796"/>
              <a:gd name="connsiteX180" fmla="*/ 977109 w 1505079"/>
              <a:gd name="connsiteY180" fmla="*/ 740057 h 921796"/>
              <a:gd name="connsiteX181" fmla="*/ 955995 w 1505079"/>
              <a:gd name="connsiteY181" fmla="*/ 732149 h 921796"/>
              <a:gd name="connsiteX182" fmla="*/ 934006 w 1505079"/>
              <a:gd name="connsiteY182" fmla="*/ 736844 h 921796"/>
              <a:gd name="connsiteX183" fmla="*/ 915016 w 1505079"/>
              <a:gd name="connsiteY183" fmla="*/ 747593 h 921796"/>
              <a:gd name="connsiteX184" fmla="*/ 898025 w 1505079"/>
              <a:gd name="connsiteY184" fmla="*/ 738698 h 921796"/>
              <a:gd name="connsiteX185" fmla="*/ 885157 w 1505079"/>
              <a:gd name="connsiteY185" fmla="*/ 738203 h 921796"/>
              <a:gd name="connsiteX186" fmla="*/ 871165 w 1505079"/>
              <a:gd name="connsiteY186" fmla="*/ 727207 h 921796"/>
              <a:gd name="connsiteX187" fmla="*/ 880909 w 1505079"/>
              <a:gd name="connsiteY187" fmla="*/ 720536 h 921796"/>
              <a:gd name="connsiteX188" fmla="*/ 884532 w 1505079"/>
              <a:gd name="connsiteY188" fmla="*/ 713617 h 921796"/>
              <a:gd name="connsiteX189" fmla="*/ 857047 w 1505079"/>
              <a:gd name="connsiteY189" fmla="*/ 705834 h 921796"/>
              <a:gd name="connsiteX190" fmla="*/ 823940 w 1505079"/>
              <a:gd name="connsiteY190" fmla="*/ 707193 h 921796"/>
              <a:gd name="connsiteX191" fmla="*/ 815444 w 1505079"/>
              <a:gd name="connsiteY191" fmla="*/ 696320 h 921796"/>
              <a:gd name="connsiteX192" fmla="*/ 835808 w 1505079"/>
              <a:gd name="connsiteY192" fmla="*/ 695455 h 921796"/>
              <a:gd name="connsiteX193" fmla="*/ 867541 w 1505079"/>
              <a:gd name="connsiteY193" fmla="*/ 689896 h 921796"/>
              <a:gd name="connsiteX194" fmla="*/ 884283 w 1505079"/>
              <a:gd name="connsiteY194" fmla="*/ 694344 h 921796"/>
              <a:gd name="connsiteX195" fmla="*/ 895777 w 1505079"/>
              <a:gd name="connsiteY195" fmla="*/ 687672 h 921796"/>
              <a:gd name="connsiteX196" fmla="*/ 914642 w 1505079"/>
              <a:gd name="connsiteY196" fmla="*/ 675194 h 921796"/>
              <a:gd name="connsiteX197" fmla="*/ 887281 w 1505079"/>
              <a:gd name="connsiteY197" fmla="*/ 683224 h 921796"/>
              <a:gd name="connsiteX198" fmla="*/ 873039 w 1505079"/>
              <a:gd name="connsiteY198" fmla="*/ 679023 h 921796"/>
              <a:gd name="connsiteX199" fmla="*/ 861670 w 1505079"/>
              <a:gd name="connsiteY199" fmla="*/ 671240 h 921796"/>
              <a:gd name="connsiteX200" fmla="*/ 854923 w 1505079"/>
              <a:gd name="connsiteY200" fmla="*/ 661233 h 921796"/>
              <a:gd name="connsiteX201" fmla="*/ 847802 w 1505079"/>
              <a:gd name="connsiteY201" fmla="*/ 673958 h 921796"/>
              <a:gd name="connsiteX202" fmla="*/ 840681 w 1505079"/>
              <a:gd name="connsiteY202" fmla="*/ 684583 h 921796"/>
              <a:gd name="connsiteX203" fmla="*/ 824064 w 1505079"/>
              <a:gd name="connsiteY203" fmla="*/ 685325 h 921796"/>
              <a:gd name="connsiteX204" fmla="*/ 824439 w 1505079"/>
              <a:gd name="connsiteY204" fmla="*/ 680506 h 921796"/>
              <a:gd name="connsiteX205" fmla="*/ 813695 w 1505079"/>
              <a:gd name="connsiteY205" fmla="*/ 671240 h 921796"/>
              <a:gd name="connsiteX206" fmla="*/ 796579 w 1505079"/>
              <a:gd name="connsiteY206" fmla="*/ 694714 h 921796"/>
              <a:gd name="connsiteX207" fmla="*/ 775215 w 1505079"/>
              <a:gd name="connsiteY207" fmla="*/ 696938 h 921796"/>
              <a:gd name="connsiteX208" fmla="*/ 762472 w 1505079"/>
              <a:gd name="connsiteY208" fmla="*/ 707810 h 921796"/>
              <a:gd name="connsiteX209" fmla="*/ 763471 w 1505079"/>
              <a:gd name="connsiteY209" fmla="*/ 730543 h 921796"/>
              <a:gd name="connsiteX210" fmla="*/ 745731 w 1505079"/>
              <a:gd name="connsiteY210" fmla="*/ 755253 h 921796"/>
              <a:gd name="connsiteX211" fmla="*/ 735986 w 1505079"/>
              <a:gd name="connsiteY211" fmla="*/ 755747 h 921796"/>
              <a:gd name="connsiteX212" fmla="*/ 742108 w 1505079"/>
              <a:gd name="connsiteY212" fmla="*/ 767114 h 921796"/>
              <a:gd name="connsiteX213" fmla="*/ 709250 w 1505079"/>
              <a:gd name="connsiteY213" fmla="*/ 809738 h 921796"/>
              <a:gd name="connsiteX214" fmla="*/ 697381 w 1505079"/>
              <a:gd name="connsiteY214" fmla="*/ 810232 h 921796"/>
              <a:gd name="connsiteX215" fmla="*/ 689261 w 1505079"/>
              <a:gd name="connsiteY215" fmla="*/ 798989 h 921796"/>
              <a:gd name="connsiteX216" fmla="*/ 689136 w 1505079"/>
              <a:gd name="connsiteY216" fmla="*/ 811962 h 921796"/>
              <a:gd name="connsiteX217" fmla="*/ 687512 w 1505079"/>
              <a:gd name="connsiteY217" fmla="*/ 823081 h 921796"/>
              <a:gd name="connsiteX218" fmla="*/ 697007 w 1505079"/>
              <a:gd name="connsiteY218" fmla="*/ 833706 h 921796"/>
              <a:gd name="connsiteX219" fmla="*/ 694258 w 1505079"/>
              <a:gd name="connsiteY219" fmla="*/ 849644 h 921796"/>
              <a:gd name="connsiteX220" fmla="*/ 694008 w 1505079"/>
              <a:gd name="connsiteY220" fmla="*/ 849891 h 921796"/>
              <a:gd name="connsiteX221" fmla="*/ 677892 w 1505079"/>
              <a:gd name="connsiteY221" fmla="*/ 837907 h 921796"/>
              <a:gd name="connsiteX222" fmla="*/ 649657 w 1505079"/>
              <a:gd name="connsiteY222" fmla="*/ 841737 h 921796"/>
              <a:gd name="connsiteX223" fmla="*/ 635164 w 1505079"/>
              <a:gd name="connsiteY223" fmla="*/ 853227 h 921796"/>
              <a:gd name="connsiteX224" fmla="*/ 601307 w 1505079"/>
              <a:gd name="connsiteY224" fmla="*/ 853968 h 921796"/>
              <a:gd name="connsiteX225" fmla="*/ 575946 w 1505079"/>
              <a:gd name="connsiteY225" fmla="*/ 849768 h 921796"/>
              <a:gd name="connsiteX226" fmla="*/ 560204 w 1505079"/>
              <a:gd name="connsiteY226" fmla="*/ 825058 h 921796"/>
              <a:gd name="connsiteX227" fmla="*/ 572947 w 1505079"/>
              <a:gd name="connsiteY227" fmla="*/ 814927 h 921796"/>
              <a:gd name="connsiteX228" fmla="*/ 588314 w 1505079"/>
              <a:gd name="connsiteY228" fmla="*/ 818757 h 921796"/>
              <a:gd name="connsiteX229" fmla="*/ 588314 w 1505079"/>
              <a:gd name="connsiteY229" fmla="*/ 802449 h 921796"/>
              <a:gd name="connsiteX230" fmla="*/ 604181 w 1505079"/>
              <a:gd name="connsiteY230" fmla="*/ 770326 h 921796"/>
              <a:gd name="connsiteX231" fmla="*/ 613426 w 1505079"/>
              <a:gd name="connsiteY231" fmla="*/ 771314 h 921796"/>
              <a:gd name="connsiteX232" fmla="*/ 611802 w 1505079"/>
              <a:gd name="connsiteY232" fmla="*/ 749076 h 921796"/>
              <a:gd name="connsiteX233" fmla="*/ 613051 w 1505079"/>
              <a:gd name="connsiteY233" fmla="*/ 716212 h 921796"/>
              <a:gd name="connsiteX234" fmla="*/ 630792 w 1505079"/>
              <a:gd name="connsiteY234" fmla="*/ 714853 h 921796"/>
              <a:gd name="connsiteX235" fmla="*/ 654279 w 1505079"/>
              <a:gd name="connsiteY235" fmla="*/ 705957 h 921796"/>
              <a:gd name="connsiteX236" fmla="*/ 669396 w 1505079"/>
              <a:gd name="connsiteY236" fmla="*/ 717200 h 921796"/>
              <a:gd name="connsiteX237" fmla="*/ 696382 w 1505079"/>
              <a:gd name="connsiteY237" fmla="*/ 715347 h 921796"/>
              <a:gd name="connsiteX238" fmla="*/ 699380 w 1505079"/>
              <a:gd name="connsiteY238" fmla="*/ 705339 h 921796"/>
              <a:gd name="connsiteX239" fmla="*/ 687387 w 1505079"/>
              <a:gd name="connsiteY239" fmla="*/ 690143 h 921796"/>
              <a:gd name="connsiteX240" fmla="*/ 690635 w 1505079"/>
              <a:gd name="connsiteY240" fmla="*/ 674946 h 921796"/>
              <a:gd name="connsiteX241" fmla="*/ 686637 w 1505079"/>
              <a:gd name="connsiteY241" fmla="*/ 658762 h 921796"/>
              <a:gd name="connsiteX242" fmla="*/ 659526 w 1505079"/>
              <a:gd name="connsiteY242" fmla="*/ 644183 h 921796"/>
              <a:gd name="connsiteX243" fmla="*/ 636164 w 1505079"/>
              <a:gd name="connsiteY243" fmla="*/ 624909 h 921796"/>
              <a:gd name="connsiteX244" fmla="*/ 632541 w 1505079"/>
              <a:gd name="connsiteY244" fmla="*/ 615272 h 921796"/>
              <a:gd name="connsiteX245" fmla="*/ 611552 w 1505079"/>
              <a:gd name="connsiteY245" fmla="*/ 605636 h 921796"/>
              <a:gd name="connsiteX246" fmla="*/ 612551 w 1505079"/>
              <a:gd name="connsiteY246" fmla="*/ 584015 h 921796"/>
              <a:gd name="connsiteX247" fmla="*/ 605180 w 1505079"/>
              <a:gd name="connsiteY247" fmla="*/ 552139 h 921796"/>
              <a:gd name="connsiteX248" fmla="*/ 581568 w 1505079"/>
              <a:gd name="connsiteY248" fmla="*/ 541390 h 921796"/>
              <a:gd name="connsiteX249" fmla="*/ 551958 w 1505079"/>
              <a:gd name="connsiteY249" fmla="*/ 514457 h 921796"/>
              <a:gd name="connsiteX250" fmla="*/ 543338 w 1505079"/>
              <a:gd name="connsiteY250" fmla="*/ 514827 h 921796"/>
              <a:gd name="connsiteX251" fmla="*/ 539215 w 1505079"/>
              <a:gd name="connsiteY251" fmla="*/ 525576 h 921796"/>
              <a:gd name="connsiteX252" fmla="*/ 509356 w 1505079"/>
              <a:gd name="connsiteY252" fmla="*/ 523599 h 921796"/>
              <a:gd name="connsiteX253" fmla="*/ 479746 w 1505079"/>
              <a:gd name="connsiteY253" fmla="*/ 499260 h 921796"/>
              <a:gd name="connsiteX254" fmla="*/ 456009 w 1505079"/>
              <a:gd name="connsiteY254" fmla="*/ 500249 h 921796"/>
              <a:gd name="connsiteX255" fmla="*/ 441767 w 1505079"/>
              <a:gd name="connsiteY255" fmla="*/ 479987 h 921796"/>
              <a:gd name="connsiteX256" fmla="*/ 434895 w 1505079"/>
              <a:gd name="connsiteY256" fmla="*/ 487400 h 921796"/>
              <a:gd name="connsiteX257" fmla="*/ 415031 w 1505079"/>
              <a:gd name="connsiteY257" fmla="*/ 488264 h 921796"/>
              <a:gd name="connsiteX258" fmla="*/ 409534 w 1505079"/>
              <a:gd name="connsiteY258" fmla="*/ 497654 h 921796"/>
              <a:gd name="connsiteX259" fmla="*/ 391168 w 1505079"/>
              <a:gd name="connsiteY259" fmla="*/ 488017 h 921796"/>
              <a:gd name="connsiteX260" fmla="*/ 387420 w 1505079"/>
              <a:gd name="connsiteY260" fmla="*/ 494071 h 921796"/>
              <a:gd name="connsiteX261" fmla="*/ 372678 w 1505079"/>
              <a:gd name="connsiteY261" fmla="*/ 488759 h 921796"/>
              <a:gd name="connsiteX262" fmla="*/ 377675 w 1505079"/>
              <a:gd name="connsiteY262" fmla="*/ 512851 h 921796"/>
              <a:gd name="connsiteX263" fmla="*/ 374802 w 1505079"/>
              <a:gd name="connsiteY263" fmla="*/ 523352 h 921796"/>
              <a:gd name="connsiteX264" fmla="*/ 379175 w 1505079"/>
              <a:gd name="connsiteY264" fmla="*/ 545714 h 921796"/>
              <a:gd name="connsiteX265" fmla="*/ 358186 w 1505079"/>
              <a:gd name="connsiteY265" fmla="*/ 550286 h 921796"/>
              <a:gd name="connsiteX266" fmla="*/ 337572 w 1505079"/>
              <a:gd name="connsiteY266" fmla="*/ 564247 h 921796"/>
              <a:gd name="connsiteX267" fmla="*/ 276479 w 1505079"/>
              <a:gd name="connsiteY267" fmla="*/ 577343 h 921796"/>
              <a:gd name="connsiteX268" fmla="*/ 262111 w 1505079"/>
              <a:gd name="connsiteY268" fmla="*/ 595628 h 921796"/>
              <a:gd name="connsiteX269" fmla="*/ 242997 w 1505079"/>
              <a:gd name="connsiteY269" fmla="*/ 597728 h 921796"/>
              <a:gd name="connsiteX270" fmla="*/ 214262 w 1505079"/>
              <a:gd name="connsiteY270" fmla="*/ 608107 h 921796"/>
              <a:gd name="connsiteX271" fmla="*/ 194647 w 1505079"/>
              <a:gd name="connsiteY271" fmla="*/ 599829 h 921796"/>
              <a:gd name="connsiteX272" fmla="*/ 185527 w 1505079"/>
              <a:gd name="connsiteY272" fmla="*/ 585868 h 921796"/>
              <a:gd name="connsiteX273" fmla="*/ 160540 w 1505079"/>
              <a:gd name="connsiteY273" fmla="*/ 575737 h 921796"/>
              <a:gd name="connsiteX274" fmla="*/ 134804 w 1505079"/>
              <a:gd name="connsiteY274" fmla="*/ 576231 h 921796"/>
              <a:gd name="connsiteX275" fmla="*/ 100947 w 1505079"/>
              <a:gd name="connsiteY275" fmla="*/ 558687 h 921796"/>
              <a:gd name="connsiteX276" fmla="*/ 83081 w 1505079"/>
              <a:gd name="connsiteY276" fmla="*/ 559428 h 921796"/>
              <a:gd name="connsiteX277" fmla="*/ 71587 w 1505079"/>
              <a:gd name="connsiteY277" fmla="*/ 571042 h 921796"/>
              <a:gd name="connsiteX278" fmla="*/ 53597 w 1505079"/>
              <a:gd name="connsiteY278" fmla="*/ 572401 h 921796"/>
              <a:gd name="connsiteX279" fmla="*/ 46475 w 1505079"/>
              <a:gd name="connsiteY279" fmla="*/ 556340 h 921796"/>
              <a:gd name="connsiteX280" fmla="*/ 22613 w 1505079"/>
              <a:gd name="connsiteY280" fmla="*/ 542255 h 921796"/>
              <a:gd name="connsiteX281" fmla="*/ 0 w 1505079"/>
              <a:gd name="connsiteY281" fmla="*/ 522858 h 921796"/>
              <a:gd name="connsiteX282" fmla="*/ 3873 w 1505079"/>
              <a:gd name="connsiteY282" fmla="*/ 520140 h 921796"/>
              <a:gd name="connsiteX283" fmla="*/ 6497 w 1505079"/>
              <a:gd name="connsiteY283" fmla="*/ 489253 h 921796"/>
              <a:gd name="connsiteX284" fmla="*/ 23613 w 1505079"/>
              <a:gd name="connsiteY284" fmla="*/ 448729 h 921796"/>
              <a:gd name="connsiteX285" fmla="*/ 41103 w 1505079"/>
              <a:gd name="connsiteY285" fmla="*/ 449223 h 921796"/>
              <a:gd name="connsiteX286" fmla="*/ 41228 w 1505079"/>
              <a:gd name="connsiteY286" fmla="*/ 421672 h 921796"/>
              <a:gd name="connsiteX287" fmla="*/ 36231 w 1505079"/>
              <a:gd name="connsiteY287" fmla="*/ 396962 h 921796"/>
              <a:gd name="connsiteX288" fmla="*/ 89703 w 1505079"/>
              <a:gd name="connsiteY288" fmla="*/ 332469 h 921796"/>
              <a:gd name="connsiteX289" fmla="*/ 96449 w 1505079"/>
              <a:gd name="connsiteY289" fmla="*/ 304671 h 921796"/>
              <a:gd name="connsiteX290" fmla="*/ 109692 w 1505079"/>
              <a:gd name="connsiteY290" fmla="*/ 289722 h 921796"/>
              <a:gd name="connsiteX291" fmla="*/ 124934 w 1505079"/>
              <a:gd name="connsiteY291" fmla="*/ 288486 h 921796"/>
              <a:gd name="connsiteX292" fmla="*/ 128807 w 1505079"/>
              <a:gd name="connsiteY292" fmla="*/ 261182 h 921796"/>
              <a:gd name="connsiteX293" fmla="*/ 121686 w 1505079"/>
              <a:gd name="connsiteY293" fmla="*/ 250310 h 921796"/>
              <a:gd name="connsiteX294" fmla="*/ 118437 w 1505079"/>
              <a:gd name="connsiteY294" fmla="*/ 236349 h 921796"/>
              <a:gd name="connsiteX295" fmla="*/ 125933 w 1505079"/>
              <a:gd name="connsiteY295" fmla="*/ 225847 h 921796"/>
              <a:gd name="connsiteX296" fmla="*/ 103071 w 1505079"/>
              <a:gd name="connsiteY296" fmla="*/ 212998 h 921796"/>
              <a:gd name="connsiteX297" fmla="*/ 91327 w 1505079"/>
              <a:gd name="connsiteY297" fmla="*/ 186929 h 921796"/>
              <a:gd name="connsiteX298" fmla="*/ 79208 w 1505079"/>
              <a:gd name="connsiteY298" fmla="*/ 175563 h 921796"/>
              <a:gd name="connsiteX299" fmla="*/ 76460 w 1505079"/>
              <a:gd name="connsiteY299" fmla="*/ 133927 h 921796"/>
              <a:gd name="connsiteX300" fmla="*/ 76959 w 1505079"/>
              <a:gd name="connsiteY300" fmla="*/ 118730 h 921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505079" h="921796">
                <a:moveTo>
                  <a:pt x="76959" y="118730"/>
                </a:moveTo>
                <a:lnTo>
                  <a:pt x="91577" y="116259"/>
                </a:lnTo>
                <a:lnTo>
                  <a:pt x="121936" y="130097"/>
                </a:lnTo>
                <a:lnTo>
                  <a:pt x="137427" y="120831"/>
                </a:lnTo>
                <a:lnTo>
                  <a:pt x="201144" y="108970"/>
                </a:lnTo>
                <a:lnTo>
                  <a:pt x="230128" y="106499"/>
                </a:lnTo>
                <a:lnTo>
                  <a:pt x="248619" y="89943"/>
                </a:lnTo>
                <a:lnTo>
                  <a:pt x="259988" y="90191"/>
                </a:lnTo>
                <a:lnTo>
                  <a:pt x="282975" y="101557"/>
                </a:lnTo>
                <a:lnTo>
                  <a:pt x="336197" y="107240"/>
                </a:lnTo>
                <a:lnTo>
                  <a:pt x="359060" y="117371"/>
                </a:lnTo>
                <a:lnTo>
                  <a:pt x="363558" y="127626"/>
                </a:lnTo>
                <a:lnTo>
                  <a:pt x="394791" y="113912"/>
                </a:lnTo>
                <a:lnTo>
                  <a:pt x="410533" y="127008"/>
                </a:lnTo>
                <a:lnTo>
                  <a:pt x="423026" y="125773"/>
                </a:lnTo>
                <a:lnTo>
                  <a:pt x="430647" y="117618"/>
                </a:lnTo>
                <a:lnTo>
                  <a:pt x="458508" y="120336"/>
                </a:lnTo>
                <a:lnTo>
                  <a:pt x="471501" y="125649"/>
                </a:lnTo>
                <a:lnTo>
                  <a:pt x="499236" y="107117"/>
                </a:lnTo>
                <a:lnTo>
                  <a:pt x="524598" y="109341"/>
                </a:lnTo>
                <a:lnTo>
                  <a:pt x="528970" y="126514"/>
                </a:lnTo>
                <a:lnTo>
                  <a:pt x="544462" y="130838"/>
                </a:lnTo>
                <a:lnTo>
                  <a:pt x="560454" y="109464"/>
                </a:lnTo>
                <a:lnTo>
                  <a:pt x="579569" y="107611"/>
                </a:lnTo>
                <a:lnTo>
                  <a:pt x="595560" y="117124"/>
                </a:lnTo>
                <a:lnTo>
                  <a:pt x="621671" y="108105"/>
                </a:lnTo>
                <a:lnTo>
                  <a:pt x="638038" y="121201"/>
                </a:lnTo>
                <a:lnTo>
                  <a:pt x="657902" y="117742"/>
                </a:lnTo>
                <a:lnTo>
                  <a:pt x="658527" y="86978"/>
                </a:lnTo>
                <a:lnTo>
                  <a:pt x="670146" y="51767"/>
                </a:lnTo>
                <a:lnTo>
                  <a:pt x="697132" y="47937"/>
                </a:lnTo>
                <a:lnTo>
                  <a:pt x="735736" y="36447"/>
                </a:lnTo>
                <a:lnTo>
                  <a:pt x="753102" y="39659"/>
                </a:lnTo>
                <a:lnTo>
                  <a:pt x="774091" y="34223"/>
                </a:lnTo>
                <a:lnTo>
                  <a:pt x="771217" y="15320"/>
                </a:lnTo>
                <a:lnTo>
                  <a:pt x="784585" y="2347"/>
                </a:lnTo>
                <a:lnTo>
                  <a:pt x="830811" y="15444"/>
                </a:lnTo>
                <a:lnTo>
                  <a:pt x="877786" y="13467"/>
                </a:lnTo>
                <a:lnTo>
                  <a:pt x="900399" y="0"/>
                </a:lnTo>
                <a:lnTo>
                  <a:pt x="921638" y="371"/>
                </a:lnTo>
                <a:lnTo>
                  <a:pt x="937255" y="41636"/>
                </a:lnTo>
                <a:lnTo>
                  <a:pt x="957119" y="56462"/>
                </a:lnTo>
                <a:lnTo>
                  <a:pt x="947499" y="77218"/>
                </a:lnTo>
                <a:lnTo>
                  <a:pt x="973985" y="108846"/>
                </a:lnTo>
                <a:lnTo>
                  <a:pt x="1024584" y="99457"/>
                </a:lnTo>
                <a:lnTo>
                  <a:pt x="1043698" y="114406"/>
                </a:lnTo>
                <a:lnTo>
                  <a:pt x="1047197" y="133309"/>
                </a:lnTo>
                <a:lnTo>
                  <a:pt x="1064562" y="135162"/>
                </a:lnTo>
                <a:lnTo>
                  <a:pt x="1065687" y="159996"/>
                </a:lnTo>
                <a:lnTo>
                  <a:pt x="1076806" y="188906"/>
                </a:lnTo>
                <a:lnTo>
                  <a:pt x="1120158" y="227082"/>
                </a:lnTo>
                <a:lnTo>
                  <a:pt x="1135900" y="208056"/>
                </a:lnTo>
                <a:lnTo>
                  <a:pt x="1162261" y="220658"/>
                </a:lnTo>
                <a:lnTo>
                  <a:pt x="1183250" y="213863"/>
                </a:lnTo>
                <a:lnTo>
                  <a:pt x="1203239" y="216951"/>
                </a:lnTo>
                <a:lnTo>
                  <a:pt x="1233223" y="192118"/>
                </a:lnTo>
                <a:lnTo>
                  <a:pt x="1247716" y="189524"/>
                </a:lnTo>
                <a:lnTo>
                  <a:pt x="1270204" y="233136"/>
                </a:lnTo>
                <a:lnTo>
                  <a:pt x="1299313" y="249568"/>
                </a:lnTo>
                <a:lnTo>
                  <a:pt x="1308683" y="266865"/>
                </a:lnTo>
                <a:lnTo>
                  <a:pt x="1320677" y="253893"/>
                </a:lnTo>
                <a:lnTo>
                  <a:pt x="1354034" y="259699"/>
                </a:lnTo>
                <a:lnTo>
                  <a:pt x="1378521" y="259329"/>
                </a:lnTo>
                <a:lnTo>
                  <a:pt x="1396137" y="268965"/>
                </a:lnTo>
                <a:lnTo>
                  <a:pt x="1415877" y="264888"/>
                </a:lnTo>
                <a:lnTo>
                  <a:pt x="1440239" y="278232"/>
                </a:lnTo>
                <a:lnTo>
                  <a:pt x="1468349" y="282309"/>
                </a:lnTo>
                <a:lnTo>
                  <a:pt x="1481592" y="267977"/>
                </a:lnTo>
                <a:lnTo>
                  <a:pt x="1490462" y="288610"/>
                </a:lnTo>
                <a:lnTo>
                  <a:pt x="1503331" y="295281"/>
                </a:lnTo>
                <a:lnTo>
                  <a:pt x="1505080" y="319373"/>
                </a:lnTo>
                <a:lnTo>
                  <a:pt x="1490712" y="340253"/>
                </a:lnTo>
                <a:lnTo>
                  <a:pt x="1471722" y="345071"/>
                </a:lnTo>
                <a:lnTo>
                  <a:pt x="1467474" y="384483"/>
                </a:lnTo>
                <a:lnTo>
                  <a:pt x="1494710" y="401657"/>
                </a:lnTo>
                <a:lnTo>
                  <a:pt x="1499832" y="427602"/>
                </a:lnTo>
                <a:lnTo>
                  <a:pt x="1489963" y="461454"/>
                </a:lnTo>
                <a:lnTo>
                  <a:pt x="1494335" y="484187"/>
                </a:lnTo>
                <a:lnTo>
                  <a:pt x="1478344" y="497283"/>
                </a:lnTo>
                <a:lnTo>
                  <a:pt x="1434117" y="501855"/>
                </a:lnTo>
                <a:lnTo>
                  <a:pt x="1415627" y="534101"/>
                </a:lnTo>
                <a:lnTo>
                  <a:pt x="1404008" y="539784"/>
                </a:lnTo>
                <a:lnTo>
                  <a:pt x="1400510" y="582532"/>
                </a:lnTo>
                <a:lnTo>
                  <a:pt x="1383519" y="589327"/>
                </a:lnTo>
                <a:lnTo>
                  <a:pt x="1381145" y="579814"/>
                </a:lnTo>
                <a:lnTo>
                  <a:pt x="1371275" y="578826"/>
                </a:lnTo>
                <a:lnTo>
                  <a:pt x="1348787" y="589327"/>
                </a:lnTo>
                <a:lnTo>
                  <a:pt x="1325799" y="588339"/>
                </a:lnTo>
                <a:lnTo>
                  <a:pt x="1314430" y="597728"/>
                </a:lnTo>
                <a:lnTo>
                  <a:pt x="1307434" y="613790"/>
                </a:lnTo>
                <a:lnTo>
                  <a:pt x="1287445" y="616014"/>
                </a:lnTo>
                <a:lnTo>
                  <a:pt x="1278324" y="630222"/>
                </a:lnTo>
                <a:lnTo>
                  <a:pt x="1259709" y="651596"/>
                </a:lnTo>
                <a:lnTo>
                  <a:pt x="1252713" y="649866"/>
                </a:lnTo>
                <a:lnTo>
                  <a:pt x="1234098" y="652708"/>
                </a:lnTo>
                <a:lnTo>
                  <a:pt x="1219356" y="664939"/>
                </a:lnTo>
                <a:lnTo>
                  <a:pt x="1194869" y="660491"/>
                </a:lnTo>
                <a:lnTo>
                  <a:pt x="1176628" y="672970"/>
                </a:lnTo>
                <a:lnTo>
                  <a:pt x="1164759" y="671487"/>
                </a:lnTo>
                <a:lnTo>
                  <a:pt x="1152016" y="652090"/>
                </a:lnTo>
                <a:lnTo>
                  <a:pt x="1143770" y="653078"/>
                </a:lnTo>
                <a:lnTo>
                  <a:pt x="1149767" y="663827"/>
                </a:lnTo>
                <a:lnTo>
                  <a:pt x="1160762" y="676429"/>
                </a:lnTo>
                <a:lnTo>
                  <a:pt x="1157138" y="688290"/>
                </a:lnTo>
                <a:lnTo>
                  <a:pt x="1138773" y="716582"/>
                </a:lnTo>
                <a:lnTo>
                  <a:pt x="1128029" y="723130"/>
                </a:lnTo>
                <a:lnTo>
                  <a:pt x="1123531" y="715100"/>
                </a:lnTo>
                <a:lnTo>
                  <a:pt x="1130278" y="710775"/>
                </a:lnTo>
                <a:lnTo>
                  <a:pt x="1147394" y="688660"/>
                </a:lnTo>
                <a:lnTo>
                  <a:pt x="1144270" y="681247"/>
                </a:lnTo>
                <a:lnTo>
                  <a:pt x="1134276" y="675564"/>
                </a:lnTo>
                <a:lnTo>
                  <a:pt x="1131277" y="685942"/>
                </a:lnTo>
                <a:lnTo>
                  <a:pt x="1104791" y="715965"/>
                </a:lnTo>
                <a:lnTo>
                  <a:pt x="1088175" y="719424"/>
                </a:lnTo>
                <a:lnTo>
                  <a:pt x="1085926" y="730543"/>
                </a:lnTo>
                <a:lnTo>
                  <a:pt x="1066561" y="731285"/>
                </a:lnTo>
                <a:lnTo>
                  <a:pt x="1052944" y="722266"/>
                </a:lnTo>
                <a:lnTo>
                  <a:pt x="1042324" y="733014"/>
                </a:lnTo>
                <a:lnTo>
                  <a:pt x="1021960" y="730420"/>
                </a:lnTo>
                <a:lnTo>
                  <a:pt x="1019461" y="738080"/>
                </a:lnTo>
                <a:lnTo>
                  <a:pt x="1031705" y="745246"/>
                </a:lnTo>
                <a:lnTo>
                  <a:pt x="1060689" y="741910"/>
                </a:lnTo>
                <a:lnTo>
                  <a:pt x="1072433" y="754388"/>
                </a:lnTo>
                <a:lnTo>
                  <a:pt x="1083927" y="762172"/>
                </a:lnTo>
                <a:lnTo>
                  <a:pt x="1094047" y="756241"/>
                </a:lnTo>
                <a:lnTo>
                  <a:pt x="1100668" y="764890"/>
                </a:lnTo>
                <a:lnTo>
                  <a:pt x="1092048" y="776256"/>
                </a:lnTo>
                <a:lnTo>
                  <a:pt x="1093172" y="784411"/>
                </a:lnTo>
                <a:lnTo>
                  <a:pt x="1101293" y="778604"/>
                </a:lnTo>
                <a:lnTo>
                  <a:pt x="1109539" y="778233"/>
                </a:lnTo>
                <a:lnTo>
                  <a:pt x="1107415" y="792812"/>
                </a:lnTo>
                <a:lnTo>
                  <a:pt x="1118034" y="782063"/>
                </a:lnTo>
                <a:lnTo>
                  <a:pt x="1128029" y="787870"/>
                </a:lnTo>
                <a:lnTo>
                  <a:pt x="1133151" y="808255"/>
                </a:lnTo>
                <a:lnTo>
                  <a:pt x="1144020" y="818757"/>
                </a:lnTo>
                <a:lnTo>
                  <a:pt x="1165009" y="824070"/>
                </a:lnTo>
                <a:lnTo>
                  <a:pt x="1173880" y="818881"/>
                </a:lnTo>
                <a:lnTo>
                  <a:pt x="1142146" y="791329"/>
                </a:lnTo>
                <a:lnTo>
                  <a:pt x="1108539" y="754265"/>
                </a:lnTo>
                <a:lnTo>
                  <a:pt x="1098419" y="731285"/>
                </a:lnTo>
                <a:lnTo>
                  <a:pt x="1105916" y="726219"/>
                </a:lnTo>
                <a:lnTo>
                  <a:pt x="1120658" y="744875"/>
                </a:lnTo>
                <a:lnTo>
                  <a:pt x="1128653" y="768596"/>
                </a:lnTo>
                <a:lnTo>
                  <a:pt x="1175129" y="814680"/>
                </a:lnTo>
                <a:lnTo>
                  <a:pt x="1185748" y="818386"/>
                </a:lnTo>
                <a:lnTo>
                  <a:pt x="1200241" y="801954"/>
                </a:lnTo>
                <a:lnTo>
                  <a:pt x="1210610" y="800842"/>
                </a:lnTo>
                <a:lnTo>
                  <a:pt x="1228476" y="810973"/>
                </a:lnTo>
                <a:lnTo>
                  <a:pt x="1234598" y="792194"/>
                </a:lnTo>
                <a:lnTo>
                  <a:pt x="1263582" y="787499"/>
                </a:lnTo>
                <a:lnTo>
                  <a:pt x="1287944" y="787870"/>
                </a:lnTo>
                <a:lnTo>
                  <a:pt x="1281573" y="799854"/>
                </a:lnTo>
                <a:lnTo>
                  <a:pt x="1272827" y="807761"/>
                </a:lnTo>
                <a:lnTo>
                  <a:pt x="1281823" y="823823"/>
                </a:lnTo>
                <a:lnTo>
                  <a:pt x="1271328" y="837413"/>
                </a:lnTo>
                <a:lnTo>
                  <a:pt x="1240220" y="841490"/>
                </a:lnTo>
                <a:lnTo>
                  <a:pt x="1203864" y="836795"/>
                </a:lnTo>
                <a:lnTo>
                  <a:pt x="1182875" y="849397"/>
                </a:lnTo>
                <a:lnTo>
                  <a:pt x="1167883" y="872007"/>
                </a:lnTo>
                <a:lnTo>
                  <a:pt x="1138648" y="872624"/>
                </a:lnTo>
                <a:lnTo>
                  <a:pt x="1097795" y="905982"/>
                </a:lnTo>
                <a:lnTo>
                  <a:pt x="1066436" y="921673"/>
                </a:lnTo>
                <a:lnTo>
                  <a:pt x="1033079" y="921797"/>
                </a:lnTo>
                <a:lnTo>
                  <a:pt x="1016588" y="910060"/>
                </a:lnTo>
                <a:lnTo>
                  <a:pt x="1021210" y="903017"/>
                </a:lnTo>
                <a:lnTo>
                  <a:pt x="1030830" y="869659"/>
                </a:lnTo>
                <a:lnTo>
                  <a:pt x="1028831" y="856686"/>
                </a:lnTo>
                <a:lnTo>
                  <a:pt x="998722" y="835313"/>
                </a:lnTo>
                <a:lnTo>
                  <a:pt x="988353" y="837042"/>
                </a:lnTo>
                <a:lnTo>
                  <a:pt x="967864" y="828270"/>
                </a:lnTo>
                <a:lnTo>
                  <a:pt x="955870" y="839143"/>
                </a:lnTo>
                <a:lnTo>
                  <a:pt x="939503" y="832965"/>
                </a:lnTo>
                <a:lnTo>
                  <a:pt x="957119" y="804055"/>
                </a:lnTo>
                <a:lnTo>
                  <a:pt x="988852" y="783422"/>
                </a:lnTo>
                <a:lnTo>
                  <a:pt x="1015713" y="777492"/>
                </a:lnTo>
                <a:lnTo>
                  <a:pt x="1023084" y="772303"/>
                </a:lnTo>
                <a:lnTo>
                  <a:pt x="1012215" y="760442"/>
                </a:lnTo>
                <a:lnTo>
                  <a:pt x="1007093" y="737956"/>
                </a:lnTo>
                <a:lnTo>
                  <a:pt x="998347" y="734373"/>
                </a:lnTo>
                <a:lnTo>
                  <a:pt x="991976" y="747717"/>
                </a:lnTo>
                <a:lnTo>
                  <a:pt x="977109" y="740057"/>
                </a:lnTo>
                <a:lnTo>
                  <a:pt x="955995" y="732149"/>
                </a:lnTo>
                <a:lnTo>
                  <a:pt x="934006" y="736844"/>
                </a:lnTo>
                <a:lnTo>
                  <a:pt x="915016" y="747593"/>
                </a:lnTo>
                <a:lnTo>
                  <a:pt x="898025" y="738698"/>
                </a:lnTo>
                <a:lnTo>
                  <a:pt x="885157" y="738203"/>
                </a:lnTo>
                <a:lnTo>
                  <a:pt x="871165" y="727207"/>
                </a:lnTo>
                <a:lnTo>
                  <a:pt x="880909" y="720536"/>
                </a:lnTo>
                <a:lnTo>
                  <a:pt x="884532" y="713617"/>
                </a:lnTo>
                <a:lnTo>
                  <a:pt x="857047" y="705834"/>
                </a:lnTo>
                <a:lnTo>
                  <a:pt x="823940" y="707193"/>
                </a:lnTo>
                <a:lnTo>
                  <a:pt x="815444" y="696320"/>
                </a:lnTo>
                <a:lnTo>
                  <a:pt x="835808" y="695455"/>
                </a:lnTo>
                <a:lnTo>
                  <a:pt x="867541" y="689896"/>
                </a:lnTo>
                <a:lnTo>
                  <a:pt x="884283" y="694344"/>
                </a:lnTo>
                <a:lnTo>
                  <a:pt x="895777" y="687672"/>
                </a:lnTo>
                <a:lnTo>
                  <a:pt x="914642" y="675194"/>
                </a:lnTo>
                <a:lnTo>
                  <a:pt x="887281" y="683224"/>
                </a:lnTo>
                <a:lnTo>
                  <a:pt x="873039" y="679023"/>
                </a:lnTo>
                <a:lnTo>
                  <a:pt x="861670" y="671240"/>
                </a:lnTo>
                <a:lnTo>
                  <a:pt x="854923" y="661233"/>
                </a:lnTo>
                <a:lnTo>
                  <a:pt x="847802" y="673958"/>
                </a:lnTo>
                <a:lnTo>
                  <a:pt x="840681" y="684583"/>
                </a:lnTo>
                <a:lnTo>
                  <a:pt x="824064" y="685325"/>
                </a:lnTo>
                <a:lnTo>
                  <a:pt x="824439" y="680506"/>
                </a:lnTo>
                <a:lnTo>
                  <a:pt x="813695" y="671240"/>
                </a:lnTo>
                <a:lnTo>
                  <a:pt x="796579" y="694714"/>
                </a:lnTo>
                <a:lnTo>
                  <a:pt x="775215" y="696938"/>
                </a:lnTo>
                <a:lnTo>
                  <a:pt x="762472" y="707810"/>
                </a:lnTo>
                <a:lnTo>
                  <a:pt x="763471" y="730543"/>
                </a:lnTo>
                <a:lnTo>
                  <a:pt x="745731" y="755253"/>
                </a:lnTo>
                <a:lnTo>
                  <a:pt x="735986" y="755747"/>
                </a:lnTo>
                <a:lnTo>
                  <a:pt x="742108" y="767114"/>
                </a:lnTo>
                <a:lnTo>
                  <a:pt x="709250" y="809738"/>
                </a:lnTo>
                <a:lnTo>
                  <a:pt x="697381" y="810232"/>
                </a:lnTo>
                <a:lnTo>
                  <a:pt x="689261" y="798989"/>
                </a:lnTo>
                <a:lnTo>
                  <a:pt x="689136" y="811962"/>
                </a:lnTo>
                <a:lnTo>
                  <a:pt x="687512" y="823081"/>
                </a:lnTo>
                <a:lnTo>
                  <a:pt x="697007" y="833706"/>
                </a:lnTo>
                <a:lnTo>
                  <a:pt x="694258" y="849644"/>
                </a:lnTo>
                <a:lnTo>
                  <a:pt x="694008" y="849891"/>
                </a:lnTo>
                <a:lnTo>
                  <a:pt x="677892" y="837907"/>
                </a:lnTo>
                <a:lnTo>
                  <a:pt x="649657" y="841737"/>
                </a:lnTo>
                <a:lnTo>
                  <a:pt x="635164" y="853227"/>
                </a:lnTo>
                <a:lnTo>
                  <a:pt x="601307" y="853968"/>
                </a:lnTo>
                <a:lnTo>
                  <a:pt x="575946" y="849768"/>
                </a:lnTo>
                <a:lnTo>
                  <a:pt x="560204" y="825058"/>
                </a:lnTo>
                <a:lnTo>
                  <a:pt x="572947" y="814927"/>
                </a:lnTo>
                <a:lnTo>
                  <a:pt x="588314" y="818757"/>
                </a:lnTo>
                <a:lnTo>
                  <a:pt x="588314" y="802449"/>
                </a:lnTo>
                <a:lnTo>
                  <a:pt x="604181" y="770326"/>
                </a:lnTo>
                <a:lnTo>
                  <a:pt x="613426" y="771314"/>
                </a:lnTo>
                <a:lnTo>
                  <a:pt x="611802" y="749076"/>
                </a:lnTo>
                <a:lnTo>
                  <a:pt x="613051" y="716212"/>
                </a:lnTo>
                <a:lnTo>
                  <a:pt x="630792" y="714853"/>
                </a:lnTo>
                <a:lnTo>
                  <a:pt x="654279" y="705957"/>
                </a:lnTo>
                <a:lnTo>
                  <a:pt x="669396" y="717200"/>
                </a:lnTo>
                <a:lnTo>
                  <a:pt x="696382" y="715347"/>
                </a:lnTo>
                <a:lnTo>
                  <a:pt x="699380" y="705339"/>
                </a:lnTo>
                <a:lnTo>
                  <a:pt x="687387" y="690143"/>
                </a:lnTo>
                <a:lnTo>
                  <a:pt x="690635" y="674946"/>
                </a:lnTo>
                <a:lnTo>
                  <a:pt x="686637" y="658762"/>
                </a:lnTo>
                <a:lnTo>
                  <a:pt x="659526" y="644183"/>
                </a:lnTo>
                <a:lnTo>
                  <a:pt x="636164" y="624909"/>
                </a:lnTo>
                <a:lnTo>
                  <a:pt x="632541" y="615272"/>
                </a:lnTo>
                <a:lnTo>
                  <a:pt x="611552" y="605636"/>
                </a:lnTo>
                <a:lnTo>
                  <a:pt x="612551" y="584015"/>
                </a:lnTo>
                <a:lnTo>
                  <a:pt x="605180" y="552139"/>
                </a:lnTo>
                <a:lnTo>
                  <a:pt x="581568" y="541390"/>
                </a:lnTo>
                <a:lnTo>
                  <a:pt x="551958" y="514457"/>
                </a:lnTo>
                <a:lnTo>
                  <a:pt x="543338" y="514827"/>
                </a:lnTo>
                <a:lnTo>
                  <a:pt x="539215" y="525576"/>
                </a:lnTo>
                <a:lnTo>
                  <a:pt x="509356" y="523599"/>
                </a:lnTo>
                <a:lnTo>
                  <a:pt x="479746" y="499260"/>
                </a:lnTo>
                <a:lnTo>
                  <a:pt x="456009" y="500249"/>
                </a:lnTo>
                <a:lnTo>
                  <a:pt x="441767" y="479987"/>
                </a:lnTo>
                <a:lnTo>
                  <a:pt x="434895" y="487400"/>
                </a:lnTo>
                <a:lnTo>
                  <a:pt x="415031" y="488264"/>
                </a:lnTo>
                <a:lnTo>
                  <a:pt x="409534" y="497654"/>
                </a:lnTo>
                <a:lnTo>
                  <a:pt x="391168" y="488017"/>
                </a:lnTo>
                <a:lnTo>
                  <a:pt x="387420" y="494071"/>
                </a:lnTo>
                <a:lnTo>
                  <a:pt x="372678" y="488759"/>
                </a:lnTo>
                <a:lnTo>
                  <a:pt x="377675" y="512851"/>
                </a:lnTo>
                <a:lnTo>
                  <a:pt x="374802" y="523352"/>
                </a:lnTo>
                <a:lnTo>
                  <a:pt x="379175" y="545714"/>
                </a:lnTo>
                <a:lnTo>
                  <a:pt x="358186" y="550286"/>
                </a:lnTo>
                <a:lnTo>
                  <a:pt x="337572" y="564247"/>
                </a:lnTo>
                <a:lnTo>
                  <a:pt x="276479" y="577343"/>
                </a:lnTo>
                <a:lnTo>
                  <a:pt x="262111" y="595628"/>
                </a:lnTo>
                <a:lnTo>
                  <a:pt x="242997" y="597728"/>
                </a:lnTo>
                <a:lnTo>
                  <a:pt x="214262" y="608107"/>
                </a:lnTo>
                <a:lnTo>
                  <a:pt x="194647" y="599829"/>
                </a:lnTo>
                <a:lnTo>
                  <a:pt x="185527" y="585868"/>
                </a:lnTo>
                <a:lnTo>
                  <a:pt x="160540" y="575737"/>
                </a:lnTo>
                <a:lnTo>
                  <a:pt x="134804" y="576231"/>
                </a:lnTo>
                <a:lnTo>
                  <a:pt x="100947" y="558687"/>
                </a:lnTo>
                <a:lnTo>
                  <a:pt x="83081" y="559428"/>
                </a:lnTo>
                <a:lnTo>
                  <a:pt x="71587" y="571042"/>
                </a:lnTo>
                <a:lnTo>
                  <a:pt x="53597" y="572401"/>
                </a:lnTo>
                <a:lnTo>
                  <a:pt x="46475" y="556340"/>
                </a:lnTo>
                <a:lnTo>
                  <a:pt x="22613" y="542255"/>
                </a:lnTo>
                <a:lnTo>
                  <a:pt x="0" y="522858"/>
                </a:lnTo>
                <a:lnTo>
                  <a:pt x="3873" y="520140"/>
                </a:lnTo>
                <a:lnTo>
                  <a:pt x="6497" y="489253"/>
                </a:lnTo>
                <a:lnTo>
                  <a:pt x="23613" y="448729"/>
                </a:lnTo>
                <a:lnTo>
                  <a:pt x="41103" y="449223"/>
                </a:lnTo>
                <a:lnTo>
                  <a:pt x="41228" y="421672"/>
                </a:lnTo>
                <a:lnTo>
                  <a:pt x="36231" y="396962"/>
                </a:lnTo>
                <a:lnTo>
                  <a:pt x="89703" y="332469"/>
                </a:lnTo>
                <a:lnTo>
                  <a:pt x="96449" y="304671"/>
                </a:lnTo>
                <a:lnTo>
                  <a:pt x="109692" y="289722"/>
                </a:lnTo>
                <a:lnTo>
                  <a:pt x="124934" y="288486"/>
                </a:lnTo>
                <a:lnTo>
                  <a:pt x="128807" y="261182"/>
                </a:lnTo>
                <a:lnTo>
                  <a:pt x="121686" y="250310"/>
                </a:lnTo>
                <a:lnTo>
                  <a:pt x="118437" y="236349"/>
                </a:lnTo>
                <a:lnTo>
                  <a:pt x="125933" y="225847"/>
                </a:lnTo>
                <a:lnTo>
                  <a:pt x="103071" y="212998"/>
                </a:lnTo>
                <a:lnTo>
                  <a:pt x="91327" y="186929"/>
                </a:lnTo>
                <a:lnTo>
                  <a:pt x="79208" y="175563"/>
                </a:lnTo>
                <a:lnTo>
                  <a:pt x="76460" y="133927"/>
                </a:lnTo>
                <a:lnTo>
                  <a:pt x="76959" y="118730"/>
                </a:lnTo>
                <a:close/>
              </a:path>
            </a:pathLst>
          </a:custGeom>
          <a:solidFill>
            <a:schemeClr val="bg2"/>
          </a:solidFill>
          <a:ln w="7065" cap="flat">
            <a:solidFill>
              <a:schemeClr val="accent4"/>
            </a:solidFill>
            <a:prstDash val="solid"/>
            <a:miter/>
          </a:ln>
        </p:spPr>
        <p:txBody>
          <a:bodyPr rtlCol="0" anchor="ctr"/>
          <a:lstStyle/>
          <a:p>
            <a:endParaRPr lang="en-GB"/>
          </a:p>
        </p:txBody>
      </p:sp>
      <p:sp>
        <p:nvSpPr>
          <p:cNvPr id="31" name="Graphic 155">
            <a:extLst>
              <a:ext uri="{FF2B5EF4-FFF2-40B4-BE49-F238E27FC236}">
                <a16:creationId xmlns:a16="http://schemas.microsoft.com/office/drawing/2014/main" id="{906A8EE5-8C36-9B46-012C-495396E535BC}"/>
              </a:ext>
            </a:extLst>
          </p:cNvPr>
          <p:cNvSpPr/>
          <p:nvPr/>
        </p:nvSpPr>
        <p:spPr>
          <a:xfrm rot="1141104">
            <a:off x="7537985" y="2647274"/>
            <a:ext cx="855048" cy="694837"/>
          </a:xfrm>
          <a:custGeom>
            <a:avLst/>
            <a:gdLst>
              <a:gd name="connsiteX0" fmla="*/ 525723 w 855048"/>
              <a:gd name="connsiteY0" fmla="*/ 692366 h 694837"/>
              <a:gd name="connsiteX1" fmla="*/ 530845 w 855048"/>
              <a:gd name="connsiteY1" fmla="*/ 694837 h 694837"/>
              <a:gd name="connsiteX2" fmla="*/ 547961 w 855048"/>
              <a:gd name="connsiteY2" fmla="*/ 693478 h 694837"/>
              <a:gd name="connsiteX3" fmla="*/ 558205 w 855048"/>
              <a:gd name="connsiteY3" fmla="*/ 676552 h 694837"/>
              <a:gd name="connsiteX4" fmla="*/ 572573 w 855048"/>
              <a:gd name="connsiteY4" fmla="*/ 670992 h 694837"/>
              <a:gd name="connsiteX5" fmla="*/ 586940 w 855048"/>
              <a:gd name="connsiteY5" fmla="*/ 672104 h 694837"/>
              <a:gd name="connsiteX6" fmla="*/ 608804 w 855048"/>
              <a:gd name="connsiteY6" fmla="*/ 671116 h 694837"/>
              <a:gd name="connsiteX7" fmla="*/ 622047 w 855048"/>
              <a:gd name="connsiteY7" fmla="*/ 679517 h 694837"/>
              <a:gd name="connsiteX8" fmla="*/ 633041 w 855048"/>
              <a:gd name="connsiteY8" fmla="*/ 667162 h 694837"/>
              <a:gd name="connsiteX9" fmla="*/ 647908 w 855048"/>
              <a:gd name="connsiteY9" fmla="*/ 664568 h 694837"/>
              <a:gd name="connsiteX10" fmla="*/ 662525 w 855048"/>
              <a:gd name="connsiteY10" fmla="*/ 670498 h 694837"/>
              <a:gd name="connsiteX11" fmla="*/ 673769 w 855048"/>
              <a:gd name="connsiteY11" fmla="*/ 664815 h 694837"/>
              <a:gd name="connsiteX12" fmla="*/ 708376 w 855048"/>
              <a:gd name="connsiteY12" fmla="*/ 664568 h 694837"/>
              <a:gd name="connsiteX13" fmla="*/ 747481 w 855048"/>
              <a:gd name="connsiteY13" fmla="*/ 685201 h 694837"/>
              <a:gd name="connsiteX14" fmla="*/ 767345 w 855048"/>
              <a:gd name="connsiteY14" fmla="*/ 685695 h 694837"/>
              <a:gd name="connsiteX15" fmla="*/ 767470 w 855048"/>
              <a:gd name="connsiteY15" fmla="*/ 658143 h 694837"/>
              <a:gd name="connsiteX16" fmla="*/ 762473 w 855048"/>
              <a:gd name="connsiteY16" fmla="*/ 633434 h 694837"/>
              <a:gd name="connsiteX17" fmla="*/ 815944 w 855048"/>
              <a:gd name="connsiteY17" fmla="*/ 568941 h 694837"/>
              <a:gd name="connsiteX18" fmla="*/ 822691 w 855048"/>
              <a:gd name="connsiteY18" fmla="*/ 541143 h 694837"/>
              <a:gd name="connsiteX19" fmla="*/ 835934 w 855048"/>
              <a:gd name="connsiteY19" fmla="*/ 526193 h 694837"/>
              <a:gd name="connsiteX20" fmla="*/ 851051 w 855048"/>
              <a:gd name="connsiteY20" fmla="*/ 524834 h 694837"/>
              <a:gd name="connsiteX21" fmla="*/ 855049 w 855048"/>
              <a:gd name="connsiteY21" fmla="*/ 497654 h 694837"/>
              <a:gd name="connsiteX22" fmla="*/ 847927 w 855048"/>
              <a:gd name="connsiteY22" fmla="*/ 486781 h 694837"/>
              <a:gd name="connsiteX23" fmla="*/ 844554 w 855048"/>
              <a:gd name="connsiteY23" fmla="*/ 472820 h 694837"/>
              <a:gd name="connsiteX24" fmla="*/ 852175 w 855048"/>
              <a:gd name="connsiteY24" fmla="*/ 462319 h 694837"/>
              <a:gd name="connsiteX25" fmla="*/ 829312 w 855048"/>
              <a:gd name="connsiteY25" fmla="*/ 449470 h 694837"/>
              <a:gd name="connsiteX26" fmla="*/ 817568 w 855048"/>
              <a:gd name="connsiteY26" fmla="*/ 423401 h 694837"/>
              <a:gd name="connsiteX27" fmla="*/ 805450 w 855048"/>
              <a:gd name="connsiteY27" fmla="*/ 412035 h 694837"/>
              <a:gd name="connsiteX28" fmla="*/ 802576 w 855048"/>
              <a:gd name="connsiteY28" fmla="*/ 370399 h 694837"/>
              <a:gd name="connsiteX29" fmla="*/ 803576 w 855048"/>
              <a:gd name="connsiteY29" fmla="*/ 346183 h 694837"/>
              <a:gd name="connsiteX30" fmla="*/ 783836 w 855048"/>
              <a:gd name="connsiteY30" fmla="*/ 317520 h 694837"/>
              <a:gd name="connsiteX31" fmla="*/ 775341 w 855048"/>
              <a:gd name="connsiteY31" fmla="*/ 291081 h 694837"/>
              <a:gd name="connsiteX32" fmla="*/ 788209 w 855048"/>
              <a:gd name="connsiteY32" fmla="*/ 268224 h 694837"/>
              <a:gd name="connsiteX33" fmla="*/ 806449 w 855048"/>
              <a:gd name="connsiteY33" fmla="*/ 260935 h 694837"/>
              <a:gd name="connsiteX34" fmla="*/ 803326 w 855048"/>
              <a:gd name="connsiteY34" fmla="*/ 204102 h 694837"/>
              <a:gd name="connsiteX35" fmla="*/ 792332 w 855048"/>
              <a:gd name="connsiteY35" fmla="*/ 195330 h 694837"/>
              <a:gd name="connsiteX36" fmla="*/ 787459 w 855048"/>
              <a:gd name="connsiteY36" fmla="*/ 173339 h 694837"/>
              <a:gd name="connsiteX37" fmla="*/ 774091 w 855048"/>
              <a:gd name="connsiteY37" fmla="*/ 154930 h 694837"/>
              <a:gd name="connsiteX38" fmla="*/ 758350 w 855048"/>
              <a:gd name="connsiteY38" fmla="*/ 113665 h 694837"/>
              <a:gd name="connsiteX39" fmla="*/ 741359 w 855048"/>
              <a:gd name="connsiteY39" fmla="*/ 88831 h 694837"/>
              <a:gd name="connsiteX40" fmla="*/ 741734 w 855048"/>
              <a:gd name="connsiteY40" fmla="*/ 67210 h 694837"/>
              <a:gd name="connsiteX41" fmla="*/ 730365 w 855048"/>
              <a:gd name="connsiteY41" fmla="*/ 34223 h 694837"/>
              <a:gd name="connsiteX42" fmla="*/ 717746 w 855048"/>
              <a:gd name="connsiteY42" fmla="*/ 33482 h 694837"/>
              <a:gd name="connsiteX43" fmla="*/ 696632 w 855048"/>
              <a:gd name="connsiteY43" fmla="*/ 18038 h 694837"/>
              <a:gd name="connsiteX44" fmla="*/ 576071 w 855048"/>
              <a:gd name="connsiteY44" fmla="*/ 34964 h 694837"/>
              <a:gd name="connsiteX45" fmla="*/ 459383 w 855048"/>
              <a:gd name="connsiteY45" fmla="*/ 33482 h 694837"/>
              <a:gd name="connsiteX46" fmla="*/ 448888 w 855048"/>
              <a:gd name="connsiteY46" fmla="*/ 37929 h 694837"/>
              <a:gd name="connsiteX47" fmla="*/ 418904 w 855048"/>
              <a:gd name="connsiteY47" fmla="*/ 66716 h 694837"/>
              <a:gd name="connsiteX48" fmla="*/ 392793 w 855048"/>
              <a:gd name="connsiteY48" fmla="*/ 74006 h 694837"/>
              <a:gd name="connsiteX49" fmla="*/ 385547 w 855048"/>
              <a:gd name="connsiteY49" fmla="*/ 68075 h 694837"/>
              <a:gd name="connsiteX50" fmla="*/ 411408 w 855048"/>
              <a:gd name="connsiteY50" fmla="*/ 52508 h 694837"/>
              <a:gd name="connsiteX51" fmla="*/ 434521 w 855048"/>
              <a:gd name="connsiteY51" fmla="*/ 26810 h 694837"/>
              <a:gd name="connsiteX52" fmla="*/ 426275 w 855048"/>
              <a:gd name="connsiteY52" fmla="*/ 27922 h 694837"/>
              <a:gd name="connsiteX53" fmla="*/ 407660 w 855048"/>
              <a:gd name="connsiteY53" fmla="*/ 47937 h 694837"/>
              <a:gd name="connsiteX54" fmla="*/ 374302 w 855048"/>
              <a:gd name="connsiteY54" fmla="*/ 65110 h 694837"/>
              <a:gd name="connsiteX55" fmla="*/ 334324 w 855048"/>
              <a:gd name="connsiteY55" fmla="*/ 55844 h 694837"/>
              <a:gd name="connsiteX56" fmla="*/ 325078 w 855048"/>
              <a:gd name="connsiteY56" fmla="*/ 34964 h 694837"/>
              <a:gd name="connsiteX57" fmla="*/ 330576 w 855048"/>
              <a:gd name="connsiteY57" fmla="*/ 19521 h 694837"/>
              <a:gd name="connsiteX58" fmla="*/ 351564 w 855048"/>
              <a:gd name="connsiteY58" fmla="*/ 21374 h 694837"/>
              <a:gd name="connsiteX59" fmla="*/ 361559 w 855048"/>
              <a:gd name="connsiteY59" fmla="*/ 27181 h 694837"/>
              <a:gd name="connsiteX60" fmla="*/ 361934 w 855048"/>
              <a:gd name="connsiteY60" fmla="*/ 21003 h 694837"/>
              <a:gd name="connsiteX61" fmla="*/ 335823 w 855048"/>
              <a:gd name="connsiteY61" fmla="*/ 9760 h 694837"/>
              <a:gd name="connsiteX62" fmla="*/ 288723 w 855048"/>
              <a:gd name="connsiteY62" fmla="*/ 0 h 694837"/>
              <a:gd name="connsiteX63" fmla="*/ 253491 w 855048"/>
              <a:gd name="connsiteY63" fmla="*/ 20138 h 694837"/>
              <a:gd name="connsiteX64" fmla="*/ 227005 w 855048"/>
              <a:gd name="connsiteY64" fmla="*/ 19150 h 694837"/>
              <a:gd name="connsiteX65" fmla="*/ 200394 w 855048"/>
              <a:gd name="connsiteY65" fmla="*/ 30640 h 694837"/>
              <a:gd name="connsiteX66" fmla="*/ 184777 w 855048"/>
              <a:gd name="connsiteY66" fmla="*/ 53991 h 694837"/>
              <a:gd name="connsiteX67" fmla="*/ 158416 w 855048"/>
              <a:gd name="connsiteY67" fmla="*/ 55844 h 694837"/>
              <a:gd name="connsiteX68" fmla="*/ 142675 w 855048"/>
              <a:gd name="connsiteY68" fmla="*/ 74994 h 694837"/>
              <a:gd name="connsiteX69" fmla="*/ 143299 w 855048"/>
              <a:gd name="connsiteY69" fmla="*/ 89449 h 694837"/>
              <a:gd name="connsiteX70" fmla="*/ 114814 w 855048"/>
              <a:gd name="connsiteY70" fmla="*/ 91302 h 694837"/>
              <a:gd name="connsiteX71" fmla="*/ 72837 w 855048"/>
              <a:gd name="connsiteY71" fmla="*/ 116506 h 694837"/>
              <a:gd name="connsiteX72" fmla="*/ 43727 w 855048"/>
              <a:gd name="connsiteY72" fmla="*/ 119842 h 694837"/>
              <a:gd name="connsiteX73" fmla="*/ 34357 w 855048"/>
              <a:gd name="connsiteY73" fmla="*/ 142204 h 694837"/>
              <a:gd name="connsiteX74" fmla="*/ 28360 w 855048"/>
              <a:gd name="connsiteY74" fmla="*/ 164443 h 694837"/>
              <a:gd name="connsiteX75" fmla="*/ 22238 w 855048"/>
              <a:gd name="connsiteY75" fmla="*/ 168150 h 694837"/>
              <a:gd name="connsiteX76" fmla="*/ 23987 w 855048"/>
              <a:gd name="connsiteY76" fmla="*/ 176922 h 694837"/>
              <a:gd name="connsiteX77" fmla="*/ 14867 w 855048"/>
              <a:gd name="connsiteY77" fmla="*/ 177910 h 694837"/>
              <a:gd name="connsiteX78" fmla="*/ 26486 w 855048"/>
              <a:gd name="connsiteY78" fmla="*/ 218187 h 694837"/>
              <a:gd name="connsiteX79" fmla="*/ 25237 w 855048"/>
              <a:gd name="connsiteY79" fmla="*/ 248333 h 694837"/>
              <a:gd name="connsiteX80" fmla="*/ 0 w 855048"/>
              <a:gd name="connsiteY80" fmla="*/ 262541 h 694837"/>
              <a:gd name="connsiteX81" fmla="*/ 500 w 855048"/>
              <a:gd name="connsiteY81" fmla="*/ 274896 h 694837"/>
              <a:gd name="connsiteX82" fmla="*/ 30234 w 855048"/>
              <a:gd name="connsiteY82" fmla="*/ 303806 h 694837"/>
              <a:gd name="connsiteX83" fmla="*/ 27735 w 855048"/>
              <a:gd name="connsiteY83" fmla="*/ 322215 h 694837"/>
              <a:gd name="connsiteX84" fmla="*/ 41728 w 855048"/>
              <a:gd name="connsiteY84" fmla="*/ 338647 h 694837"/>
              <a:gd name="connsiteX85" fmla="*/ 42353 w 855048"/>
              <a:gd name="connsiteY85" fmla="*/ 352361 h 694837"/>
              <a:gd name="connsiteX86" fmla="*/ 51098 w 855048"/>
              <a:gd name="connsiteY86" fmla="*/ 371016 h 694837"/>
              <a:gd name="connsiteX87" fmla="*/ 44477 w 855048"/>
              <a:gd name="connsiteY87" fmla="*/ 386954 h 694837"/>
              <a:gd name="connsiteX88" fmla="*/ 62592 w 855048"/>
              <a:gd name="connsiteY88" fmla="*/ 423525 h 694837"/>
              <a:gd name="connsiteX89" fmla="*/ 75085 w 855048"/>
              <a:gd name="connsiteY89" fmla="*/ 429702 h 694837"/>
              <a:gd name="connsiteX90" fmla="*/ 86579 w 855048"/>
              <a:gd name="connsiteY90" fmla="*/ 443292 h 694837"/>
              <a:gd name="connsiteX91" fmla="*/ 89953 w 855048"/>
              <a:gd name="connsiteY91" fmla="*/ 491476 h 694837"/>
              <a:gd name="connsiteX92" fmla="*/ 85330 w 855048"/>
              <a:gd name="connsiteY92" fmla="*/ 499631 h 694837"/>
              <a:gd name="connsiteX93" fmla="*/ 92701 w 855048"/>
              <a:gd name="connsiteY93" fmla="*/ 513715 h 694837"/>
              <a:gd name="connsiteX94" fmla="*/ 100197 w 855048"/>
              <a:gd name="connsiteY94" fmla="*/ 504202 h 694837"/>
              <a:gd name="connsiteX95" fmla="*/ 116189 w 855048"/>
              <a:gd name="connsiteY95" fmla="*/ 506426 h 694837"/>
              <a:gd name="connsiteX96" fmla="*/ 124934 w 855048"/>
              <a:gd name="connsiteY96" fmla="*/ 501484 h 694837"/>
              <a:gd name="connsiteX97" fmla="*/ 162539 w 855048"/>
              <a:gd name="connsiteY97" fmla="*/ 505561 h 694837"/>
              <a:gd name="connsiteX98" fmla="*/ 161665 w 855048"/>
              <a:gd name="connsiteY98" fmla="*/ 516062 h 694837"/>
              <a:gd name="connsiteX99" fmla="*/ 178281 w 855048"/>
              <a:gd name="connsiteY99" fmla="*/ 531383 h 694837"/>
              <a:gd name="connsiteX100" fmla="*/ 193148 w 855048"/>
              <a:gd name="connsiteY100" fmla="*/ 528788 h 694837"/>
              <a:gd name="connsiteX101" fmla="*/ 207266 w 855048"/>
              <a:gd name="connsiteY101" fmla="*/ 539784 h 694837"/>
              <a:gd name="connsiteX102" fmla="*/ 199145 w 855048"/>
              <a:gd name="connsiteY102" fmla="*/ 560169 h 694837"/>
              <a:gd name="connsiteX103" fmla="*/ 206891 w 855048"/>
              <a:gd name="connsiteY103" fmla="*/ 570671 h 694837"/>
              <a:gd name="connsiteX104" fmla="*/ 213762 w 855048"/>
              <a:gd name="connsiteY104" fmla="*/ 574007 h 694837"/>
              <a:gd name="connsiteX105" fmla="*/ 213637 w 855048"/>
              <a:gd name="connsiteY105" fmla="*/ 591304 h 694837"/>
              <a:gd name="connsiteX106" fmla="*/ 226381 w 855048"/>
              <a:gd name="connsiteY106" fmla="*/ 595998 h 694837"/>
              <a:gd name="connsiteX107" fmla="*/ 234626 w 855048"/>
              <a:gd name="connsiteY107" fmla="*/ 586485 h 694837"/>
              <a:gd name="connsiteX108" fmla="*/ 246495 w 855048"/>
              <a:gd name="connsiteY108" fmla="*/ 585991 h 694837"/>
              <a:gd name="connsiteX109" fmla="*/ 224132 w 855048"/>
              <a:gd name="connsiteY109" fmla="*/ 559428 h 694837"/>
              <a:gd name="connsiteX110" fmla="*/ 232502 w 855048"/>
              <a:gd name="connsiteY110" fmla="*/ 553251 h 694837"/>
              <a:gd name="connsiteX111" fmla="*/ 276479 w 855048"/>
              <a:gd name="connsiteY111" fmla="*/ 574872 h 694837"/>
              <a:gd name="connsiteX112" fmla="*/ 303465 w 855048"/>
              <a:gd name="connsiteY112" fmla="*/ 570547 h 694837"/>
              <a:gd name="connsiteX113" fmla="*/ 299467 w 855048"/>
              <a:gd name="connsiteY113" fmla="*/ 586362 h 694837"/>
              <a:gd name="connsiteX114" fmla="*/ 319956 w 855048"/>
              <a:gd name="connsiteY114" fmla="*/ 601187 h 694837"/>
              <a:gd name="connsiteX115" fmla="*/ 353938 w 855048"/>
              <a:gd name="connsiteY115" fmla="*/ 591921 h 694837"/>
              <a:gd name="connsiteX116" fmla="*/ 381424 w 855048"/>
              <a:gd name="connsiteY116" fmla="*/ 599211 h 694837"/>
              <a:gd name="connsiteX117" fmla="*/ 438768 w 855048"/>
              <a:gd name="connsiteY117" fmla="*/ 636769 h 694837"/>
              <a:gd name="connsiteX118" fmla="*/ 457259 w 855048"/>
              <a:gd name="connsiteY118" fmla="*/ 665433 h 694837"/>
              <a:gd name="connsiteX119" fmla="*/ 473125 w 855048"/>
              <a:gd name="connsiteY119" fmla="*/ 665433 h 694837"/>
              <a:gd name="connsiteX120" fmla="*/ 480746 w 855048"/>
              <a:gd name="connsiteY120" fmla="*/ 655920 h 694837"/>
              <a:gd name="connsiteX121" fmla="*/ 505108 w 855048"/>
              <a:gd name="connsiteY121" fmla="*/ 655549 h 694837"/>
              <a:gd name="connsiteX122" fmla="*/ 519601 w 855048"/>
              <a:gd name="connsiteY122" fmla="*/ 669386 h 694837"/>
              <a:gd name="connsiteX123" fmla="*/ 525723 w 855048"/>
              <a:gd name="connsiteY123" fmla="*/ 692366 h 69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855048" h="694837">
                <a:moveTo>
                  <a:pt x="525723" y="692366"/>
                </a:moveTo>
                <a:lnTo>
                  <a:pt x="530845" y="694837"/>
                </a:lnTo>
                <a:lnTo>
                  <a:pt x="547961" y="693478"/>
                </a:lnTo>
                <a:lnTo>
                  <a:pt x="558205" y="676552"/>
                </a:lnTo>
                <a:lnTo>
                  <a:pt x="572573" y="670992"/>
                </a:lnTo>
                <a:lnTo>
                  <a:pt x="586940" y="672104"/>
                </a:lnTo>
                <a:lnTo>
                  <a:pt x="608804" y="671116"/>
                </a:lnTo>
                <a:lnTo>
                  <a:pt x="622047" y="679517"/>
                </a:lnTo>
                <a:lnTo>
                  <a:pt x="633041" y="667162"/>
                </a:lnTo>
                <a:lnTo>
                  <a:pt x="647908" y="664568"/>
                </a:lnTo>
                <a:lnTo>
                  <a:pt x="662525" y="670498"/>
                </a:lnTo>
                <a:lnTo>
                  <a:pt x="673769" y="664815"/>
                </a:lnTo>
                <a:lnTo>
                  <a:pt x="708376" y="664568"/>
                </a:lnTo>
                <a:lnTo>
                  <a:pt x="747481" y="685201"/>
                </a:lnTo>
                <a:lnTo>
                  <a:pt x="767345" y="685695"/>
                </a:lnTo>
                <a:lnTo>
                  <a:pt x="767470" y="658143"/>
                </a:lnTo>
                <a:lnTo>
                  <a:pt x="762473" y="633434"/>
                </a:lnTo>
                <a:lnTo>
                  <a:pt x="815944" y="568941"/>
                </a:lnTo>
                <a:lnTo>
                  <a:pt x="822691" y="541143"/>
                </a:lnTo>
                <a:lnTo>
                  <a:pt x="835934" y="526193"/>
                </a:lnTo>
                <a:lnTo>
                  <a:pt x="851051" y="524834"/>
                </a:lnTo>
                <a:lnTo>
                  <a:pt x="855049" y="497654"/>
                </a:lnTo>
                <a:lnTo>
                  <a:pt x="847927" y="486781"/>
                </a:lnTo>
                <a:lnTo>
                  <a:pt x="844554" y="472820"/>
                </a:lnTo>
                <a:lnTo>
                  <a:pt x="852175" y="462319"/>
                </a:lnTo>
                <a:lnTo>
                  <a:pt x="829312" y="449470"/>
                </a:lnTo>
                <a:lnTo>
                  <a:pt x="817568" y="423401"/>
                </a:lnTo>
                <a:lnTo>
                  <a:pt x="805450" y="412035"/>
                </a:lnTo>
                <a:lnTo>
                  <a:pt x="802576" y="370399"/>
                </a:lnTo>
                <a:lnTo>
                  <a:pt x="803576" y="346183"/>
                </a:lnTo>
                <a:lnTo>
                  <a:pt x="783836" y="317520"/>
                </a:lnTo>
                <a:lnTo>
                  <a:pt x="775341" y="291081"/>
                </a:lnTo>
                <a:lnTo>
                  <a:pt x="788209" y="268224"/>
                </a:lnTo>
                <a:lnTo>
                  <a:pt x="806449" y="260935"/>
                </a:lnTo>
                <a:lnTo>
                  <a:pt x="803326" y="204102"/>
                </a:lnTo>
                <a:lnTo>
                  <a:pt x="792332" y="195330"/>
                </a:lnTo>
                <a:lnTo>
                  <a:pt x="787459" y="173339"/>
                </a:lnTo>
                <a:lnTo>
                  <a:pt x="774091" y="154930"/>
                </a:lnTo>
                <a:lnTo>
                  <a:pt x="758350" y="113665"/>
                </a:lnTo>
                <a:lnTo>
                  <a:pt x="741359" y="88831"/>
                </a:lnTo>
                <a:lnTo>
                  <a:pt x="741734" y="67210"/>
                </a:lnTo>
                <a:lnTo>
                  <a:pt x="730365" y="34223"/>
                </a:lnTo>
                <a:lnTo>
                  <a:pt x="717746" y="33482"/>
                </a:lnTo>
                <a:lnTo>
                  <a:pt x="696632" y="18038"/>
                </a:lnTo>
                <a:lnTo>
                  <a:pt x="576071" y="34964"/>
                </a:lnTo>
                <a:lnTo>
                  <a:pt x="459383" y="33482"/>
                </a:lnTo>
                <a:lnTo>
                  <a:pt x="448888" y="37929"/>
                </a:lnTo>
                <a:lnTo>
                  <a:pt x="418904" y="66716"/>
                </a:lnTo>
                <a:lnTo>
                  <a:pt x="392793" y="74006"/>
                </a:lnTo>
                <a:lnTo>
                  <a:pt x="385547" y="68075"/>
                </a:lnTo>
                <a:lnTo>
                  <a:pt x="411408" y="52508"/>
                </a:lnTo>
                <a:lnTo>
                  <a:pt x="434521" y="26810"/>
                </a:lnTo>
                <a:lnTo>
                  <a:pt x="426275" y="27922"/>
                </a:lnTo>
                <a:lnTo>
                  <a:pt x="407660" y="47937"/>
                </a:lnTo>
                <a:lnTo>
                  <a:pt x="374302" y="65110"/>
                </a:lnTo>
                <a:lnTo>
                  <a:pt x="334324" y="55844"/>
                </a:lnTo>
                <a:lnTo>
                  <a:pt x="325078" y="34964"/>
                </a:lnTo>
                <a:lnTo>
                  <a:pt x="330576" y="19521"/>
                </a:lnTo>
                <a:lnTo>
                  <a:pt x="351564" y="21374"/>
                </a:lnTo>
                <a:lnTo>
                  <a:pt x="361559" y="27181"/>
                </a:lnTo>
                <a:lnTo>
                  <a:pt x="361934" y="21003"/>
                </a:lnTo>
                <a:lnTo>
                  <a:pt x="335823" y="9760"/>
                </a:lnTo>
                <a:lnTo>
                  <a:pt x="288723" y="0"/>
                </a:lnTo>
                <a:lnTo>
                  <a:pt x="253491" y="20138"/>
                </a:lnTo>
                <a:lnTo>
                  <a:pt x="227005" y="19150"/>
                </a:lnTo>
                <a:lnTo>
                  <a:pt x="200394" y="30640"/>
                </a:lnTo>
                <a:lnTo>
                  <a:pt x="184777" y="53991"/>
                </a:lnTo>
                <a:lnTo>
                  <a:pt x="158416" y="55844"/>
                </a:lnTo>
                <a:lnTo>
                  <a:pt x="142675" y="74994"/>
                </a:lnTo>
                <a:lnTo>
                  <a:pt x="143299" y="89449"/>
                </a:lnTo>
                <a:lnTo>
                  <a:pt x="114814" y="91302"/>
                </a:lnTo>
                <a:lnTo>
                  <a:pt x="72837" y="116506"/>
                </a:lnTo>
                <a:lnTo>
                  <a:pt x="43727" y="119842"/>
                </a:lnTo>
                <a:lnTo>
                  <a:pt x="34357" y="142204"/>
                </a:lnTo>
                <a:lnTo>
                  <a:pt x="28360" y="164443"/>
                </a:lnTo>
                <a:lnTo>
                  <a:pt x="22238" y="168150"/>
                </a:lnTo>
                <a:lnTo>
                  <a:pt x="23987" y="176922"/>
                </a:lnTo>
                <a:lnTo>
                  <a:pt x="14867" y="177910"/>
                </a:lnTo>
                <a:lnTo>
                  <a:pt x="26486" y="218187"/>
                </a:lnTo>
                <a:lnTo>
                  <a:pt x="25237" y="248333"/>
                </a:lnTo>
                <a:lnTo>
                  <a:pt x="0" y="262541"/>
                </a:lnTo>
                <a:lnTo>
                  <a:pt x="500" y="274896"/>
                </a:lnTo>
                <a:lnTo>
                  <a:pt x="30234" y="303806"/>
                </a:lnTo>
                <a:lnTo>
                  <a:pt x="27735" y="322215"/>
                </a:lnTo>
                <a:lnTo>
                  <a:pt x="41728" y="338647"/>
                </a:lnTo>
                <a:lnTo>
                  <a:pt x="42353" y="352361"/>
                </a:lnTo>
                <a:lnTo>
                  <a:pt x="51098" y="371016"/>
                </a:lnTo>
                <a:lnTo>
                  <a:pt x="44477" y="386954"/>
                </a:lnTo>
                <a:lnTo>
                  <a:pt x="62592" y="423525"/>
                </a:lnTo>
                <a:lnTo>
                  <a:pt x="75085" y="429702"/>
                </a:lnTo>
                <a:lnTo>
                  <a:pt x="86579" y="443292"/>
                </a:lnTo>
                <a:lnTo>
                  <a:pt x="89953" y="491476"/>
                </a:lnTo>
                <a:lnTo>
                  <a:pt x="85330" y="499631"/>
                </a:lnTo>
                <a:lnTo>
                  <a:pt x="92701" y="513715"/>
                </a:lnTo>
                <a:lnTo>
                  <a:pt x="100197" y="504202"/>
                </a:lnTo>
                <a:lnTo>
                  <a:pt x="116189" y="506426"/>
                </a:lnTo>
                <a:lnTo>
                  <a:pt x="124934" y="501484"/>
                </a:lnTo>
                <a:lnTo>
                  <a:pt x="162539" y="505561"/>
                </a:lnTo>
                <a:lnTo>
                  <a:pt x="161665" y="516062"/>
                </a:lnTo>
                <a:lnTo>
                  <a:pt x="178281" y="531383"/>
                </a:lnTo>
                <a:lnTo>
                  <a:pt x="193148" y="528788"/>
                </a:lnTo>
                <a:lnTo>
                  <a:pt x="207266" y="539784"/>
                </a:lnTo>
                <a:lnTo>
                  <a:pt x="199145" y="560169"/>
                </a:lnTo>
                <a:lnTo>
                  <a:pt x="206891" y="570671"/>
                </a:lnTo>
                <a:lnTo>
                  <a:pt x="213762" y="574007"/>
                </a:lnTo>
                <a:lnTo>
                  <a:pt x="213637" y="591304"/>
                </a:lnTo>
                <a:lnTo>
                  <a:pt x="226381" y="595998"/>
                </a:lnTo>
                <a:lnTo>
                  <a:pt x="234626" y="586485"/>
                </a:lnTo>
                <a:lnTo>
                  <a:pt x="246495" y="585991"/>
                </a:lnTo>
                <a:lnTo>
                  <a:pt x="224132" y="559428"/>
                </a:lnTo>
                <a:lnTo>
                  <a:pt x="232502" y="553251"/>
                </a:lnTo>
                <a:lnTo>
                  <a:pt x="276479" y="574872"/>
                </a:lnTo>
                <a:lnTo>
                  <a:pt x="303465" y="570547"/>
                </a:lnTo>
                <a:lnTo>
                  <a:pt x="299467" y="586362"/>
                </a:lnTo>
                <a:lnTo>
                  <a:pt x="319956" y="601187"/>
                </a:lnTo>
                <a:lnTo>
                  <a:pt x="353938" y="591921"/>
                </a:lnTo>
                <a:lnTo>
                  <a:pt x="381424" y="599211"/>
                </a:lnTo>
                <a:lnTo>
                  <a:pt x="438768" y="636769"/>
                </a:lnTo>
                <a:lnTo>
                  <a:pt x="457259" y="665433"/>
                </a:lnTo>
                <a:lnTo>
                  <a:pt x="473125" y="665433"/>
                </a:lnTo>
                <a:lnTo>
                  <a:pt x="480746" y="655920"/>
                </a:lnTo>
                <a:lnTo>
                  <a:pt x="505108" y="655549"/>
                </a:lnTo>
                <a:lnTo>
                  <a:pt x="519601" y="669386"/>
                </a:lnTo>
                <a:lnTo>
                  <a:pt x="525723" y="692366"/>
                </a:lnTo>
                <a:close/>
              </a:path>
            </a:pathLst>
          </a:custGeom>
          <a:solidFill>
            <a:schemeClr val="bg2"/>
          </a:solidFill>
          <a:ln w="7056" cap="flat">
            <a:solidFill>
              <a:schemeClr val="accent4"/>
            </a:solidFill>
            <a:prstDash val="solid"/>
            <a:miter/>
          </a:ln>
        </p:spPr>
        <p:txBody>
          <a:bodyPr rtlCol="0" anchor="ctr"/>
          <a:lstStyle/>
          <a:p>
            <a:endParaRPr lang="en-GB"/>
          </a:p>
        </p:txBody>
      </p:sp>
      <p:sp>
        <p:nvSpPr>
          <p:cNvPr id="41" name="Graphic 148">
            <a:extLst>
              <a:ext uri="{FF2B5EF4-FFF2-40B4-BE49-F238E27FC236}">
                <a16:creationId xmlns:a16="http://schemas.microsoft.com/office/drawing/2014/main" id="{6AD9816D-ACE2-7FBF-807E-39106FB9DD91}"/>
              </a:ext>
            </a:extLst>
          </p:cNvPr>
          <p:cNvSpPr/>
          <p:nvPr/>
        </p:nvSpPr>
        <p:spPr>
          <a:xfrm rot="1141104">
            <a:off x="8168160" y="2557345"/>
            <a:ext cx="456883" cy="328639"/>
          </a:xfrm>
          <a:custGeom>
            <a:avLst/>
            <a:gdLst>
              <a:gd name="connsiteX0" fmla="*/ 155668 w 456883"/>
              <a:gd name="connsiteY0" fmla="*/ 242279 h 328639"/>
              <a:gd name="connsiteX1" fmla="*/ 151295 w 456883"/>
              <a:gd name="connsiteY1" fmla="*/ 210527 h 328639"/>
              <a:gd name="connsiteX2" fmla="*/ 161165 w 456883"/>
              <a:gd name="connsiteY2" fmla="*/ 195824 h 328639"/>
              <a:gd name="connsiteX3" fmla="*/ 151545 w 456883"/>
              <a:gd name="connsiteY3" fmla="*/ 186311 h 328639"/>
              <a:gd name="connsiteX4" fmla="*/ 140176 w 456883"/>
              <a:gd name="connsiteY4" fmla="*/ 184211 h 328639"/>
              <a:gd name="connsiteX5" fmla="*/ 136053 w 456883"/>
              <a:gd name="connsiteY5" fmla="*/ 166667 h 328639"/>
              <a:gd name="connsiteX6" fmla="*/ 123310 w 456883"/>
              <a:gd name="connsiteY6" fmla="*/ 160737 h 328639"/>
              <a:gd name="connsiteX7" fmla="*/ 89828 w 456883"/>
              <a:gd name="connsiteY7" fmla="*/ 170003 h 328639"/>
              <a:gd name="connsiteX8" fmla="*/ 65590 w 456883"/>
              <a:gd name="connsiteY8" fmla="*/ 159254 h 328639"/>
              <a:gd name="connsiteX9" fmla="*/ 38979 w 456883"/>
              <a:gd name="connsiteY9" fmla="*/ 126267 h 328639"/>
              <a:gd name="connsiteX10" fmla="*/ 7996 w 456883"/>
              <a:gd name="connsiteY10" fmla="*/ 134297 h 328639"/>
              <a:gd name="connsiteX11" fmla="*/ 3248 w 456883"/>
              <a:gd name="connsiteY11" fmla="*/ 131950 h 328639"/>
              <a:gd name="connsiteX12" fmla="*/ 10245 w 456883"/>
              <a:gd name="connsiteY12" fmla="*/ 118483 h 328639"/>
              <a:gd name="connsiteX13" fmla="*/ 3123 w 456883"/>
              <a:gd name="connsiteY13" fmla="*/ 96121 h 328639"/>
              <a:gd name="connsiteX14" fmla="*/ 0 w 456883"/>
              <a:gd name="connsiteY14" fmla="*/ 69187 h 328639"/>
              <a:gd name="connsiteX15" fmla="*/ 15992 w 456883"/>
              <a:gd name="connsiteY15" fmla="*/ 63875 h 328639"/>
              <a:gd name="connsiteX16" fmla="*/ 22113 w 456883"/>
              <a:gd name="connsiteY16" fmla="*/ 45219 h 328639"/>
              <a:gd name="connsiteX17" fmla="*/ 46975 w 456883"/>
              <a:gd name="connsiteY17" fmla="*/ 20756 h 328639"/>
              <a:gd name="connsiteX18" fmla="*/ 87954 w 456883"/>
              <a:gd name="connsiteY18" fmla="*/ 9143 h 328639"/>
              <a:gd name="connsiteX19" fmla="*/ 120062 w 456883"/>
              <a:gd name="connsiteY19" fmla="*/ 10872 h 328639"/>
              <a:gd name="connsiteX20" fmla="*/ 141800 w 456883"/>
              <a:gd name="connsiteY20" fmla="*/ 8648 h 328639"/>
              <a:gd name="connsiteX21" fmla="*/ 154169 w 456883"/>
              <a:gd name="connsiteY21" fmla="*/ 17915 h 328639"/>
              <a:gd name="connsiteX22" fmla="*/ 171410 w 456883"/>
              <a:gd name="connsiteY22" fmla="*/ 3459 h 328639"/>
              <a:gd name="connsiteX23" fmla="*/ 189775 w 456883"/>
              <a:gd name="connsiteY23" fmla="*/ 0 h 328639"/>
              <a:gd name="connsiteX24" fmla="*/ 194272 w 456883"/>
              <a:gd name="connsiteY24" fmla="*/ 10996 h 328639"/>
              <a:gd name="connsiteX25" fmla="*/ 210139 w 456883"/>
              <a:gd name="connsiteY25" fmla="*/ 10996 h 328639"/>
              <a:gd name="connsiteX26" fmla="*/ 226131 w 456883"/>
              <a:gd name="connsiteY26" fmla="*/ 27304 h 328639"/>
              <a:gd name="connsiteX27" fmla="*/ 254491 w 456883"/>
              <a:gd name="connsiteY27" fmla="*/ 25451 h 328639"/>
              <a:gd name="connsiteX28" fmla="*/ 263236 w 456883"/>
              <a:gd name="connsiteY28" fmla="*/ 29034 h 328639"/>
              <a:gd name="connsiteX29" fmla="*/ 292096 w 456883"/>
              <a:gd name="connsiteY29" fmla="*/ 8772 h 328639"/>
              <a:gd name="connsiteX30" fmla="*/ 325203 w 456883"/>
              <a:gd name="connsiteY30" fmla="*/ 22486 h 328639"/>
              <a:gd name="connsiteX31" fmla="*/ 353813 w 456883"/>
              <a:gd name="connsiteY31" fmla="*/ 25822 h 328639"/>
              <a:gd name="connsiteX32" fmla="*/ 378800 w 456883"/>
              <a:gd name="connsiteY32" fmla="*/ 51643 h 328639"/>
              <a:gd name="connsiteX33" fmla="*/ 398789 w 456883"/>
              <a:gd name="connsiteY33" fmla="*/ 53991 h 328639"/>
              <a:gd name="connsiteX34" fmla="*/ 421153 w 456883"/>
              <a:gd name="connsiteY34" fmla="*/ 81171 h 328639"/>
              <a:gd name="connsiteX35" fmla="*/ 447639 w 456883"/>
              <a:gd name="connsiteY35" fmla="*/ 81418 h 328639"/>
              <a:gd name="connsiteX36" fmla="*/ 456884 w 456883"/>
              <a:gd name="connsiteY36" fmla="*/ 88831 h 328639"/>
              <a:gd name="connsiteX37" fmla="*/ 437019 w 456883"/>
              <a:gd name="connsiteY37" fmla="*/ 117124 h 328639"/>
              <a:gd name="connsiteX38" fmla="*/ 451886 w 456883"/>
              <a:gd name="connsiteY38" fmla="*/ 123054 h 328639"/>
              <a:gd name="connsiteX39" fmla="*/ 452636 w 456883"/>
              <a:gd name="connsiteY39" fmla="*/ 141340 h 328639"/>
              <a:gd name="connsiteX40" fmla="*/ 421527 w 456883"/>
              <a:gd name="connsiteY40" fmla="*/ 157154 h 328639"/>
              <a:gd name="connsiteX41" fmla="*/ 405661 w 456883"/>
              <a:gd name="connsiteY41" fmla="*/ 187917 h 328639"/>
              <a:gd name="connsiteX42" fmla="*/ 392418 w 456883"/>
              <a:gd name="connsiteY42" fmla="*/ 191130 h 328639"/>
              <a:gd name="connsiteX43" fmla="*/ 388420 w 456883"/>
              <a:gd name="connsiteY43" fmla="*/ 218928 h 328639"/>
              <a:gd name="connsiteX44" fmla="*/ 412782 w 456883"/>
              <a:gd name="connsiteY44" fmla="*/ 229677 h 328639"/>
              <a:gd name="connsiteX45" fmla="*/ 413532 w 456883"/>
              <a:gd name="connsiteY45" fmla="*/ 249321 h 328639"/>
              <a:gd name="connsiteX46" fmla="*/ 393667 w 456883"/>
              <a:gd name="connsiteY46" fmla="*/ 250186 h 328639"/>
              <a:gd name="connsiteX47" fmla="*/ 386671 w 456883"/>
              <a:gd name="connsiteY47" fmla="*/ 239931 h 328639"/>
              <a:gd name="connsiteX48" fmla="*/ 370929 w 456883"/>
              <a:gd name="connsiteY48" fmla="*/ 245862 h 328639"/>
              <a:gd name="connsiteX49" fmla="*/ 362684 w 456883"/>
              <a:gd name="connsiteY49" fmla="*/ 269830 h 328639"/>
              <a:gd name="connsiteX50" fmla="*/ 336322 w 456883"/>
              <a:gd name="connsiteY50" fmla="*/ 272177 h 328639"/>
              <a:gd name="connsiteX51" fmla="*/ 346692 w 456883"/>
              <a:gd name="connsiteY51" fmla="*/ 297999 h 328639"/>
              <a:gd name="connsiteX52" fmla="*/ 330950 w 456883"/>
              <a:gd name="connsiteY52" fmla="*/ 299976 h 328639"/>
              <a:gd name="connsiteX53" fmla="*/ 307588 w 456883"/>
              <a:gd name="connsiteY53" fmla="*/ 312825 h 328639"/>
              <a:gd name="connsiteX54" fmla="*/ 283226 w 456883"/>
              <a:gd name="connsiteY54" fmla="*/ 302076 h 328639"/>
              <a:gd name="connsiteX55" fmla="*/ 250618 w 456883"/>
              <a:gd name="connsiteY55" fmla="*/ 313937 h 328639"/>
              <a:gd name="connsiteX56" fmla="*/ 230878 w 456883"/>
              <a:gd name="connsiteY56" fmla="*/ 328639 h 328639"/>
              <a:gd name="connsiteX57" fmla="*/ 218510 w 456883"/>
              <a:gd name="connsiteY57" fmla="*/ 310601 h 328639"/>
              <a:gd name="connsiteX58" fmla="*/ 218884 w 456883"/>
              <a:gd name="connsiteY58" fmla="*/ 288980 h 328639"/>
              <a:gd name="connsiteX59" fmla="*/ 207640 w 456883"/>
              <a:gd name="connsiteY59" fmla="*/ 255993 h 328639"/>
              <a:gd name="connsiteX60" fmla="*/ 194897 w 456883"/>
              <a:gd name="connsiteY60" fmla="*/ 255251 h 328639"/>
              <a:gd name="connsiteX61" fmla="*/ 173783 w 456883"/>
              <a:gd name="connsiteY61" fmla="*/ 239808 h 328639"/>
              <a:gd name="connsiteX62" fmla="*/ 155668 w 456883"/>
              <a:gd name="connsiteY62" fmla="*/ 242279 h 32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56883" h="328639">
                <a:moveTo>
                  <a:pt x="155668" y="242279"/>
                </a:moveTo>
                <a:lnTo>
                  <a:pt x="151295" y="210527"/>
                </a:lnTo>
                <a:lnTo>
                  <a:pt x="161165" y="195824"/>
                </a:lnTo>
                <a:lnTo>
                  <a:pt x="151545" y="186311"/>
                </a:lnTo>
                <a:lnTo>
                  <a:pt x="140176" y="184211"/>
                </a:lnTo>
                <a:lnTo>
                  <a:pt x="136053" y="166667"/>
                </a:lnTo>
                <a:lnTo>
                  <a:pt x="123310" y="160737"/>
                </a:lnTo>
                <a:lnTo>
                  <a:pt x="89828" y="170003"/>
                </a:lnTo>
                <a:lnTo>
                  <a:pt x="65590" y="159254"/>
                </a:lnTo>
                <a:lnTo>
                  <a:pt x="38979" y="126267"/>
                </a:lnTo>
                <a:lnTo>
                  <a:pt x="7996" y="134297"/>
                </a:lnTo>
                <a:lnTo>
                  <a:pt x="3248" y="131950"/>
                </a:lnTo>
                <a:lnTo>
                  <a:pt x="10245" y="118483"/>
                </a:lnTo>
                <a:lnTo>
                  <a:pt x="3123" y="96121"/>
                </a:lnTo>
                <a:lnTo>
                  <a:pt x="0" y="69187"/>
                </a:lnTo>
                <a:lnTo>
                  <a:pt x="15992" y="63875"/>
                </a:lnTo>
                <a:lnTo>
                  <a:pt x="22113" y="45219"/>
                </a:lnTo>
                <a:lnTo>
                  <a:pt x="46975" y="20756"/>
                </a:lnTo>
                <a:lnTo>
                  <a:pt x="87954" y="9143"/>
                </a:lnTo>
                <a:lnTo>
                  <a:pt x="120062" y="10872"/>
                </a:lnTo>
                <a:lnTo>
                  <a:pt x="141800" y="8648"/>
                </a:lnTo>
                <a:lnTo>
                  <a:pt x="154169" y="17915"/>
                </a:lnTo>
                <a:lnTo>
                  <a:pt x="171410" y="3459"/>
                </a:lnTo>
                <a:lnTo>
                  <a:pt x="189775" y="0"/>
                </a:lnTo>
                <a:lnTo>
                  <a:pt x="194272" y="10996"/>
                </a:lnTo>
                <a:lnTo>
                  <a:pt x="210139" y="10996"/>
                </a:lnTo>
                <a:lnTo>
                  <a:pt x="226131" y="27304"/>
                </a:lnTo>
                <a:lnTo>
                  <a:pt x="254491" y="25451"/>
                </a:lnTo>
                <a:lnTo>
                  <a:pt x="263236" y="29034"/>
                </a:lnTo>
                <a:lnTo>
                  <a:pt x="292096" y="8772"/>
                </a:lnTo>
                <a:lnTo>
                  <a:pt x="325203" y="22486"/>
                </a:lnTo>
                <a:lnTo>
                  <a:pt x="353813" y="25822"/>
                </a:lnTo>
                <a:lnTo>
                  <a:pt x="378800" y="51643"/>
                </a:lnTo>
                <a:lnTo>
                  <a:pt x="398789" y="53991"/>
                </a:lnTo>
                <a:lnTo>
                  <a:pt x="421153" y="81171"/>
                </a:lnTo>
                <a:lnTo>
                  <a:pt x="447639" y="81418"/>
                </a:lnTo>
                <a:lnTo>
                  <a:pt x="456884" y="88831"/>
                </a:lnTo>
                <a:lnTo>
                  <a:pt x="437019" y="117124"/>
                </a:lnTo>
                <a:lnTo>
                  <a:pt x="451886" y="123054"/>
                </a:lnTo>
                <a:lnTo>
                  <a:pt x="452636" y="141340"/>
                </a:lnTo>
                <a:lnTo>
                  <a:pt x="421527" y="157154"/>
                </a:lnTo>
                <a:lnTo>
                  <a:pt x="405661" y="187917"/>
                </a:lnTo>
                <a:lnTo>
                  <a:pt x="392418" y="191130"/>
                </a:lnTo>
                <a:lnTo>
                  <a:pt x="388420" y="218928"/>
                </a:lnTo>
                <a:lnTo>
                  <a:pt x="412782" y="229677"/>
                </a:lnTo>
                <a:lnTo>
                  <a:pt x="413532" y="249321"/>
                </a:lnTo>
                <a:lnTo>
                  <a:pt x="393667" y="250186"/>
                </a:lnTo>
                <a:lnTo>
                  <a:pt x="386671" y="239931"/>
                </a:lnTo>
                <a:lnTo>
                  <a:pt x="370929" y="245862"/>
                </a:lnTo>
                <a:lnTo>
                  <a:pt x="362684" y="269830"/>
                </a:lnTo>
                <a:lnTo>
                  <a:pt x="336322" y="272177"/>
                </a:lnTo>
                <a:lnTo>
                  <a:pt x="346692" y="297999"/>
                </a:lnTo>
                <a:lnTo>
                  <a:pt x="330950" y="299976"/>
                </a:lnTo>
                <a:lnTo>
                  <a:pt x="307588" y="312825"/>
                </a:lnTo>
                <a:lnTo>
                  <a:pt x="283226" y="302076"/>
                </a:lnTo>
                <a:lnTo>
                  <a:pt x="250618" y="313937"/>
                </a:lnTo>
                <a:lnTo>
                  <a:pt x="230878" y="328639"/>
                </a:lnTo>
                <a:lnTo>
                  <a:pt x="218510" y="310601"/>
                </a:lnTo>
                <a:lnTo>
                  <a:pt x="218884" y="288980"/>
                </a:lnTo>
                <a:lnTo>
                  <a:pt x="207640" y="255993"/>
                </a:lnTo>
                <a:lnTo>
                  <a:pt x="194897" y="255251"/>
                </a:lnTo>
                <a:lnTo>
                  <a:pt x="173783" y="239808"/>
                </a:lnTo>
                <a:lnTo>
                  <a:pt x="155668" y="242279"/>
                </a:lnTo>
                <a:close/>
              </a:path>
            </a:pathLst>
          </a:custGeom>
          <a:solidFill>
            <a:schemeClr val="bg2"/>
          </a:solidFill>
          <a:ln w="7088" cap="flat">
            <a:solidFill>
              <a:schemeClr val="accent4"/>
            </a:solidFill>
            <a:prstDash val="solid"/>
            <a:miter/>
          </a:ln>
        </p:spPr>
        <p:txBody>
          <a:bodyPr rtlCol="0" anchor="ctr"/>
          <a:lstStyle/>
          <a:p>
            <a:endParaRPr lang="en-GB"/>
          </a:p>
        </p:txBody>
      </p:sp>
      <p:sp>
        <p:nvSpPr>
          <p:cNvPr id="42" name="Graphic 149">
            <a:extLst>
              <a:ext uri="{FF2B5EF4-FFF2-40B4-BE49-F238E27FC236}">
                <a16:creationId xmlns:a16="http://schemas.microsoft.com/office/drawing/2014/main" id="{612E1CD3-6A6E-C43B-FD77-54143888F7CD}"/>
              </a:ext>
            </a:extLst>
          </p:cNvPr>
          <p:cNvSpPr/>
          <p:nvPr/>
        </p:nvSpPr>
        <p:spPr>
          <a:xfrm rot="1141104">
            <a:off x="8214219" y="2362845"/>
            <a:ext cx="586440" cy="307883"/>
          </a:xfrm>
          <a:custGeom>
            <a:avLst/>
            <a:gdLst>
              <a:gd name="connsiteX0" fmla="*/ 586441 w 586440"/>
              <a:gd name="connsiteY0" fmla="*/ 231531 h 307883"/>
              <a:gd name="connsiteX1" fmla="*/ 582193 w 586440"/>
              <a:gd name="connsiteY1" fmla="*/ 206079 h 307883"/>
              <a:gd name="connsiteX2" fmla="*/ 568950 w 586440"/>
              <a:gd name="connsiteY2" fmla="*/ 189524 h 307883"/>
              <a:gd name="connsiteX3" fmla="*/ 557831 w 586440"/>
              <a:gd name="connsiteY3" fmla="*/ 163826 h 307883"/>
              <a:gd name="connsiteX4" fmla="*/ 551459 w 586440"/>
              <a:gd name="connsiteY4" fmla="*/ 155548 h 307883"/>
              <a:gd name="connsiteX5" fmla="*/ 538716 w 586440"/>
              <a:gd name="connsiteY5" fmla="*/ 133803 h 307883"/>
              <a:gd name="connsiteX6" fmla="*/ 540840 w 586440"/>
              <a:gd name="connsiteY6" fmla="*/ 122066 h 307883"/>
              <a:gd name="connsiteX7" fmla="*/ 534843 w 586440"/>
              <a:gd name="connsiteY7" fmla="*/ 107240 h 307883"/>
              <a:gd name="connsiteX8" fmla="*/ 526598 w 586440"/>
              <a:gd name="connsiteY8" fmla="*/ 100322 h 307883"/>
              <a:gd name="connsiteX9" fmla="*/ 530221 w 586440"/>
              <a:gd name="connsiteY9" fmla="*/ 91673 h 307883"/>
              <a:gd name="connsiteX10" fmla="*/ 526847 w 586440"/>
              <a:gd name="connsiteY10" fmla="*/ 76106 h 307883"/>
              <a:gd name="connsiteX11" fmla="*/ 480997 w 586440"/>
              <a:gd name="connsiteY11" fmla="*/ 71535 h 307883"/>
              <a:gd name="connsiteX12" fmla="*/ 449138 w 586440"/>
              <a:gd name="connsiteY12" fmla="*/ 85990 h 307883"/>
              <a:gd name="connsiteX13" fmla="*/ 434396 w 586440"/>
              <a:gd name="connsiteY13" fmla="*/ 66963 h 307883"/>
              <a:gd name="connsiteX14" fmla="*/ 416905 w 586440"/>
              <a:gd name="connsiteY14" fmla="*/ 59180 h 307883"/>
              <a:gd name="connsiteX15" fmla="*/ 406786 w 586440"/>
              <a:gd name="connsiteY15" fmla="*/ 38671 h 307883"/>
              <a:gd name="connsiteX16" fmla="*/ 377551 w 586440"/>
              <a:gd name="connsiteY16" fmla="*/ 22239 h 307883"/>
              <a:gd name="connsiteX17" fmla="*/ 365557 w 586440"/>
              <a:gd name="connsiteY17" fmla="*/ 21992 h 307883"/>
              <a:gd name="connsiteX18" fmla="*/ 358436 w 586440"/>
              <a:gd name="connsiteY18" fmla="*/ 9266 h 307883"/>
              <a:gd name="connsiteX19" fmla="*/ 344818 w 586440"/>
              <a:gd name="connsiteY19" fmla="*/ 0 h 307883"/>
              <a:gd name="connsiteX20" fmla="*/ 341445 w 586440"/>
              <a:gd name="connsiteY20" fmla="*/ 15938 h 307883"/>
              <a:gd name="connsiteX21" fmla="*/ 329701 w 586440"/>
              <a:gd name="connsiteY21" fmla="*/ 17667 h 307883"/>
              <a:gd name="connsiteX22" fmla="*/ 305714 w 586440"/>
              <a:gd name="connsiteY22" fmla="*/ 1606 h 307883"/>
              <a:gd name="connsiteX23" fmla="*/ 284225 w 586440"/>
              <a:gd name="connsiteY23" fmla="*/ 7784 h 307883"/>
              <a:gd name="connsiteX24" fmla="*/ 256490 w 586440"/>
              <a:gd name="connsiteY24" fmla="*/ 25575 h 307883"/>
              <a:gd name="connsiteX25" fmla="*/ 246995 w 586440"/>
              <a:gd name="connsiteY25" fmla="*/ 29405 h 307883"/>
              <a:gd name="connsiteX26" fmla="*/ 247994 w 586440"/>
              <a:gd name="connsiteY26" fmla="*/ 52138 h 307883"/>
              <a:gd name="connsiteX27" fmla="*/ 257989 w 586440"/>
              <a:gd name="connsiteY27" fmla="*/ 91550 h 307883"/>
              <a:gd name="connsiteX28" fmla="*/ 248994 w 586440"/>
              <a:gd name="connsiteY28" fmla="*/ 123549 h 307883"/>
              <a:gd name="connsiteX29" fmla="*/ 221133 w 586440"/>
              <a:gd name="connsiteY29" fmla="*/ 155672 h 307883"/>
              <a:gd name="connsiteX30" fmla="*/ 199645 w 586440"/>
              <a:gd name="connsiteY30" fmla="*/ 156660 h 307883"/>
              <a:gd name="connsiteX31" fmla="*/ 177282 w 586440"/>
              <a:gd name="connsiteY31" fmla="*/ 137016 h 307883"/>
              <a:gd name="connsiteX32" fmla="*/ 173783 w 586440"/>
              <a:gd name="connsiteY32" fmla="*/ 121325 h 307883"/>
              <a:gd name="connsiteX33" fmla="*/ 128807 w 586440"/>
              <a:gd name="connsiteY33" fmla="*/ 77836 h 307883"/>
              <a:gd name="connsiteX34" fmla="*/ 126184 w 586440"/>
              <a:gd name="connsiteY34" fmla="*/ 51149 h 307883"/>
              <a:gd name="connsiteX35" fmla="*/ 118563 w 586440"/>
              <a:gd name="connsiteY35" fmla="*/ 52138 h 307883"/>
              <a:gd name="connsiteX36" fmla="*/ 103445 w 586440"/>
              <a:gd name="connsiteY36" fmla="*/ 68570 h 307883"/>
              <a:gd name="connsiteX37" fmla="*/ 77959 w 586440"/>
              <a:gd name="connsiteY37" fmla="*/ 75859 h 307883"/>
              <a:gd name="connsiteX38" fmla="*/ 69338 w 586440"/>
              <a:gd name="connsiteY38" fmla="*/ 84507 h 307883"/>
              <a:gd name="connsiteX39" fmla="*/ 50598 w 586440"/>
              <a:gd name="connsiteY39" fmla="*/ 86731 h 307883"/>
              <a:gd name="connsiteX40" fmla="*/ 37730 w 586440"/>
              <a:gd name="connsiteY40" fmla="*/ 107858 h 307883"/>
              <a:gd name="connsiteX41" fmla="*/ 40604 w 586440"/>
              <a:gd name="connsiteY41" fmla="*/ 126267 h 307883"/>
              <a:gd name="connsiteX42" fmla="*/ 32733 w 586440"/>
              <a:gd name="connsiteY42" fmla="*/ 123919 h 307883"/>
              <a:gd name="connsiteX43" fmla="*/ 34857 w 586440"/>
              <a:gd name="connsiteY43" fmla="*/ 155424 h 307883"/>
              <a:gd name="connsiteX44" fmla="*/ 11744 w 586440"/>
              <a:gd name="connsiteY44" fmla="*/ 184582 h 307883"/>
              <a:gd name="connsiteX45" fmla="*/ 10494 w 586440"/>
              <a:gd name="connsiteY45" fmla="*/ 202497 h 307883"/>
              <a:gd name="connsiteX46" fmla="*/ 12618 w 586440"/>
              <a:gd name="connsiteY46" fmla="*/ 219670 h 307883"/>
              <a:gd name="connsiteX47" fmla="*/ 0 w 586440"/>
              <a:gd name="connsiteY47" fmla="*/ 232519 h 307883"/>
              <a:gd name="connsiteX48" fmla="*/ 12244 w 586440"/>
              <a:gd name="connsiteY48" fmla="*/ 275267 h 307883"/>
              <a:gd name="connsiteX49" fmla="*/ 23113 w 586440"/>
              <a:gd name="connsiteY49" fmla="*/ 285151 h 307883"/>
              <a:gd name="connsiteX50" fmla="*/ 23488 w 586440"/>
              <a:gd name="connsiteY50" fmla="*/ 288239 h 307883"/>
              <a:gd name="connsiteX51" fmla="*/ 39354 w 586440"/>
              <a:gd name="connsiteY51" fmla="*/ 282927 h 307883"/>
              <a:gd name="connsiteX52" fmla="*/ 45601 w 586440"/>
              <a:gd name="connsiteY52" fmla="*/ 264271 h 307883"/>
              <a:gd name="connsiteX53" fmla="*/ 70463 w 586440"/>
              <a:gd name="connsiteY53" fmla="*/ 239808 h 307883"/>
              <a:gd name="connsiteX54" fmla="*/ 111316 w 586440"/>
              <a:gd name="connsiteY54" fmla="*/ 228195 h 307883"/>
              <a:gd name="connsiteX55" fmla="*/ 143549 w 586440"/>
              <a:gd name="connsiteY55" fmla="*/ 229924 h 307883"/>
              <a:gd name="connsiteX56" fmla="*/ 165288 w 586440"/>
              <a:gd name="connsiteY56" fmla="*/ 227701 h 307883"/>
              <a:gd name="connsiteX57" fmla="*/ 177656 w 586440"/>
              <a:gd name="connsiteY57" fmla="*/ 236967 h 307883"/>
              <a:gd name="connsiteX58" fmla="*/ 194772 w 586440"/>
              <a:gd name="connsiteY58" fmla="*/ 222511 h 307883"/>
              <a:gd name="connsiteX59" fmla="*/ 213263 w 586440"/>
              <a:gd name="connsiteY59" fmla="*/ 219052 h 307883"/>
              <a:gd name="connsiteX60" fmla="*/ 217635 w 586440"/>
              <a:gd name="connsiteY60" fmla="*/ 230048 h 307883"/>
              <a:gd name="connsiteX61" fmla="*/ 233627 w 586440"/>
              <a:gd name="connsiteY61" fmla="*/ 230048 h 307883"/>
              <a:gd name="connsiteX62" fmla="*/ 249494 w 586440"/>
              <a:gd name="connsiteY62" fmla="*/ 246356 h 307883"/>
              <a:gd name="connsiteX63" fmla="*/ 277979 w 586440"/>
              <a:gd name="connsiteY63" fmla="*/ 244503 h 307883"/>
              <a:gd name="connsiteX64" fmla="*/ 286724 w 586440"/>
              <a:gd name="connsiteY64" fmla="*/ 248086 h 307883"/>
              <a:gd name="connsiteX65" fmla="*/ 315584 w 586440"/>
              <a:gd name="connsiteY65" fmla="*/ 227824 h 307883"/>
              <a:gd name="connsiteX66" fmla="*/ 348691 w 586440"/>
              <a:gd name="connsiteY66" fmla="*/ 241538 h 307883"/>
              <a:gd name="connsiteX67" fmla="*/ 377301 w 586440"/>
              <a:gd name="connsiteY67" fmla="*/ 244874 h 307883"/>
              <a:gd name="connsiteX68" fmla="*/ 402288 w 586440"/>
              <a:gd name="connsiteY68" fmla="*/ 270696 h 307883"/>
              <a:gd name="connsiteX69" fmla="*/ 422153 w 586440"/>
              <a:gd name="connsiteY69" fmla="*/ 273043 h 307883"/>
              <a:gd name="connsiteX70" fmla="*/ 444641 w 586440"/>
              <a:gd name="connsiteY70" fmla="*/ 300347 h 307883"/>
              <a:gd name="connsiteX71" fmla="*/ 471127 w 586440"/>
              <a:gd name="connsiteY71" fmla="*/ 300471 h 307883"/>
              <a:gd name="connsiteX72" fmla="*/ 480372 w 586440"/>
              <a:gd name="connsiteY72" fmla="*/ 307884 h 307883"/>
              <a:gd name="connsiteX73" fmla="*/ 480372 w 586440"/>
              <a:gd name="connsiteY73" fmla="*/ 307760 h 307883"/>
              <a:gd name="connsiteX74" fmla="*/ 508982 w 586440"/>
              <a:gd name="connsiteY74" fmla="*/ 293429 h 307883"/>
              <a:gd name="connsiteX75" fmla="*/ 547212 w 586440"/>
              <a:gd name="connsiteY75" fmla="*/ 286510 h 307883"/>
              <a:gd name="connsiteX76" fmla="*/ 550085 w 586440"/>
              <a:gd name="connsiteY76" fmla="*/ 262788 h 307883"/>
              <a:gd name="connsiteX77" fmla="*/ 565702 w 586440"/>
              <a:gd name="connsiteY77" fmla="*/ 254264 h 307883"/>
              <a:gd name="connsiteX78" fmla="*/ 571449 w 586440"/>
              <a:gd name="connsiteY78" fmla="*/ 235731 h 307883"/>
              <a:gd name="connsiteX79" fmla="*/ 586441 w 586440"/>
              <a:gd name="connsiteY79" fmla="*/ 231531 h 30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86440" h="307883">
                <a:moveTo>
                  <a:pt x="586441" y="231531"/>
                </a:moveTo>
                <a:lnTo>
                  <a:pt x="582193" y="206079"/>
                </a:lnTo>
                <a:lnTo>
                  <a:pt x="568950" y="189524"/>
                </a:lnTo>
                <a:lnTo>
                  <a:pt x="557831" y="163826"/>
                </a:lnTo>
                <a:lnTo>
                  <a:pt x="551459" y="155548"/>
                </a:lnTo>
                <a:lnTo>
                  <a:pt x="538716" y="133803"/>
                </a:lnTo>
                <a:lnTo>
                  <a:pt x="540840" y="122066"/>
                </a:lnTo>
                <a:lnTo>
                  <a:pt x="534843" y="107240"/>
                </a:lnTo>
                <a:lnTo>
                  <a:pt x="526598" y="100322"/>
                </a:lnTo>
                <a:lnTo>
                  <a:pt x="530221" y="91673"/>
                </a:lnTo>
                <a:lnTo>
                  <a:pt x="526847" y="76106"/>
                </a:lnTo>
                <a:lnTo>
                  <a:pt x="480997" y="71535"/>
                </a:lnTo>
                <a:lnTo>
                  <a:pt x="449138" y="85990"/>
                </a:lnTo>
                <a:lnTo>
                  <a:pt x="434396" y="66963"/>
                </a:lnTo>
                <a:lnTo>
                  <a:pt x="416905" y="59180"/>
                </a:lnTo>
                <a:lnTo>
                  <a:pt x="406786" y="38671"/>
                </a:lnTo>
                <a:lnTo>
                  <a:pt x="377551" y="22239"/>
                </a:lnTo>
                <a:lnTo>
                  <a:pt x="365557" y="21992"/>
                </a:lnTo>
                <a:lnTo>
                  <a:pt x="358436" y="9266"/>
                </a:lnTo>
                <a:lnTo>
                  <a:pt x="344818" y="0"/>
                </a:lnTo>
                <a:lnTo>
                  <a:pt x="341445" y="15938"/>
                </a:lnTo>
                <a:lnTo>
                  <a:pt x="329701" y="17667"/>
                </a:lnTo>
                <a:lnTo>
                  <a:pt x="305714" y="1606"/>
                </a:lnTo>
                <a:lnTo>
                  <a:pt x="284225" y="7784"/>
                </a:lnTo>
                <a:lnTo>
                  <a:pt x="256490" y="25575"/>
                </a:lnTo>
                <a:lnTo>
                  <a:pt x="246995" y="29405"/>
                </a:lnTo>
                <a:lnTo>
                  <a:pt x="247994" y="52138"/>
                </a:lnTo>
                <a:lnTo>
                  <a:pt x="257989" y="91550"/>
                </a:lnTo>
                <a:lnTo>
                  <a:pt x="248994" y="123549"/>
                </a:lnTo>
                <a:lnTo>
                  <a:pt x="221133" y="155672"/>
                </a:lnTo>
                <a:lnTo>
                  <a:pt x="199645" y="156660"/>
                </a:lnTo>
                <a:lnTo>
                  <a:pt x="177282" y="137016"/>
                </a:lnTo>
                <a:lnTo>
                  <a:pt x="173783" y="121325"/>
                </a:lnTo>
                <a:lnTo>
                  <a:pt x="128807" y="77836"/>
                </a:lnTo>
                <a:lnTo>
                  <a:pt x="126184" y="51149"/>
                </a:lnTo>
                <a:lnTo>
                  <a:pt x="118563" y="52138"/>
                </a:lnTo>
                <a:lnTo>
                  <a:pt x="103445" y="68570"/>
                </a:lnTo>
                <a:lnTo>
                  <a:pt x="77959" y="75859"/>
                </a:lnTo>
                <a:lnTo>
                  <a:pt x="69338" y="84507"/>
                </a:lnTo>
                <a:lnTo>
                  <a:pt x="50598" y="86731"/>
                </a:lnTo>
                <a:lnTo>
                  <a:pt x="37730" y="107858"/>
                </a:lnTo>
                <a:lnTo>
                  <a:pt x="40604" y="126267"/>
                </a:lnTo>
                <a:lnTo>
                  <a:pt x="32733" y="123919"/>
                </a:lnTo>
                <a:lnTo>
                  <a:pt x="34857" y="155424"/>
                </a:lnTo>
                <a:lnTo>
                  <a:pt x="11744" y="184582"/>
                </a:lnTo>
                <a:lnTo>
                  <a:pt x="10494" y="202497"/>
                </a:lnTo>
                <a:lnTo>
                  <a:pt x="12618" y="219670"/>
                </a:lnTo>
                <a:lnTo>
                  <a:pt x="0" y="232519"/>
                </a:lnTo>
                <a:lnTo>
                  <a:pt x="12244" y="275267"/>
                </a:lnTo>
                <a:lnTo>
                  <a:pt x="23113" y="285151"/>
                </a:lnTo>
                <a:lnTo>
                  <a:pt x="23488" y="288239"/>
                </a:lnTo>
                <a:lnTo>
                  <a:pt x="39354" y="282927"/>
                </a:lnTo>
                <a:lnTo>
                  <a:pt x="45601" y="264271"/>
                </a:lnTo>
                <a:lnTo>
                  <a:pt x="70463" y="239808"/>
                </a:lnTo>
                <a:lnTo>
                  <a:pt x="111316" y="228195"/>
                </a:lnTo>
                <a:lnTo>
                  <a:pt x="143549" y="229924"/>
                </a:lnTo>
                <a:lnTo>
                  <a:pt x="165288" y="227701"/>
                </a:lnTo>
                <a:lnTo>
                  <a:pt x="177656" y="236967"/>
                </a:lnTo>
                <a:lnTo>
                  <a:pt x="194772" y="222511"/>
                </a:lnTo>
                <a:lnTo>
                  <a:pt x="213263" y="219052"/>
                </a:lnTo>
                <a:lnTo>
                  <a:pt x="217635" y="230048"/>
                </a:lnTo>
                <a:lnTo>
                  <a:pt x="233627" y="230048"/>
                </a:lnTo>
                <a:lnTo>
                  <a:pt x="249494" y="246356"/>
                </a:lnTo>
                <a:lnTo>
                  <a:pt x="277979" y="244503"/>
                </a:lnTo>
                <a:lnTo>
                  <a:pt x="286724" y="248086"/>
                </a:lnTo>
                <a:lnTo>
                  <a:pt x="315584" y="227824"/>
                </a:lnTo>
                <a:lnTo>
                  <a:pt x="348691" y="241538"/>
                </a:lnTo>
                <a:lnTo>
                  <a:pt x="377301" y="244874"/>
                </a:lnTo>
                <a:lnTo>
                  <a:pt x="402288" y="270696"/>
                </a:lnTo>
                <a:lnTo>
                  <a:pt x="422153" y="273043"/>
                </a:lnTo>
                <a:lnTo>
                  <a:pt x="444641" y="300347"/>
                </a:lnTo>
                <a:lnTo>
                  <a:pt x="471127" y="300471"/>
                </a:lnTo>
                <a:lnTo>
                  <a:pt x="480372" y="307884"/>
                </a:lnTo>
                <a:lnTo>
                  <a:pt x="480372" y="307760"/>
                </a:lnTo>
                <a:lnTo>
                  <a:pt x="508982" y="293429"/>
                </a:lnTo>
                <a:lnTo>
                  <a:pt x="547212" y="286510"/>
                </a:lnTo>
                <a:lnTo>
                  <a:pt x="550085" y="262788"/>
                </a:lnTo>
                <a:lnTo>
                  <a:pt x="565702" y="254264"/>
                </a:lnTo>
                <a:lnTo>
                  <a:pt x="571449" y="235731"/>
                </a:lnTo>
                <a:lnTo>
                  <a:pt x="586441" y="231531"/>
                </a:lnTo>
                <a:close/>
              </a:path>
            </a:pathLst>
          </a:custGeom>
          <a:solidFill>
            <a:schemeClr val="bg2"/>
          </a:solidFill>
          <a:ln w="7030" cap="flat">
            <a:solidFill>
              <a:schemeClr val="accent4"/>
            </a:solidFill>
            <a:prstDash val="solid"/>
            <a:miter/>
          </a:ln>
        </p:spPr>
        <p:txBody>
          <a:bodyPr rtlCol="0" anchor="ctr"/>
          <a:lstStyle/>
          <a:p>
            <a:endParaRPr lang="en-GB"/>
          </a:p>
        </p:txBody>
      </p:sp>
      <p:sp>
        <p:nvSpPr>
          <p:cNvPr id="43" name="Graphic 154">
            <a:extLst>
              <a:ext uri="{FF2B5EF4-FFF2-40B4-BE49-F238E27FC236}">
                <a16:creationId xmlns:a16="http://schemas.microsoft.com/office/drawing/2014/main" id="{723E1854-3B15-D5A9-4518-D0CF80A7208F}"/>
              </a:ext>
            </a:extLst>
          </p:cNvPr>
          <p:cNvSpPr/>
          <p:nvPr/>
        </p:nvSpPr>
        <p:spPr>
          <a:xfrm rot="1141104">
            <a:off x="8334158" y="2131750"/>
            <a:ext cx="492864" cy="324932"/>
          </a:xfrm>
          <a:custGeom>
            <a:avLst/>
            <a:gdLst>
              <a:gd name="connsiteX0" fmla="*/ 469502 w 492864"/>
              <a:gd name="connsiteY0" fmla="*/ 313566 h 324932"/>
              <a:gd name="connsiteX1" fmla="*/ 482245 w 492864"/>
              <a:gd name="connsiteY1" fmla="*/ 292686 h 324932"/>
              <a:gd name="connsiteX2" fmla="*/ 478872 w 492864"/>
              <a:gd name="connsiteY2" fmla="*/ 275760 h 324932"/>
              <a:gd name="connsiteX3" fmla="*/ 492865 w 492864"/>
              <a:gd name="connsiteY3" fmla="*/ 262664 h 324932"/>
              <a:gd name="connsiteX4" fmla="*/ 492115 w 492864"/>
              <a:gd name="connsiteY4" fmla="*/ 244379 h 324932"/>
              <a:gd name="connsiteX5" fmla="*/ 446514 w 492864"/>
              <a:gd name="connsiteY5" fmla="*/ 170373 h 324932"/>
              <a:gd name="connsiteX6" fmla="*/ 450137 w 492864"/>
              <a:gd name="connsiteY6" fmla="*/ 102175 h 324932"/>
              <a:gd name="connsiteX7" fmla="*/ 460507 w 492864"/>
              <a:gd name="connsiteY7" fmla="*/ 94391 h 324932"/>
              <a:gd name="connsiteX8" fmla="*/ 465629 w 492864"/>
              <a:gd name="connsiteY8" fmla="*/ 68199 h 324932"/>
              <a:gd name="connsiteX9" fmla="*/ 479247 w 492864"/>
              <a:gd name="connsiteY9" fmla="*/ 49543 h 324932"/>
              <a:gd name="connsiteX10" fmla="*/ 481371 w 492864"/>
              <a:gd name="connsiteY10" fmla="*/ 43736 h 324932"/>
              <a:gd name="connsiteX11" fmla="*/ 480121 w 492864"/>
              <a:gd name="connsiteY11" fmla="*/ 40895 h 324932"/>
              <a:gd name="connsiteX12" fmla="*/ 470751 w 492864"/>
              <a:gd name="connsiteY12" fmla="*/ 26563 h 324932"/>
              <a:gd name="connsiteX13" fmla="*/ 468752 w 492864"/>
              <a:gd name="connsiteY13" fmla="*/ 34964 h 324932"/>
              <a:gd name="connsiteX14" fmla="*/ 395041 w 492864"/>
              <a:gd name="connsiteY14" fmla="*/ 36076 h 324932"/>
              <a:gd name="connsiteX15" fmla="*/ 361559 w 492864"/>
              <a:gd name="connsiteY15" fmla="*/ 16926 h 324932"/>
              <a:gd name="connsiteX16" fmla="*/ 327577 w 492864"/>
              <a:gd name="connsiteY16" fmla="*/ 19026 h 324932"/>
              <a:gd name="connsiteX17" fmla="*/ 309212 w 492864"/>
              <a:gd name="connsiteY17" fmla="*/ 10872 h 324932"/>
              <a:gd name="connsiteX18" fmla="*/ 294095 w 492864"/>
              <a:gd name="connsiteY18" fmla="*/ 15691 h 324932"/>
              <a:gd name="connsiteX19" fmla="*/ 274605 w 492864"/>
              <a:gd name="connsiteY19" fmla="*/ 0 h 324932"/>
              <a:gd name="connsiteX20" fmla="*/ 273730 w 492864"/>
              <a:gd name="connsiteY20" fmla="*/ 12355 h 324932"/>
              <a:gd name="connsiteX21" fmla="*/ 261862 w 492864"/>
              <a:gd name="connsiteY21" fmla="*/ 10872 h 324932"/>
              <a:gd name="connsiteX22" fmla="*/ 262236 w 492864"/>
              <a:gd name="connsiteY22" fmla="*/ 18409 h 324932"/>
              <a:gd name="connsiteX23" fmla="*/ 273106 w 492864"/>
              <a:gd name="connsiteY23" fmla="*/ 26934 h 324932"/>
              <a:gd name="connsiteX24" fmla="*/ 256864 w 492864"/>
              <a:gd name="connsiteY24" fmla="*/ 38547 h 324932"/>
              <a:gd name="connsiteX25" fmla="*/ 248244 w 492864"/>
              <a:gd name="connsiteY25" fmla="*/ 33482 h 324932"/>
              <a:gd name="connsiteX26" fmla="*/ 215636 w 492864"/>
              <a:gd name="connsiteY26" fmla="*/ 33482 h 324932"/>
              <a:gd name="connsiteX27" fmla="*/ 209015 w 492864"/>
              <a:gd name="connsiteY27" fmla="*/ 25575 h 324932"/>
              <a:gd name="connsiteX28" fmla="*/ 204892 w 492864"/>
              <a:gd name="connsiteY28" fmla="*/ 43613 h 324932"/>
              <a:gd name="connsiteX29" fmla="*/ 188151 w 492864"/>
              <a:gd name="connsiteY29" fmla="*/ 42254 h 324932"/>
              <a:gd name="connsiteX30" fmla="*/ 170410 w 492864"/>
              <a:gd name="connsiteY30" fmla="*/ 48555 h 324932"/>
              <a:gd name="connsiteX31" fmla="*/ 168286 w 492864"/>
              <a:gd name="connsiteY31" fmla="*/ 63751 h 324932"/>
              <a:gd name="connsiteX32" fmla="*/ 156292 w 492864"/>
              <a:gd name="connsiteY32" fmla="*/ 61527 h 324932"/>
              <a:gd name="connsiteX33" fmla="*/ 127683 w 492864"/>
              <a:gd name="connsiteY33" fmla="*/ 75118 h 324932"/>
              <a:gd name="connsiteX34" fmla="*/ 118063 w 492864"/>
              <a:gd name="connsiteY34" fmla="*/ 92661 h 324932"/>
              <a:gd name="connsiteX35" fmla="*/ 121311 w 492864"/>
              <a:gd name="connsiteY35" fmla="*/ 150235 h 324932"/>
              <a:gd name="connsiteX36" fmla="*/ 133180 w 492864"/>
              <a:gd name="connsiteY36" fmla="*/ 151841 h 324932"/>
              <a:gd name="connsiteX37" fmla="*/ 139176 w 492864"/>
              <a:gd name="connsiteY37" fmla="*/ 146776 h 324932"/>
              <a:gd name="connsiteX38" fmla="*/ 155918 w 492864"/>
              <a:gd name="connsiteY38" fmla="*/ 147393 h 324932"/>
              <a:gd name="connsiteX39" fmla="*/ 148172 w 492864"/>
              <a:gd name="connsiteY39" fmla="*/ 160737 h 324932"/>
              <a:gd name="connsiteX40" fmla="*/ 135054 w 492864"/>
              <a:gd name="connsiteY40" fmla="*/ 162713 h 324932"/>
              <a:gd name="connsiteX41" fmla="*/ 137552 w 492864"/>
              <a:gd name="connsiteY41" fmla="*/ 185941 h 324932"/>
              <a:gd name="connsiteX42" fmla="*/ 153794 w 492864"/>
              <a:gd name="connsiteY42" fmla="*/ 208550 h 324932"/>
              <a:gd name="connsiteX43" fmla="*/ 180530 w 492864"/>
              <a:gd name="connsiteY43" fmla="*/ 230789 h 324932"/>
              <a:gd name="connsiteX44" fmla="*/ 189400 w 492864"/>
              <a:gd name="connsiteY44" fmla="*/ 228318 h 324932"/>
              <a:gd name="connsiteX45" fmla="*/ 190150 w 492864"/>
              <a:gd name="connsiteY45" fmla="*/ 213121 h 324932"/>
              <a:gd name="connsiteX46" fmla="*/ 207515 w 492864"/>
              <a:gd name="connsiteY46" fmla="*/ 197925 h 324932"/>
              <a:gd name="connsiteX47" fmla="*/ 215011 w 492864"/>
              <a:gd name="connsiteY47" fmla="*/ 210650 h 324932"/>
              <a:gd name="connsiteX48" fmla="*/ 207390 w 492864"/>
              <a:gd name="connsiteY48" fmla="*/ 258340 h 324932"/>
              <a:gd name="connsiteX49" fmla="*/ 207890 w 492864"/>
              <a:gd name="connsiteY49" fmla="*/ 268471 h 324932"/>
              <a:gd name="connsiteX50" fmla="*/ 217385 w 492864"/>
              <a:gd name="connsiteY50" fmla="*/ 264641 h 324932"/>
              <a:gd name="connsiteX51" fmla="*/ 245121 w 492864"/>
              <a:gd name="connsiteY51" fmla="*/ 246973 h 324932"/>
              <a:gd name="connsiteX52" fmla="*/ 266734 w 492864"/>
              <a:gd name="connsiteY52" fmla="*/ 240796 h 324932"/>
              <a:gd name="connsiteX53" fmla="*/ 290596 w 492864"/>
              <a:gd name="connsiteY53" fmla="*/ 256857 h 324932"/>
              <a:gd name="connsiteX54" fmla="*/ 302465 w 492864"/>
              <a:gd name="connsiteY54" fmla="*/ 255004 h 324932"/>
              <a:gd name="connsiteX55" fmla="*/ 305714 w 492864"/>
              <a:gd name="connsiteY55" fmla="*/ 239066 h 324932"/>
              <a:gd name="connsiteX56" fmla="*/ 319331 w 492864"/>
              <a:gd name="connsiteY56" fmla="*/ 248333 h 324932"/>
              <a:gd name="connsiteX57" fmla="*/ 326577 w 492864"/>
              <a:gd name="connsiteY57" fmla="*/ 261058 h 324932"/>
              <a:gd name="connsiteX58" fmla="*/ 338571 w 492864"/>
              <a:gd name="connsiteY58" fmla="*/ 261058 h 324932"/>
              <a:gd name="connsiteX59" fmla="*/ 367806 w 492864"/>
              <a:gd name="connsiteY59" fmla="*/ 277614 h 324932"/>
              <a:gd name="connsiteX60" fmla="*/ 377925 w 492864"/>
              <a:gd name="connsiteY60" fmla="*/ 298123 h 324932"/>
              <a:gd name="connsiteX61" fmla="*/ 395541 w 492864"/>
              <a:gd name="connsiteY61" fmla="*/ 305906 h 324932"/>
              <a:gd name="connsiteX62" fmla="*/ 410283 w 492864"/>
              <a:gd name="connsiteY62" fmla="*/ 324933 h 324932"/>
              <a:gd name="connsiteX63" fmla="*/ 442141 w 492864"/>
              <a:gd name="connsiteY63" fmla="*/ 310477 h 324932"/>
              <a:gd name="connsiteX64" fmla="*/ 469627 w 492864"/>
              <a:gd name="connsiteY64" fmla="*/ 313196 h 324932"/>
              <a:gd name="connsiteX65" fmla="*/ 469627 w 492864"/>
              <a:gd name="connsiteY65" fmla="*/ 313196 h 324932"/>
              <a:gd name="connsiteX66" fmla="*/ 88953 w 492864"/>
              <a:gd name="connsiteY66" fmla="*/ 117248 h 324932"/>
              <a:gd name="connsiteX67" fmla="*/ 104820 w 492864"/>
              <a:gd name="connsiteY67" fmla="*/ 115271 h 324932"/>
              <a:gd name="connsiteX68" fmla="*/ 109567 w 492864"/>
              <a:gd name="connsiteY68" fmla="*/ 124290 h 324932"/>
              <a:gd name="connsiteX69" fmla="*/ 92826 w 492864"/>
              <a:gd name="connsiteY69" fmla="*/ 127626 h 324932"/>
              <a:gd name="connsiteX70" fmla="*/ 89078 w 492864"/>
              <a:gd name="connsiteY70" fmla="*/ 117248 h 324932"/>
              <a:gd name="connsiteX71" fmla="*/ 89078 w 492864"/>
              <a:gd name="connsiteY71" fmla="*/ 117248 h 324932"/>
              <a:gd name="connsiteX72" fmla="*/ 58344 w 492864"/>
              <a:gd name="connsiteY72" fmla="*/ 161601 h 324932"/>
              <a:gd name="connsiteX73" fmla="*/ 46351 w 492864"/>
              <a:gd name="connsiteY73" fmla="*/ 143687 h 324932"/>
              <a:gd name="connsiteX74" fmla="*/ 30859 w 492864"/>
              <a:gd name="connsiteY74" fmla="*/ 145664 h 324932"/>
              <a:gd name="connsiteX75" fmla="*/ 15617 w 492864"/>
              <a:gd name="connsiteY75" fmla="*/ 153200 h 324932"/>
              <a:gd name="connsiteX76" fmla="*/ 8496 w 492864"/>
              <a:gd name="connsiteY76" fmla="*/ 148629 h 324932"/>
              <a:gd name="connsiteX77" fmla="*/ 36731 w 492864"/>
              <a:gd name="connsiteY77" fmla="*/ 133927 h 324932"/>
              <a:gd name="connsiteX78" fmla="*/ 44851 w 492864"/>
              <a:gd name="connsiteY78" fmla="*/ 122437 h 324932"/>
              <a:gd name="connsiteX79" fmla="*/ 46226 w 492864"/>
              <a:gd name="connsiteY79" fmla="*/ 115765 h 324932"/>
              <a:gd name="connsiteX80" fmla="*/ 56220 w 492864"/>
              <a:gd name="connsiteY80" fmla="*/ 117000 h 324932"/>
              <a:gd name="connsiteX81" fmla="*/ 65590 w 492864"/>
              <a:gd name="connsiteY81" fmla="*/ 125525 h 324932"/>
              <a:gd name="connsiteX82" fmla="*/ 81832 w 492864"/>
              <a:gd name="connsiteY82" fmla="*/ 125772 h 324932"/>
              <a:gd name="connsiteX83" fmla="*/ 89952 w 492864"/>
              <a:gd name="connsiteY83" fmla="*/ 143193 h 324932"/>
              <a:gd name="connsiteX84" fmla="*/ 78833 w 492864"/>
              <a:gd name="connsiteY84" fmla="*/ 140104 h 324932"/>
              <a:gd name="connsiteX85" fmla="*/ 63716 w 492864"/>
              <a:gd name="connsiteY85" fmla="*/ 150976 h 324932"/>
              <a:gd name="connsiteX86" fmla="*/ 58469 w 492864"/>
              <a:gd name="connsiteY86" fmla="*/ 161725 h 324932"/>
              <a:gd name="connsiteX87" fmla="*/ 58469 w 492864"/>
              <a:gd name="connsiteY87" fmla="*/ 161725 h 324932"/>
              <a:gd name="connsiteX88" fmla="*/ 92451 w 492864"/>
              <a:gd name="connsiteY88" fmla="*/ 173956 h 324932"/>
              <a:gd name="connsiteX89" fmla="*/ 91077 w 492864"/>
              <a:gd name="connsiteY89" fmla="*/ 163455 h 324932"/>
              <a:gd name="connsiteX90" fmla="*/ 114564 w 492864"/>
              <a:gd name="connsiteY90" fmla="*/ 163084 h 324932"/>
              <a:gd name="connsiteX91" fmla="*/ 123435 w 492864"/>
              <a:gd name="connsiteY91" fmla="*/ 182728 h 324932"/>
              <a:gd name="connsiteX92" fmla="*/ 114440 w 492864"/>
              <a:gd name="connsiteY92" fmla="*/ 189029 h 324932"/>
              <a:gd name="connsiteX93" fmla="*/ 92451 w 492864"/>
              <a:gd name="connsiteY93" fmla="*/ 173833 h 324932"/>
              <a:gd name="connsiteX94" fmla="*/ 92451 w 492864"/>
              <a:gd name="connsiteY94" fmla="*/ 173833 h 324932"/>
              <a:gd name="connsiteX95" fmla="*/ 15492 w 492864"/>
              <a:gd name="connsiteY95" fmla="*/ 280702 h 324932"/>
              <a:gd name="connsiteX96" fmla="*/ 23113 w 492864"/>
              <a:gd name="connsiteY96" fmla="*/ 282308 h 324932"/>
              <a:gd name="connsiteX97" fmla="*/ 36481 w 492864"/>
              <a:gd name="connsiteY97" fmla="*/ 269954 h 324932"/>
              <a:gd name="connsiteX98" fmla="*/ 35731 w 492864"/>
              <a:gd name="connsiteY98" fmla="*/ 260811 h 324932"/>
              <a:gd name="connsiteX99" fmla="*/ 47225 w 492864"/>
              <a:gd name="connsiteY99" fmla="*/ 235607 h 324932"/>
              <a:gd name="connsiteX100" fmla="*/ 72212 w 492864"/>
              <a:gd name="connsiteY100" fmla="*/ 229677 h 324932"/>
              <a:gd name="connsiteX101" fmla="*/ 82831 w 492864"/>
              <a:gd name="connsiteY101" fmla="*/ 216086 h 324932"/>
              <a:gd name="connsiteX102" fmla="*/ 92701 w 492864"/>
              <a:gd name="connsiteY102" fmla="*/ 200272 h 324932"/>
              <a:gd name="connsiteX103" fmla="*/ 105069 w 492864"/>
              <a:gd name="connsiteY103" fmla="*/ 202002 h 324932"/>
              <a:gd name="connsiteX104" fmla="*/ 109192 w 492864"/>
              <a:gd name="connsiteY104" fmla="*/ 199531 h 324932"/>
              <a:gd name="connsiteX105" fmla="*/ 105069 w 492864"/>
              <a:gd name="connsiteY105" fmla="*/ 194095 h 324932"/>
              <a:gd name="connsiteX106" fmla="*/ 95824 w 492864"/>
              <a:gd name="connsiteY106" fmla="*/ 189276 h 324932"/>
              <a:gd name="connsiteX107" fmla="*/ 81457 w 492864"/>
              <a:gd name="connsiteY107" fmla="*/ 179392 h 324932"/>
              <a:gd name="connsiteX108" fmla="*/ 53222 w 492864"/>
              <a:gd name="connsiteY108" fmla="*/ 178281 h 324932"/>
              <a:gd name="connsiteX109" fmla="*/ 45351 w 492864"/>
              <a:gd name="connsiteY109" fmla="*/ 174327 h 324932"/>
              <a:gd name="connsiteX110" fmla="*/ 36856 w 492864"/>
              <a:gd name="connsiteY110" fmla="*/ 185570 h 324932"/>
              <a:gd name="connsiteX111" fmla="*/ 31358 w 492864"/>
              <a:gd name="connsiteY111" fmla="*/ 187794 h 324932"/>
              <a:gd name="connsiteX112" fmla="*/ 22863 w 492864"/>
              <a:gd name="connsiteY112" fmla="*/ 199037 h 324932"/>
              <a:gd name="connsiteX113" fmla="*/ 17866 w 492864"/>
              <a:gd name="connsiteY113" fmla="*/ 190388 h 324932"/>
              <a:gd name="connsiteX114" fmla="*/ 8121 w 492864"/>
              <a:gd name="connsiteY114" fmla="*/ 187794 h 324932"/>
              <a:gd name="connsiteX115" fmla="*/ 8745 w 492864"/>
              <a:gd name="connsiteY115" fmla="*/ 194960 h 324932"/>
              <a:gd name="connsiteX116" fmla="*/ 0 w 492864"/>
              <a:gd name="connsiteY116" fmla="*/ 198913 h 324932"/>
              <a:gd name="connsiteX117" fmla="*/ 12368 w 492864"/>
              <a:gd name="connsiteY117" fmla="*/ 202372 h 324932"/>
              <a:gd name="connsiteX118" fmla="*/ 12743 w 492864"/>
              <a:gd name="connsiteY118" fmla="*/ 211268 h 324932"/>
              <a:gd name="connsiteX119" fmla="*/ 3748 w 492864"/>
              <a:gd name="connsiteY119" fmla="*/ 218187 h 324932"/>
              <a:gd name="connsiteX120" fmla="*/ 4248 w 492864"/>
              <a:gd name="connsiteY120" fmla="*/ 228688 h 324932"/>
              <a:gd name="connsiteX121" fmla="*/ 18365 w 492864"/>
              <a:gd name="connsiteY121" fmla="*/ 231653 h 324932"/>
              <a:gd name="connsiteX122" fmla="*/ 33108 w 492864"/>
              <a:gd name="connsiteY122" fmla="*/ 244503 h 324932"/>
              <a:gd name="connsiteX123" fmla="*/ 28735 w 492864"/>
              <a:gd name="connsiteY123" fmla="*/ 258464 h 324932"/>
              <a:gd name="connsiteX124" fmla="*/ 21114 w 492864"/>
              <a:gd name="connsiteY124" fmla="*/ 257846 h 324932"/>
              <a:gd name="connsiteX125" fmla="*/ 15117 w 492864"/>
              <a:gd name="connsiteY125" fmla="*/ 280826 h 32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92864" h="324932">
                <a:moveTo>
                  <a:pt x="469502" y="313566"/>
                </a:moveTo>
                <a:lnTo>
                  <a:pt x="482245" y="292686"/>
                </a:lnTo>
                <a:lnTo>
                  <a:pt x="478872" y="275760"/>
                </a:lnTo>
                <a:lnTo>
                  <a:pt x="492865" y="262664"/>
                </a:lnTo>
                <a:lnTo>
                  <a:pt x="492115" y="244379"/>
                </a:lnTo>
                <a:lnTo>
                  <a:pt x="446514" y="170373"/>
                </a:lnTo>
                <a:lnTo>
                  <a:pt x="450137" y="102175"/>
                </a:lnTo>
                <a:lnTo>
                  <a:pt x="460507" y="94391"/>
                </a:lnTo>
                <a:lnTo>
                  <a:pt x="465629" y="68199"/>
                </a:lnTo>
                <a:lnTo>
                  <a:pt x="479247" y="49543"/>
                </a:lnTo>
                <a:lnTo>
                  <a:pt x="481371" y="43736"/>
                </a:lnTo>
                <a:lnTo>
                  <a:pt x="480121" y="40895"/>
                </a:lnTo>
                <a:lnTo>
                  <a:pt x="470751" y="26563"/>
                </a:lnTo>
                <a:lnTo>
                  <a:pt x="468752" y="34964"/>
                </a:lnTo>
                <a:lnTo>
                  <a:pt x="395041" y="36076"/>
                </a:lnTo>
                <a:lnTo>
                  <a:pt x="361559" y="16926"/>
                </a:lnTo>
                <a:lnTo>
                  <a:pt x="327577" y="19026"/>
                </a:lnTo>
                <a:lnTo>
                  <a:pt x="309212" y="10872"/>
                </a:lnTo>
                <a:lnTo>
                  <a:pt x="294095" y="15691"/>
                </a:lnTo>
                <a:lnTo>
                  <a:pt x="274605" y="0"/>
                </a:lnTo>
                <a:lnTo>
                  <a:pt x="273730" y="12355"/>
                </a:lnTo>
                <a:lnTo>
                  <a:pt x="261862" y="10872"/>
                </a:lnTo>
                <a:lnTo>
                  <a:pt x="262236" y="18409"/>
                </a:lnTo>
                <a:lnTo>
                  <a:pt x="273106" y="26934"/>
                </a:lnTo>
                <a:lnTo>
                  <a:pt x="256864" y="38547"/>
                </a:lnTo>
                <a:lnTo>
                  <a:pt x="248244" y="33482"/>
                </a:lnTo>
                <a:lnTo>
                  <a:pt x="215636" y="33482"/>
                </a:lnTo>
                <a:cubicBezTo>
                  <a:pt x="215636" y="33482"/>
                  <a:pt x="209015" y="25575"/>
                  <a:pt x="209015" y="25575"/>
                </a:cubicBezTo>
                <a:lnTo>
                  <a:pt x="204892" y="43613"/>
                </a:lnTo>
                <a:lnTo>
                  <a:pt x="188151" y="42254"/>
                </a:lnTo>
                <a:lnTo>
                  <a:pt x="170410" y="48555"/>
                </a:lnTo>
                <a:lnTo>
                  <a:pt x="168286" y="63751"/>
                </a:lnTo>
                <a:lnTo>
                  <a:pt x="156292" y="61527"/>
                </a:lnTo>
                <a:lnTo>
                  <a:pt x="127683" y="75118"/>
                </a:lnTo>
                <a:lnTo>
                  <a:pt x="118063" y="92661"/>
                </a:lnTo>
                <a:lnTo>
                  <a:pt x="121311" y="150235"/>
                </a:lnTo>
                <a:lnTo>
                  <a:pt x="133180" y="151841"/>
                </a:lnTo>
                <a:lnTo>
                  <a:pt x="139176" y="146776"/>
                </a:lnTo>
                <a:lnTo>
                  <a:pt x="155918" y="147393"/>
                </a:lnTo>
                <a:lnTo>
                  <a:pt x="148172" y="160737"/>
                </a:lnTo>
                <a:lnTo>
                  <a:pt x="135054" y="162713"/>
                </a:lnTo>
                <a:lnTo>
                  <a:pt x="137552" y="185941"/>
                </a:lnTo>
                <a:lnTo>
                  <a:pt x="153794" y="208550"/>
                </a:lnTo>
                <a:lnTo>
                  <a:pt x="180530" y="230789"/>
                </a:lnTo>
                <a:lnTo>
                  <a:pt x="189400" y="228318"/>
                </a:lnTo>
                <a:lnTo>
                  <a:pt x="190150" y="213121"/>
                </a:lnTo>
                <a:lnTo>
                  <a:pt x="207515" y="197925"/>
                </a:lnTo>
                <a:lnTo>
                  <a:pt x="215011" y="210650"/>
                </a:lnTo>
                <a:lnTo>
                  <a:pt x="207390" y="258340"/>
                </a:lnTo>
                <a:lnTo>
                  <a:pt x="207890" y="268471"/>
                </a:lnTo>
                <a:lnTo>
                  <a:pt x="217385" y="264641"/>
                </a:lnTo>
                <a:lnTo>
                  <a:pt x="245121" y="246973"/>
                </a:lnTo>
                <a:lnTo>
                  <a:pt x="266734" y="240796"/>
                </a:lnTo>
                <a:lnTo>
                  <a:pt x="290596" y="256857"/>
                </a:lnTo>
                <a:lnTo>
                  <a:pt x="302465" y="255004"/>
                </a:lnTo>
                <a:lnTo>
                  <a:pt x="305714" y="239066"/>
                </a:lnTo>
                <a:lnTo>
                  <a:pt x="319331" y="248333"/>
                </a:lnTo>
                <a:lnTo>
                  <a:pt x="326577" y="261058"/>
                </a:lnTo>
                <a:lnTo>
                  <a:pt x="338571" y="261058"/>
                </a:lnTo>
                <a:cubicBezTo>
                  <a:pt x="338571" y="261058"/>
                  <a:pt x="367806" y="277614"/>
                  <a:pt x="367806" y="277614"/>
                </a:cubicBezTo>
                <a:lnTo>
                  <a:pt x="377925" y="298123"/>
                </a:lnTo>
                <a:lnTo>
                  <a:pt x="395541" y="305906"/>
                </a:lnTo>
                <a:lnTo>
                  <a:pt x="410283" y="324933"/>
                </a:lnTo>
                <a:lnTo>
                  <a:pt x="442141" y="310477"/>
                </a:lnTo>
                <a:lnTo>
                  <a:pt x="469627" y="313196"/>
                </a:lnTo>
                <a:lnTo>
                  <a:pt x="469627" y="313196"/>
                </a:lnTo>
                <a:close/>
                <a:moveTo>
                  <a:pt x="88953" y="117248"/>
                </a:moveTo>
                <a:lnTo>
                  <a:pt x="104820" y="115271"/>
                </a:lnTo>
                <a:lnTo>
                  <a:pt x="109567" y="124290"/>
                </a:lnTo>
                <a:lnTo>
                  <a:pt x="92826" y="127626"/>
                </a:lnTo>
                <a:lnTo>
                  <a:pt x="89078" y="117248"/>
                </a:lnTo>
                <a:lnTo>
                  <a:pt x="89078" y="117248"/>
                </a:lnTo>
                <a:close/>
                <a:moveTo>
                  <a:pt x="58344" y="161601"/>
                </a:moveTo>
                <a:lnTo>
                  <a:pt x="46351" y="143687"/>
                </a:lnTo>
                <a:lnTo>
                  <a:pt x="30859" y="145664"/>
                </a:lnTo>
                <a:lnTo>
                  <a:pt x="15617" y="153200"/>
                </a:lnTo>
                <a:lnTo>
                  <a:pt x="8496" y="148629"/>
                </a:lnTo>
                <a:lnTo>
                  <a:pt x="36731" y="133927"/>
                </a:lnTo>
                <a:lnTo>
                  <a:pt x="44851" y="122437"/>
                </a:lnTo>
                <a:lnTo>
                  <a:pt x="46226" y="115765"/>
                </a:lnTo>
                <a:lnTo>
                  <a:pt x="56220" y="117000"/>
                </a:lnTo>
                <a:lnTo>
                  <a:pt x="65590" y="125525"/>
                </a:lnTo>
                <a:lnTo>
                  <a:pt x="81832" y="125772"/>
                </a:lnTo>
                <a:lnTo>
                  <a:pt x="89952" y="143193"/>
                </a:lnTo>
                <a:lnTo>
                  <a:pt x="78833" y="140104"/>
                </a:lnTo>
                <a:lnTo>
                  <a:pt x="63716" y="150976"/>
                </a:lnTo>
                <a:lnTo>
                  <a:pt x="58469" y="161725"/>
                </a:lnTo>
                <a:lnTo>
                  <a:pt x="58469" y="161725"/>
                </a:lnTo>
                <a:close/>
                <a:moveTo>
                  <a:pt x="92451" y="173956"/>
                </a:moveTo>
                <a:lnTo>
                  <a:pt x="91077" y="163455"/>
                </a:lnTo>
                <a:lnTo>
                  <a:pt x="114564" y="163084"/>
                </a:lnTo>
                <a:lnTo>
                  <a:pt x="123435" y="182728"/>
                </a:lnTo>
                <a:lnTo>
                  <a:pt x="114440" y="189029"/>
                </a:lnTo>
                <a:lnTo>
                  <a:pt x="92451" y="173833"/>
                </a:lnTo>
                <a:lnTo>
                  <a:pt x="92451" y="173833"/>
                </a:lnTo>
                <a:close/>
                <a:moveTo>
                  <a:pt x="15492" y="280702"/>
                </a:moveTo>
                <a:lnTo>
                  <a:pt x="23113" y="282308"/>
                </a:lnTo>
                <a:lnTo>
                  <a:pt x="36481" y="269954"/>
                </a:lnTo>
                <a:lnTo>
                  <a:pt x="35731" y="260811"/>
                </a:lnTo>
                <a:lnTo>
                  <a:pt x="47225" y="235607"/>
                </a:lnTo>
                <a:lnTo>
                  <a:pt x="72212" y="229677"/>
                </a:lnTo>
                <a:lnTo>
                  <a:pt x="82831" y="216086"/>
                </a:lnTo>
                <a:lnTo>
                  <a:pt x="92701" y="200272"/>
                </a:lnTo>
                <a:lnTo>
                  <a:pt x="105069" y="202002"/>
                </a:lnTo>
                <a:lnTo>
                  <a:pt x="109192" y="199531"/>
                </a:lnTo>
                <a:lnTo>
                  <a:pt x="105069" y="194095"/>
                </a:lnTo>
                <a:lnTo>
                  <a:pt x="95824" y="189276"/>
                </a:lnTo>
                <a:lnTo>
                  <a:pt x="81457" y="179392"/>
                </a:lnTo>
                <a:lnTo>
                  <a:pt x="53222" y="178281"/>
                </a:lnTo>
                <a:lnTo>
                  <a:pt x="45351" y="174327"/>
                </a:lnTo>
                <a:lnTo>
                  <a:pt x="36856" y="185570"/>
                </a:lnTo>
                <a:lnTo>
                  <a:pt x="31358" y="187794"/>
                </a:lnTo>
                <a:lnTo>
                  <a:pt x="22863" y="199037"/>
                </a:lnTo>
                <a:lnTo>
                  <a:pt x="17866" y="190388"/>
                </a:lnTo>
                <a:lnTo>
                  <a:pt x="8121" y="187794"/>
                </a:lnTo>
                <a:lnTo>
                  <a:pt x="8745" y="194960"/>
                </a:lnTo>
                <a:lnTo>
                  <a:pt x="0" y="198913"/>
                </a:lnTo>
                <a:lnTo>
                  <a:pt x="12368" y="202372"/>
                </a:lnTo>
                <a:lnTo>
                  <a:pt x="12743" y="211268"/>
                </a:lnTo>
                <a:lnTo>
                  <a:pt x="3748" y="218187"/>
                </a:lnTo>
                <a:lnTo>
                  <a:pt x="4248" y="228688"/>
                </a:lnTo>
                <a:lnTo>
                  <a:pt x="18365" y="231653"/>
                </a:lnTo>
                <a:lnTo>
                  <a:pt x="33108" y="244503"/>
                </a:lnTo>
                <a:lnTo>
                  <a:pt x="28735" y="258464"/>
                </a:lnTo>
                <a:lnTo>
                  <a:pt x="21114" y="257846"/>
                </a:lnTo>
                <a:lnTo>
                  <a:pt x="15117" y="280826"/>
                </a:lnTo>
                <a:close/>
              </a:path>
            </a:pathLst>
          </a:custGeom>
          <a:solidFill>
            <a:schemeClr val="bg2"/>
          </a:solidFill>
          <a:ln w="7026" cap="flat">
            <a:solidFill>
              <a:schemeClr val="accent4"/>
            </a:solidFill>
            <a:prstDash val="solid"/>
            <a:miter/>
          </a:ln>
        </p:spPr>
        <p:txBody>
          <a:bodyPr rtlCol="0" anchor="ctr"/>
          <a:lstStyle/>
          <a:p>
            <a:endParaRPr lang="en-GB"/>
          </a:p>
        </p:txBody>
      </p:sp>
      <p:sp>
        <p:nvSpPr>
          <p:cNvPr id="44" name="Graphic 150">
            <a:extLst>
              <a:ext uri="{FF2B5EF4-FFF2-40B4-BE49-F238E27FC236}">
                <a16:creationId xmlns:a16="http://schemas.microsoft.com/office/drawing/2014/main" id="{7A858AC0-0CFD-67B3-2922-BBD78557C1B0}"/>
              </a:ext>
            </a:extLst>
          </p:cNvPr>
          <p:cNvSpPr/>
          <p:nvPr/>
        </p:nvSpPr>
        <p:spPr>
          <a:xfrm rot="1141104">
            <a:off x="8339167" y="527464"/>
            <a:ext cx="962741" cy="1637761"/>
          </a:xfrm>
          <a:custGeom>
            <a:avLst/>
            <a:gdLst>
              <a:gd name="connsiteX0" fmla="*/ 783586 w 962741"/>
              <a:gd name="connsiteY0" fmla="*/ 1498028 h 1637761"/>
              <a:gd name="connsiteX1" fmla="*/ 778963 w 962741"/>
              <a:gd name="connsiteY1" fmla="*/ 1472083 h 1637761"/>
              <a:gd name="connsiteX2" fmla="*/ 819567 w 962741"/>
              <a:gd name="connsiteY2" fmla="*/ 1430447 h 1637761"/>
              <a:gd name="connsiteX3" fmla="*/ 840931 w 962741"/>
              <a:gd name="connsiteY3" fmla="*/ 1419081 h 1637761"/>
              <a:gd name="connsiteX4" fmla="*/ 863544 w 962741"/>
              <a:gd name="connsiteY4" fmla="*/ 1374974 h 1637761"/>
              <a:gd name="connsiteX5" fmla="*/ 887656 w 962741"/>
              <a:gd name="connsiteY5" fmla="*/ 1335932 h 1637761"/>
              <a:gd name="connsiteX6" fmla="*/ 904897 w 962741"/>
              <a:gd name="connsiteY6" fmla="*/ 1289972 h 1637761"/>
              <a:gd name="connsiteX7" fmla="*/ 939129 w 962741"/>
              <a:gd name="connsiteY7" fmla="*/ 1226345 h 1637761"/>
              <a:gd name="connsiteX8" fmla="*/ 962741 w 962741"/>
              <a:gd name="connsiteY8" fmla="*/ 1160493 h 1637761"/>
              <a:gd name="connsiteX9" fmla="*/ 955620 w 962741"/>
              <a:gd name="connsiteY9" fmla="*/ 1133312 h 1637761"/>
              <a:gd name="connsiteX10" fmla="*/ 914017 w 962741"/>
              <a:gd name="connsiteY10" fmla="*/ 1089947 h 1637761"/>
              <a:gd name="connsiteX11" fmla="*/ 889905 w 962741"/>
              <a:gd name="connsiteY11" fmla="*/ 1083152 h 1637761"/>
              <a:gd name="connsiteX12" fmla="*/ 844929 w 962741"/>
              <a:gd name="connsiteY12" fmla="*/ 1026072 h 1637761"/>
              <a:gd name="connsiteX13" fmla="*/ 851050 w 962741"/>
              <a:gd name="connsiteY13" fmla="*/ 999015 h 1637761"/>
              <a:gd name="connsiteX14" fmla="*/ 867167 w 962741"/>
              <a:gd name="connsiteY14" fmla="*/ 974676 h 1637761"/>
              <a:gd name="connsiteX15" fmla="*/ 864043 w 962741"/>
              <a:gd name="connsiteY15" fmla="*/ 947989 h 1637761"/>
              <a:gd name="connsiteX16" fmla="*/ 835434 w 962741"/>
              <a:gd name="connsiteY16" fmla="*/ 930198 h 1637761"/>
              <a:gd name="connsiteX17" fmla="*/ 824564 w 962741"/>
              <a:gd name="connsiteY17" fmla="*/ 909689 h 1637761"/>
              <a:gd name="connsiteX18" fmla="*/ 821816 w 962741"/>
              <a:gd name="connsiteY18" fmla="*/ 876455 h 1637761"/>
              <a:gd name="connsiteX19" fmla="*/ 828687 w 962741"/>
              <a:gd name="connsiteY19" fmla="*/ 867683 h 1637761"/>
              <a:gd name="connsiteX20" fmla="*/ 820067 w 962741"/>
              <a:gd name="connsiteY20" fmla="*/ 851004 h 1637761"/>
              <a:gd name="connsiteX21" fmla="*/ 797454 w 962741"/>
              <a:gd name="connsiteY21" fmla="*/ 848038 h 1637761"/>
              <a:gd name="connsiteX22" fmla="*/ 784835 w 962741"/>
              <a:gd name="connsiteY22" fmla="*/ 833460 h 1637761"/>
              <a:gd name="connsiteX23" fmla="*/ 783586 w 962741"/>
              <a:gd name="connsiteY23" fmla="*/ 803437 h 1637761"/>
              <a:gd name="connsiteX24" fmla="*/ 795455 w 962741"/>
              <a:gd name="connsiteY24" fmla="*/ 786511 h 1637761"/>
              <a:gd name="connsiteX25" fmla="*/ 777339 w 962741"/>
              <a:gd name="connsiteY25" fmla="*/ 782681 h 1637761"/>
              <a:gd name="connsiteX26" fmla="*/ 775965 w 962741"/>
              <a:gd name="connsiteY26" fmla="*/ 766990 h 1637761"/>
              <a:gd name="connsiteX27" fmla="*/ 777339 w 962741"/>
              <a:gd name="connsiteY27" fmla="*/ 708058 h 1637761"/>
              <a:gd name="connsiteX28" fmla="*/ 793706 w 962741"/>
              <a:gd name="connsiteY28" fmla="*/ 703486 h 1637761"/>
              <a:gd name="connsiteX29" fmla="*/ 748604 w 962741"/>
              <a:gd name="connsiteY29" fmla="*/ 611072 h 1637761"/>
              <a:gd name="connsiteX30" fmla="*/ 707876 w 962741"/>
              <a:gd name="connsiteY30" fmla="*/ 544109 h 1637761"/>
              <a:gd name="connsiteX31" fmla="*/ 698881 w 962741"/>
              <a:gd name="connsiteY31" fmla="*/ 518905 h 1637761"/>
              <a:gd name="connsiteX32" fmla="*/ 676018 w 962741"/>
              <a:gd name="connsiteY32" fmla="*/ 496295 h 1637761"/>
              <a:gd name="connsiteX33" fmla="*/ 689386 w 962741"/>
              <a:gd name="connsiteY33" fmla="*/ 452435 h 1637761"/>
              <a:gd name="connsiteX34" fmla="*/ 706627 w 962741"/>
              <a:gd name="connsiteY34" fmla="*/ 422290 h 1637761"/>
              <a:gd name="connsiteX35" fmla="*/ 714123 w 962741"/>
              <a:gd name="connsiteY35" fmla="*/ 395109 h 1637761"/>
              <a:gd name="connsiteX36" fmla="*/ 702379 w 962741"/>
              <a:gd name="connsiteY36" fmla="*/ 385101 h 1637761"/>
              <a:gd name="connsiteX37" fmla="*/ 659526 w 962741"/>
              <a:gd name="connsiteY37" fmla="*/ 360762 h 1637761"/>
              <a:gd name="connsiteX38" fmla="*/ 651531 w 962741"/>
              <a:gd name="connsiteY38" fmla="*/ 344083 h 1637761"/>
              <a:gd name="connsiteX39" fmla="*/ 636664 w 962741"/>
              <a:gd name="connsiteY39" fmla="*/ 323821 h 1637761"/>
              <a:gd name="connsiteX40" fmla="*/ 610927 w 962741"/>
              <a:gd name="connsiteY40" fmla="*/ 311096 h 1637761"/>
              <a:gd name="connsiteX41" fmla="*/ 598309 w 962741"/>
              <a:gd name="connsiteY41" fmla="*/ 309737 h 1637761"/>
              <a:gd name="connsiteX42" fmla="*/ 580693 w 962741"/>
              <a:gd name="connsiteY42" fmla="*/ 269213 h 1637761"/>
              <a:gd name="connsiteX43" fmla="*/ 567450 w 962741"/>
              <a:gd name="connsiteY43" fmla="*/ 254757 h 1637761"/>
              <a:gd name="connsiteX44" fmla="*/ 572697 w 962741"/>
              <a:gd name="connsiteY44" fmla="*/ 223747 h 1637761"/>
              <a:gd name="connsiteX45" fmla="*/ 575696 w 962741"/>
              <a:gd name="connsiteY45" fmla="*/ 199408 h 1637761"/>
              <a:gd name="connsiteX46" fmla="*/ 560704 w 962741"/>
              <a:gd name="connsiteY46" fmla="*/ 195207 h 1637761"/>
              <a:gd name="connsiteX47" fmla="*/ 575196 w 962741"/>
              <a:gd name="connsiteY47" fmla="*/ 184458 h 1637761"/>
              <a:gd name="connsiteX48" fmla="*/ 598934 w 962741"/>
              <a:gd name="connsiteY48" fmla="*/ 173957 h 1637761"/>
              <a:gd name="connsiteX49" fmla="*/ 593936 w 962741"/>
              <a:gd name="connsiteY49" fmla="*/ 136398 h 1637761"/>
              <a:gd name="connsiteX50" fmla="*/ 609053 w 962741"/>
              <a:gd name="connsiteY50" fmla="*/ 110453 h 1637761"/>
              <a:gd name="connsiteX51" fmla="*/ 611302 w 962741"/>
              <a:gd name="connsiteY51" fmla="*/ 91673 h 1637761"/>
              <a:gd name="connsiteX52" fmla="*/ 592312 w 962741"/>
              <a:gd name="connsiteY52" fmla="*/ 73388 h 1637761"/>
              <a:gd name="connsiteX53" fmla="*/ 586315 w 962741"/>
              <a:gd name="connsiteY53" fmla="*/ 58809 h 1637761"/>
              <a:gd name="connsiteX54" fmla="*/ 555706 w 962741"/>
              <a:gd name="connsiteY54" fmla="*/ 56832 h 1637761"/>
              <a:gd name="connsiteX55" fmla="*/ 535592 w 962741"/>
              <a:gd name="connsiteY55" fmla="*/ 50531 h 1637761"/>
              <a:gd name="connsiteX56" fmla="*/ 522099 w 962741"/>
              <a:gd name="connsiteY56" fmla="*/ 37929 h 1637761"/>
              <a:gd name="connsiteX57" fmla="*/ 498612 w 962741"/>
              <a:gd name="connsiteY57" fmla="*/ 10996 h 1637761"/>
              <a:gd name="connsiteX58" fmla="*/ 480871 w 962741"/>
              <a:gd name="connsiteY58" fmla="*/ 0 h 1637761"/>
              <a:gd name="connsiteX59" fmla="*/ 441891 w 962741"/>
              <a:gd name="connsiteY59" fmla="*/ 2347 h 1637761"/>
              <a:gd name="connsiteX60" fmla="*/ 427399 w 962741"/>
              <a:gd name="connsiteY60" fmla="*/ 19397 h 1637761"/>
              <a:gd name="connsiteX61" fmla="*/ 429148 w 962741"/>
              <a:gd name="connsiteY61" fmla="*/ 27181 h 1637761"/>
              <a:gd name="connsiteX62" fmla="*/ 415405 w 962741"/>
              <a:gd name="connsiteY62" fmla="*/ 31011 h 1637761"/>
              <a:gd name="connsiteX63" fmla="*/ 391418 w 962741"/>
              <a:gd name="connsiteY63" fmla="*/ 27428 h 1637761"/>
              <a:gd name="connsiteX64" fmla="*/ 372553 w 962741"/>
              <a:gd name="connsiteY64" fmla="*/ 36694 h 1637761"/>
              <a:gd name="connsiteX65" fmla="*/ 374302 w 962741"/>
              <a:gd name="connsiteY65" fmla="*/ 47072 h 1637761"/>
              <a:gd name="connsiteX66" fmla="*/ 360684 w 962741"/>
              <a:gd name="connsiteY66" fmla="*/ 67334 h 1637761"/>
              <a:gd name="connsiteX67" fmla="*/ 350315 w 962741"/>
              <a:gd name="connsiteY67" fmla="*/ 74376 h 1637761"/>
              <a:gd name="connsiteX68" fmla="*/ 359560 w 962741"/>
              <a:gd name="connsiteY68" fmla="*/ 87720 h 1637761"/>
              <a:gd name="connsiteX69" fmla="*/ 354188 w 962741"/>
              <a:gd name="connsiteY69" fmla="*/ 102422 h 1637761"/>
              <a:gd name="connsiteX70" fmla="*/ 351564 w 962741"/>
              <a:gd name="connsiteY70" fmla="*/ 149000 h 1637761"/>
              <a:gd name="connsiteX71" fmla="*/ 361309 w 962741"/>
              <a:gd name="connsiteY71" fmla="*/ 176057 h 1637761"/>
              <a:gd name="connsiteX72" fmla="*/ 368555 w 962741"/>
              <a:gd name="connsiteY72" fmla="*/ 191501 h 1637761"/>
              <a:gd name="connsiteX73" fmla="*/ 362433 w 962741"/>
              <a:gd name="connsiteY73" fmla="*/ 203608 h 1637761"/>
              <a:gd name="connsiteX74" fmla="*/ 347067 w 962741"/>
              <a:gd name="connsiteY74" fmla="*/ 214728 h 1637761"/>
              <a:gd name="connsiteX75" fmla="*/ 331200 w 962741"/>
              <a:gd name="connsiteY75" fmla="*/ 214110 h 1637761"/>
              <a:gd name="connsiteX76" fmla="*/ 317332 w 962741"/>
              <a:gd name="connsiteY76" fmla="*/ 228442 h 1637761"/>
              <a:gd name="connsiteX77" fmla="*/ 305713 w 962741"/>
              <a:gd name="connsiteY77" fmla="*/ 235484 h 1637761"/>
              <a:gd name="connsiteX78" fmla="*/ 295969 w 962741"/>
              <a:gd name="connsiteY78" fmla="*/ 255499 h 1637761"/>
              <a:gd name="connsiteX79" fmla="*/ 275354 w 962741"/>
              <a:gd name="connsiteY79" fmla="*/ 253151 h 1637761"/>
              <a:gd name="connsiteX80" fmla="*/ 243996 w 962741"/>
              <a:gd name="connsiteY80" fmla="*/ 233507 h 1637761"/>
              <a:gd name="connsiteX81" fmla="*/ 224756 w 962741"/>
              <a:gd name="connsiteY81" fmla="*/ 233507 h 1637761"/>
              <a:gd name="connsiteX82" fmla="*/ 212763 w 962741"/>
              <a:gd name="connsiteY82" fmla="*/ 247345 h 1637761"/>
              <a:gd name="connsiteX83" fmla="*/ 191274 w 962741"/>
              <a:gd name="connsiteY83" fmla="*/ 269830 h 1637761"/>
              <a:gd name="connsiteX84" fmla="*/ 148297 w 962741"/>
              <a:gd name="connsiteY84" fmla="*/ 270325 h 1637761"/>
              <a:gd name="connsiteX85" fmla="*/ 122060 w 962741"/>
              <a:gd name="connsiteY85" fmla="*/ 260935 h 1637761"/>
              <a:gd name="connsiteX86" fmla="*/ 106694 w 962741"/>
              <a:gd name="connsiteY86" fmla="*/ 241908 h 1637761"/>
              <a:gd name="connsiteX87" fmla="*/ 98573 w 962741"/>
              <a:gd name="connsiteY87" fmla="*/ 223253 h 1637761"/>
              <a:gd name="connsiteX88" fmla="*/ 58219 w 962741"/>
              <a:gd name="connsiteY88" fmla="*/ 193477 h 1637761"/>
              <a:gd name="connsiteX89" fmla="*/ 43477 w 962741"/>
              <a:gd name="connsiteY89" fmla="*/ 173833 h 1637761"/>
              <a:gd name="connsiteX90" fmla="*/ 26236 w 962741"/>
              <a:gd name="connsiteY90" fmla="*/ 171980 h 1637761"/>
              <a:gd name="connsiteX91" fmla="*/ 14118 w 962741"/>
              <a:gd name="connsiteY91" fmla="*/ 182976 h 1637761"/>
              <a:gd name="connsiteX92" fmla="*/ 11494 w 962741"/>
              <a:gd name="connsiteY92" fmla="*/ 198790 h 1637761"/>
              <a:gd name="connsiteX93" fmla="*/ 17366 w 962741"/>
              <a:gd name="connsiteY93" fmla="*/ 212257 h 1637761"/>
              <a:gd name="connsiteX94" fmla="*/ 11369 w 962741"/>
              <a:gd name="connsiteY94" fmla="*/ 216581 h 1637761"/>
              <a:gd name="connsiteX95" fmla="*/ 3498 w 962741"/>
              <a:gd name="connsiteY95" fmla="*/ 213122 h 1637761"/>
              <a:gd name="connsiteX96" fmla="*/ 0 w 962741"/>
              <a:gd name="connsiteY96" fmla="*/ 218681 h 1637761"/>
              <a:gd name="connsiteX97" fmla="*/ 15867 w 962741"/>
              <a:gd name="connsiteY97" fmla="*/ 235855 h 1637761"/>
              <a:gd name="connsiteX98" fmla="*/ 40229 w 962741"/>
              <a:gd name="connsiteY98" fmla="*/ 246603 h 1637761"/>
              <a:gd name="connsiteX99" fmla="*/ 74211 w 962741"/>
              <a:gd name="connsiteY99" fmla="*/ 282556 h 1637761"/>
              <a:gd name="connsiteX100" fmla="*/ 98823 w 962741"/>
              <a:gd name="connsiteY100" fmla="*/ 299235 h 1637761"/>
              <a:gd name="connsiteX101" fmla="*/ 134554 w 962741"/>
              <a:gd name="connsiteY101" fmla="*/ 300347 h 1637761"/>
              <a:gd name="connsiteX102" fmla="*/ 148796 w 962741"/>
              <a:gd name="connsiteY102" fmla="*/ 308254 h 1637761"/>
              <a:gd name="connsiteX103" fmla="*/ 161540 w 962741"/>
              <a:gd name="connsiteY103" fmla="*/ 310972 h 1637761"/>
              <a:gd name="connsiteX104" fmla="*/ 180280 w 962741"/>
              <a:gd name="connsiteY104" fmla="*/ 330493 h 1637761"/>
              <a:gd name="connsiteX105" fmla="*/ 187651 w 962741"/>
              <a:gd name="connsiteY105" fmla="*/ 347172 h 1637761"/>
              <a:gd name="connsiteX106" fmla="*/ 195647 w 962741"/>
              <a:gd name="connsiteY106" fmla="*/ 348160 h 1637761"/>
              <a:gd name="connsiteX107" fmla="*/ 202143 w 962741"/>
              <a:gd name="connsiteY107" fmla="*/ 345936 h 1637761"/>
              <a:gd name="connsiteX108" fmla="*/ 218884 w 962741"/>
              <a:gd name="connsiteY108" fmla="*/ 366816 h 1637761"/>
              <a:gd name="connsiteX109" fmla="*/ 231503 w 962741"/>
              <a:gd name="connsiteY109" fmla="*/ 367557 h 1637761"/>
              <a:gd name="connsiteX110" fmla="*/ 240748 w 962741"/>
              <a:gd name="connsiteY110" fmla="*/ 380283 h 1637761"/>
              <a:gd name="connsiteX111" fmla="*/ 234751 w 962741"/>
              <a:gd name="connsiteY111" fmla="*/ 396962 h 1637761"/>
              <a:gd name="connsiteX112" fmla="*/ 240873 w 962741"/>
              <a:gd name="connsiteY112" fmla="*/ 423031 h 1637761"/>
              <a:gd name="connsiteX113" fmla="*/ 233502 w 962741"/>
              <a:gd name="connsiteY113" fmla="*/ 444034 h 1637761"/>
              <a:gd name="connsiteX114" fmla="*/ 236250 w 962741"/>
              <a:gd name="connsiteY114" fmla="*/ 461949 h 1637761"/>
              <a:gd name="connsiteX115" fmla="*/ 260487 w 962741"/>
              <a:gd name="connsiteY115" fmla="*/ 462566 h 1637761"/>
              <a:gd name="connsiteX116" fmla="*/ 267109 w 962741"/>
              <a:gd name="connsiteY116" fmla="*/ 483323 h 1637761"/>
              <a:gd name="connsiteX117" fmla="*/ 259113 w 962741"/>
              <a:gd name="connsiteY117" fmla="*/ 497160 h 1637761"/>
              <a:gd name="connsiteX118" fmla="*/ 263111 w 962741"/>
              <a:gd name="connsiteY118" fmla="*/ 521993 h 1637761"/>
              <a:gd name="connsiteX119" fmla="*/ 273980 w 962741"/>
              <a:gd name="connsiteY119" fmla="*/ 536325 h 1637761"/>
              <a:gd name="connsiteX120" fmla="*/ 281476 w 962741"/>
              <a:gd name="connsiteY120" fmla="*/ 568571 h 1637761"/>
              <a:gd name="connsiteX121" fmla="*/ 277478 w 962741"/>
              <a:gd name="connsiteY121" fmla="*/ 583768 h 1637761"/>
              <a:gd name="connsiteX122" fmla="*/ 281976 w 962741"/>
              <a:gd name="connsiteY122" fmla="*/ 597358 h 1637761"/>
              <a:gd name="connsiteX123" fmla="*/ 283475 w 962741"/>
              <a:gd name="connsiteY123" fmla="*/ 632693 h 1637761"/>
              <a:gd name="connsiteX124" fmla="*/ 278103 w 962741"/>
              <a:gd name="connsiteY124" fmla="*/ 646036 h 1637761"/>
              <a:gd name="connsiteX125" fmla="*/ 288473 w 962741"/>
              <a:gd name="connsiteY125" fmla="*/ 671734 h 1637761"/>
              <a:gd name="connsiteX126" fmla="*/ 305963 w 962741"/>
              <a:gd name="connsiteY126" fmla="*/ 676924 h 1637761"/>
              <a:gd name="connsiteX127" fmla="*/ 323329 w 962741"/>
              <a:gd name="connsiteY127" fmla="*/ 709540 h 1637761"/>
              <a:gd name="connsiteX128" fmla="*/ 334073 w 962741"/>
              <a:gd name="connsiteY128" fmla="*/ 720042 h 1637761"/>
              <a:gd name="connsiteX129" fmla="*/ 334073 w 962741"/>
              <a:gd name="connsiteY129" fmla="*/ 739810 h 1637761"/>
              <a:gd name="connsiteX130" fmla="*/ 340445 w 962741"/>
              <a:gd name="connsiteY130" fmla="*/ 746358 h 1637761"/>
              <a:gd name="connsiteX131" fmla="*/ 357936 w 962741"/>
              <a:gd name="connsiteY131" fmla="*/ 746358 h 1637761"/>
              <a:gd name="connsiteX132" fmla="*/ 375302 w 962741"/>
              <a:gd name="connsiteY132" fmla="*/ 762666 h 1637761"/>
              <a:gd name="connsiteX133" fmla="*/ 410033 w 962741"/>
              <a:gd name="connsiteY133" fmla="*/ 761184 h 1637761"/>
              <a:gd name="connsiteX134" fmla="*/ 434645 w 962741"/>
              <a:gd name="connsiteY134" fmla="*/ 782805 h 1637761"/>
              <a:gd name="connsiteX135" fmla="*/ 421777 w 962741"/>
              <a:gd name="connsiteY135" fmla="*/ 789600 h 1637761"/>
              <a:gd name="connsiteX136" fmla="*/ 431272 w 962741"/>
              <a:gd name="connsiteY136" fmla="*/ 801584 h 1637761"/>
              <a:gd name="connsiteX137" fmla="*/ 433896 w 962741"/>
              <a:gd name="connsiteY137" fmla="*/ 829012 h 1637761"/>
              <a:gd name="connsiteX138" fmla="*/ 427899 w 962741"/>
              <a:gd name="connsiteY138" fmla="*/ 834819 h 1637761"/>
              <a:gd name="connsiteX139" fmla="*/ 456759 w 962741"/>
              <a:gd name="connsiteY139" fmla="*/ 859034 h 1637761"/>
              <a:gd name="connsiteX140" fmla="*/ 436519 w 962741"/>
              <a:gd name="connsiteY140" fmla="*/ 855822 h 1637761"/>
              <a:gd name="connsiteX141" fmla="*/ 429023 w 962741"/>
              <a:gd name="connsiteY141" fmla="*/ 858911 h 1637761"/>
              <a:gd name="connsiteX142" fmla="*/ 453510 w 962741"/>
              <a:gd name="connsiteY142" fmla="*/ 877072 h 1637761"/>
              <a:gd name="connsiteX143" fmla="*/ 454635 w 962741"/>
              <a:gd name="connsiteY143" fmla="*/ 888068 h 1637761"/>
              <a:gd name="connsiteX144" fmla="*/ 426275 w 962741"/>
              <a:gd name="connsiteY144" fmla="*/ 874231 h 1637761"/>
              <a:gd name="connsiteX145" fmla="*/ 403412 w 962741"/>
              <a:gd name="connsiteY145" fmla="*/ 875837 h 1637761"/>
              <a:gd name="connsiteX146" fmla="*/ 379799 w 962741"/>
              <a:gd name="connsiteY146" fmla="*/ 892640 h 1637761"/>
              <a:gd name="connsiteX147" fmla="*/ 381049 w 962741"/>
              <a:gd name="connsiteY147" fmla="*/ 906971 h 1637761"/>
              <a:gd name="connsiteX148" fmla="*/ 365182 w 962741"/>
              <a:gd name="connsiteY148" fmla="*/ 924886 h 1637761"/>
              <a:gd name="connsiteX149" fmla="*/ 365682 w 962741"/>
              <a:gd name="connsiteY149" fmla="*/ 937241 h 1637761"/>
              <a:gd name="connsiteX150" fmla="*/ 358311 w 962741"/>
              <a:gd name="connsiteY150" fmla="*/ 943047 h 1637761"/>
              <a:gd name="connsiteX151" fmla="*/ 331075 w 962741"/>
              <a:gd name="connsiteY151" fmla="*/ 973687 h 1637761"/>
              <a:gd name="connsiteX152" fmla="*/ 328202 w 962741"/>
              <a:gd name="connsiteY152" fmla="*/ 1003339 h 1637761"/>
              <a:gd name="connsiteX153" fmla="*/ 321330 w 962741"/>
              <a:gd name="connsiteY153" fmla="*/ 1005687 h 1637761"/>
              <a:gd name="connsiteX154" fmla="*/ 316083 w 962741"/>
              <a:gd name="connsiteY154" fmla="*/ 996915 h 1637761"/>
              <a:gd name="connsiteX155" fmla="*/ 307837 w 962741"/>
              <a:gd name="connsiteY155" fmla="*/ 998644 h 1637761"/>
              <a:gd name="connsiteX156" fmla="*/ 314834 w 962741"/>
              <a:gd name="connsiteY156" fmla="*/ 1016188 h 1637761"/>
              <a:gd name="connsiteX157" fmla="*/ 311335 w 962741"/>
              <a:gd name="connsiteY157" fmla="*/ 1030767 h 1637761"/>
              <a:gd name="connsiteX158" fmla="*/ 292720 w 962741"/>
              <a:gd name="connsiteY158" fmla="*/ 1033609 h 1637761"/>
              <a:gd name="connsiteX159" fmla="*/ 282226 w 962741"/>
              <a:gd name="connsiteY159" fmla="*/ 1049176 h 1637761"/>
              <a:gd name="connsiteX160" fmla="*/ 288098 w 962741"/>
              <a:gd name="connsiteY160" fmla="*/ 1071662 h 1637761"/>
              <a:gd name="connsiteX161" fmla="*/ 300966 w 962741"/>
              <a:gd name="connsiteY161" fmla="*/ 1080063 h 1637761"/>
              <a:gd name="connsiteX162" fmla="*/ 278478 w 962741"/>
              <a:gd name="connsiteY162" fmla="*/ 1074133 h 1637761"/>
              <a:gd name="connsiteX163" fmla="*/ 271856 w 962741"/>
              <a:gd name="connsiteY163" fmla="*/ 1066102 h 1637761"/>
              <a:gd name="connsiteX164" fmla="*/ 259613 w 962741"/>
              <a:gd name="connsiteY164" fmla="*/ 1071415 h 1637761"/>
              <a:gd name="connsiteX165" fmla="*/ 253491 w 962741"/>
              <a:gd name="connsiteY165" fmla="*/ 1090935 h 1637761"/>
              <a:gd name="connsiteX166" fmla="*/ 256614 w 962741"/>
              <a:gd name="connsiteY166" fmla="*/ 1099707 h 1637761"/>
              <a:gd name="connsiteX167" fmla="*/ 243871 w 962741"/>
              <a:gd name="connsiteY167" fmla="*/ 1094765 h 1637761"/>
              <a:gd name="connsiteX168" fmla="*/ 239373 w 962741"/>
              <a:gd name="connsiteY168" fmla="*/ 1101808 h 1637761"/>
              <a:gd name="connsiteX169" fmla="*/ 252367 w 962741"/>
              <a:gd name="connsiteY169" fmla="*/ 1113545 h 1637761"/>
              <a:gd name="connsiteX170" fmla="*/ 252991 w 962741"/>
              <a:gd name="connsiteY170" fmla="*/ 1122070 h 1637761"/>
              <a:gd name="connsiteX171" fmla="*/ 242497 w 962741"/>
              <a:gd name="connsiteY171" fmla="*/ 1134177 h 1637761"/>
              <a:gd name="connsiteX172" fmla="*/ 237749 w 962741"/>
              <a:gd name="connsiteY172" fmla="*/ 1144679 h 1637761"/>
              <a:gd name="connsiteX173" fmla="*/ 221883 w 962741"/>
              <a:gd name="connsiteY173" fmla="*/ 1155675 h 1637761"/>
              <a:gd name="connsiteX174" fmla="*/ 212888 w 962741"/>
              <a:gd name="connsiteY174" fmla="*/ 1149868 h 1637761"/>
              <a:gd name="connsiteX175" fmla="*/ 210514 w 962741"/>
              <a:gd name="connsiteY175" fmla="*/ 1143443 h 1637761"/>
              <a:gd name="connsiteX176" fmla="*/ 198270 w 962741"/>
              <a:gd name="connsiteY176" fmla="*/ 1140231 h 1637761"/>
              <a:gd name="connsiteX177" fmla="*/ 186027 w 962741"/>
              <a:gd name="connsiteY177" fmla="*/ 1145173 h 1637761"/>
              <a:gd name="connsiteX178" fmla="*/ 191149 w 962741"/>
              <a:gd name="connsiteY178" fmla="*/ 1161358 h 1637761"/>
              <a:gd name="connsiteX179" fmla="*/ 181154 w 962741"/>
              <a:gd name="connsiteY179" fmla="*/ 1170377 h 1637761"/>
              <a:gd name="connsiteX180" fmla="*/ 189150 w 962741"/>
              <a:gd name="connsiteY180" fmla="*/ 1187180 h 1637761"/>
              <a:gd name="connsiteX181" fmla="*/ 183028 w 962741"/>
              <a:gd name="connsiteY181" fmla="*/ 1204229 h 1637761"/>
              <a:gd name="connsiteX182" fmla="*/ 174408 w 962741"/>
              <a:gd name="connsiteY182" fmla="*/ 1206700 h 1637761"/>
              <a:gd name="connsiteX183" fmla="*/ 166037 w 962741"/>
              <a:gd name="connsiteY183" fmla="*/ 1222144 h 1637761"/>
              <a:gd name="connsiteX184" fmla="*/ 173783 w 962741"/>
              <a:gd name="connsiteY184" fmla="*/ 1240059 h 1637761"/>
              <a:gd name="connsiteX185" fmla="*/ 178781 w 962741"/>
              <a:gd name="connsiteY185" fmla="*/ 1243641 h 1637761"/>
              <a:gd name="connsiteX186" fmla="*/ 174033 w 962741"/>
              <a:gd name="connsiteY186" fmla="*/ 1261680 h 1637761"/>
              <a:gd name="connsiteX187" fmla="*/ 178031 w 962741"/>
              <a:gd name="connsiteY187" fmla="*/ 1273540 h 1637761"/>
              <a:gd name="connsiteX188" fmla="*/ 189525 w 962741"/>
              <a:gd name="connsiteY188" fmla="*/ 1267610 h 1637761"/>
              <a:gd name="connsiteX189" fmla="*/ 199645 w 962741"/>
              <a:gd name="connsiteY189" fmla="*/ 1277494 h 1637761"/>
              <a:gd name="connsiteX190" fmla="*/ 197396 w 962741"/>
              <a:gd name="connsiteY190" fmla="*/ 1297138 h 1637761"/>
              <a:gd name="connsiteX191" fmla="*/ 193023 w 962741"/>
              <a:gd name="connsiteY191" fmla="*/ 1306898 h 1637761"/>
              <a:gd name="connsiteX192" fmla="*/ 200019 w 962741"/>
              <a:gd name="connsiteY192" fmla="*/ 1323701 h 1637761"/>
              <a:gd name="connsiteX193" fmla="*/ 196521 w 962741"/>
              <a:gd name="connsiteY193" fmla="*/ 1331732 h 1637761"/>
              <a:gd name="connsiteX194" fmla="*/ 215761 w 962741"/>
              <a:gd name="connsiteY194" fmla="*/ 1360148 h 1637761"/>
              <a:gd name="connsiteX195" fmla="*/ 225131 w 962741"/>
              <a:gd name="connsiteY195" fmla="*/ 1367314 h 1637761"/>
              <a:gd name="connsiteX196" fmla="*/ 219384 w 962741"/>
              <a:gd name="connsiteY196" fmla="*/ 1378557 h 1637761"/>
              <a:gd name="connsiteX197" fmla="*/ 234126 w 962741"/>
              <a:gd name="connsiteY197" fmla="*/ 1399189 h 1637761"/>
              <a:gd name="connsiteX198" fmla="*/ 221133 w 962741"/>
              <a:gd name="connsiteY198" fmla="*/ 1405243 h 1637761"/>
              <a:gd name="connsiteX199" fmla="*/ 225131 w 962741"/>
              <a:gd name="connsiteY199" fmla="*/ 1433289 h 1637761"/>
              <a:gd name="connsiteX200" fmla="*/ 219384 w 962741"/>
              <a:gd name="connsiteY200" fmla="*/ 1444532 h 1637761"/>
              <a:gd name="connsiteX201" fmla="*/ 220259 w 962741"/>
              <a:gd name="connsiteY201" fmla="*/ 1481596 h 1637761"/>
              <a:gd name="connsiteX202" fmla="*/ 231253 w 962741"/>
              <a:gd name="connsiteY202" fmla="*/ 1494198 h 1637761"/>
              <a:gd name="connsiteX203" fmla="*/ 222382 w 962741"/>
              <a:gd name="connsiteY203" fmla="*/ 1514460 h 1637761"/>
              <a:gd name="connsiteX204" fmla="*/ 223007 w 962741"/>
              <a:gd name="connsiteY204" fmla="*/ 1528174 h 1637761"/>
              <a:gd name="connsiteX205" fmla="*/ 230378 w 962741"/>
              <a:gd name="connsiteY205" fmla="*/ 1537440 h 1637761"/>
              <a:gd name="connsiteX206" fmla="*/ 254116 w 962741"/>
              <a:gd name="connsiteY206" fmla="*/ 1525456 h 1637761"/>
              <a:gd name="connsiteX207" fmla="*/ 263486 w 962741"/>
              <a:gd name="connsiteY207" fmla="*/ 1532004 h 1637761"/>
              <a:gd name="connsiteX208" fmla="*/ 267109 w 962741"/>
              <a:gd name="connsiteY208" fmla="*/ 1520885 h 1637761"/>
              <a:gd name="connsiteX209" fmla="*/ 288847 w 962741"/>
              <a:gd name="connsiteY209" fmla="*/ 1541888 h 1637761"/>
              <a:gd name="connsiteX210" fmla="*/ 301216 w 962741"/>
              <a:gd name="connsiteY210" fmla="*/ 1539294 h 1637761"/>
              <a:gd name="connsiteX211" fmla="*/ 314209 w 962741"/>
              <a:gd name="connsiteY211" fmla="*/ 1549672 h 1637761"/>
              <a:gd name="connsiteX212" fmla="*/ 340445 w 962741"/>
              <a:gd name="connsiteY212" fmla="*/ 1545842 h 1637761"/>
              <a:gd name="connsiteX213" fmla="*/ 348191 w 962741"/>
              <a:gd name="connsiteY213" fmla="*/ 1548930 h 1637761"/>
              <a:gd name="connsiteX214" fmla="*/ 341819 w 962741"/>
              <a:gd name="connsiteY214" fmla="*/ 1562274 h 1637761"/>
              <a:gd name="connsiteX215" fmla="*/ 351564 w 962741"/>
              <a:gd name="connsiteY215" fmla="*/ 1561903 h 1637761"/>
              <a:gd name="connsiteX216" fmla="*/ 373053 w 962741"/>
              <a:gd name="connsiteY216" fmla="*/ 1545842 h 1637761"/>
              <a:gd name="connsiteX217" fmla="*/ 373553 w 962741"/>
              <a:gd name="connsiteY217" fmla="*/ 1558197 h 1637761"/>
              <a:gd name="connsiteX218" fmla="*/ 363183 w 962741"/>
              <a:gd name="connsiteY218" fmla="*/ 1573764 h 1637761"/>
              <a:gd name="connsiteX219" fmla="*/ 387420 w 962741"/>
              <a:gd name="connsiteY219" fmla="*/ 1605021 h 1637761"/>
              <a:gd name="connsiteX220" fmla="*/ 392792 w 962741"/>
              <a:gd name="connsiteY220" fmla="*/ 1615770 h 1637761"/>
              <a:gd name="connsiteX221" fmla="*/ 387295 w 962741"/>
              <a:gd name="connsiteY221" fmla="*/ 1634550 h 1637761"/>
              <a:gd name="connsiteX222" fmla="*/ 393667 w 962741"/>
              <a:gd name="connsiteY222" fmla="*/ 1637762 h 1637761"/>
              <a:gd name="connsiteX223" fmla="*/ 402162 w 962741"/>
              <a:gd name="connsiteY223" fmla="*/ 1610581 h 1637761"/>
              <a:gd name="connsiteX224" fmla="*/ 413032 w 962741"/>
              <a:gd name="connsiteY224" fmla="*/ 1604651 h 1637761"/>
              <a:gd name="connsiteX225" fmla="*/ 415655 w 962741"/>
              <a:gd name="connsiteY225" fmla="*/ 1616264 h 1637761"/>
              <a:gd name="connsiteX226" fmla="*/ 431272 w 962741"/>
              <a:gd name="connsiteY226" fmla="*/ 1608728 h 1637761"/>
              <a:gd name="connsiteX227" fmla="*/ 444390 w 962741"/>
              <a:gd name="connsiteY227" fmla="*/ 1607492 h 1637761"/>
              <a:gd name="connsiteX228" fmla="*/ 473375 w 962741"/>
              <a:gd name="connsiteY228" fmla="*/ 1585007 h 1637761"/>
              <a:gd name="connsiteX229" fmla="*/ 489991 w 962741"/>
              <a:gd name="connsiteY229" fmla="*/ 1584265 h 1637761"/>
              <a:gd name="connsiteX230" fmla="*/ 525098 w 962741"/>
              <a:gd name="connsiteY230" fmla="*/ 1559432 h 1637761"/>
              <a:gd name="connsiteX231" fmla="*/ 526847 w 962741"/>
              <a:gd name="connsiteY231" fmla="*/ 1549795 h 1637761"/>
              <a:gd name="connsiteX232" fmla="*/ 550709 w 962741"/>
              <a:gd name="connsiteY232" fmla="*/ 1555602 h 1637761"/>
              <a:gd name="connsiteX233" fmla="*/ 566576 w 962741"/>
              <a:gd name="connsiteY233" fmla="*/ 1552143 h 1637761"/>
              <a:gd name="connsiteX234" fmla="*/ 580193 w 962741"/>
              <a:gd name="connsiteY234" fmla="*/ 1529533 h 1637761"/>
              <a:gd name="connsiteX235" fmla="*/ 584066 w 962741"/>
              <a:gd name="connsiteY235" fmla="*/ 1536946 h 1637761"/>
              <a:gd name="connsiteX236" fmla="*/ 577070 w 962741"/>
              <a:gd name="connsiteY236" fmla="*/ 1552390 h 1637761"/>
              <a:gd name="connsiteX237" fmla="*/ 586940 w 962741"/>
              <a:gd name="connsiteY237" fmla="*/ 1556096 h 1637761"/>
              <a:gd name="connsiteX238" fmla="*/ 595685 w 962741"/>
              <a:gd name="connsiteY238" fmla="*/ 1533734 h 1637761"/>
              <a:gd name="connsiteX239" fmla="*/ 604056 w 962741"/>
              <a:gd name="connsiteY239" fmla="*/ 1535464 h 1637761"/>
              <a:gd name="connsiteX240" fmla="*/ 595685 w 962741"/>
              <a:gd name="connsiteY240" fmla="*/ 1517302 h 1637761"/>
              <a:gd name="connsiteX241" fmla="*/ 602931 w 962741"/>
              <a:gd name="connsiteY241" fmla="*/ 1509395 h 1637761"/>
              <a:gd name="connsiteX242" fmla="*/ 612676 w 962741"/>
              <a:gd name="connsiteY242" fmla="*/ 1526815 h 1637761"/>
              <a:gd name="connsiteX243" fmla="*/ 623171 w 962741"/>
              <a:gd name="connsiteY243" fmla="*/ 1528421 h 1637761"/>
              <a:gd name="connsiteX244" fmla="*/ 626669 w 962741"/>
              <a:gd name="connsiteY244" fmla="*/ 1515202 h 1637761"/>
              <a:gd name="connsiteX245" fmla="*/ 636664 w 962741"/>
              <a:gd name="connsiteY245" fmla="*/ 1534722 h 1637761"/>
              <a:gd name="connsiteX246" fmla="*/ 648282 w 962741"/>
              <a:gd name="connsiteY246" fmla="*/ 1530151 h 1637761"/>
              <a:gd name="connsiteX247" fmla="*/ 649157 w 962741"/>
              <a:gd name="connsiteY247" fmla="*/ 1517673 h 1637761"/>
              <a:gd name="connsiteX248" fmla="*/ 659651 w 962741"/>
              <a:gd name="connsiteY248" fmla="*/ 1520020 h 1637761"/>
              <a:gd name="connsiteX249" fmla="*/ 664274 w 962741"/>
              <a:gd name="connsiteY249" fmla="*/ 1529410 h 1637761"/>
              <a:gd name="connsiteX250" fmla="*/ 675643 w 962741"/>
              <a:gd name="connsiteY250" fmla="*/ 1517920 h 1637761"/>
              <a:gd name="connsiteX251" fmla="*/ 699006 w 962741"/>
              <a:gd name="connsiteY251" fmla="*/ 1512113 h 1637761"/>
              <a:gd name="connsiteX252" fmla="*/ 712748 w 962741"/>
              <a:gd name="connsiteY252" fmla="*/ 1523232 h 1637761"/>
              <a:gd name="connsiteX253" fmla="*/ 740983 w 962741"/>
              <a:gd name="connsiteY253" fmla="*/ 1517920 h 1637761"/>
              <a:gd name="connsiteX254" fmla="*/ 742732 w 962741"/>
              <a:gd name="connsiteY254" fmla="*/ 1508159 h 1637761"/>
              <a:gd name="connsiteX255" fmla="*/ 734737 w 962741"/>
              <a:gd name="connsiteY255" fmla="*/ 1500993 h 1637761"/>
              <a:gd name="connsiteX256" fmla="*/ 742857 w 962741"/>
              <a:gd name="connsiteY256" fmla="*/ 1495804 h 1637761"/>
              <a:gd name="connsiteX257" fmla="*/ 755476 w 962741"/>
              <a:gd name="connsiteY257" fmla="*/ 1499387 h 1637761"/>
              <a:gd name="connsiteX258" fmla="*/ 758724 w 962741"/>
              <a:gd name="connsiteY258" fmla="*/ 1510260 h 1637761"/>
              <a:gd name="connsiteX259" fmla="*/ 776964 w 962741"/>
              <a:gd name="connsiteY259" fmla="*/ 1514337 h 1637761"/>
              <a:gd name="connsiteX260" fmla="*/ 783586 w 962741"/>
              <a:gd name="connsiteY260" fmla="*/ 1498893 h 1637761"/>
              <a:gd name="connsiteX261" fmla="*/ 783586 w 962741"/>
              <a:gd name="connsiteY261" fmla="*/ 1498893 h 1637761"/>
              <a:gd name="connsiteX262" fmla="*/ 412157 w 962741"/>
              <a:gd name="connsiteY262" fmla="*/ 852239 h 1637761"/>
              <a:gd name="connsiteX263" fmla="*/ 405536 w 962741"/>
              <a:gd name="connsiteY263" fmla="*/ 861011 h 1637761"/>
              <a:gd name="connsiteX264" fmla="*/ 389544 w 962741"/>
              <a:gd name="connsiteY264" fmla="*/ 860393 h 1637761"/>
              <a:gd name="connsiteX265" fmla="*/ 376176 w 962741"/>
              <a:gd name="connsiteY265" fmla="*/ 843220 h 1637761"/>
              <a:gd name="connsiteX266" fmla="*/ 392792 w 962741"/>
              <a:gd name="connsiteY266" fmla="*/ 830371 h 1637761"/>
              <a:gd name="connsiteX267" fmla="*/ 420778 w 962741"/>
              <a:gd name="connsiteY267" fmla="*/ 833460 h 1637761"/>
              <a:gd name="connsiteX268" fmla="*/ 419403 w 962741"/>
              <a:gd name="connsiteY268" fmla="*/ 841367 h 1637761"/>
              <a:gd name="connsiteX269" fmla="*/ 403287 w 962741"/>
              <a:gd name="connsiteY269" fmla="*/ 842726 h 1637761"/>
              <a:gd name="connsiteX270" fmla="*/ 412032 w 962741"/>
              <a:gd name="connsiteY270" fmla="*/ 852239 h 1637761"/>
              <a:gd name="connsiteX271" fmla="*/ 412032 w 962741"/>
              <a:gd name="connsiteY271" fmla="*/ 852239 h 1637761"/>
              <a:gd name="connsiteX272" fmla="*/ 165413 w 962741"/>
              <a:gd name="connsiteY272" fmla="*/ 1121328 h 1637761"/>
              <a:gd name="connsiteX273" fmla="*/ 166912 w 962741"/>
              <a:gd name="connsiteY273" fmla="*/ 1109468 h 1637761"/>
              <a:gd name="connsiteX274" fmla="*/ 178156 w 962741"/>
              <a:gd name="connsiteY274" fmla="*/ 1118240 h 1637761"/>
              <a:gd name="connsiteX275" fmla="*/ 171284 w 962741"/>
              <a:gd name="connsiteY275" fmla="*/ 1126023 h 1637761"/>
              <a:gd name="connsiteX276" fmla="*/ 165413 w 962741"/>
              <a:gd name="connsiteY276" fmla="*/ 1121328 h 1637761"/>
              <a:gd name="connsiteX277" fmla="*/ 165413 w 962741"/>
              <a:gd name="connsiteY277" fmla="*/ 1121328 h 1637761"/>
              <a:gd name="connsiteX278" fmla="*/ 157917 w 962741"/>
              <a:gd name="connsiteY278" fmla="*/ 1132448 h 1637761"/>
              <a:gd name="connsiteX279" fmla="*/ 169161 w 962741"/>
              <a:gd name="connsiteY279" fmla="*/ 1140849 h 1637761"/>
              <a:gd name="connsiteX280" fmla="*/ 180530 w 962741"/>
              <a:gd name="connsiteY280" fmla="*/ 1134795 h 1637761"/>
              <a:gd name="connsiteX281" fmla="*/ 179530 w 962741"/>
              <a:gd name="connsiteY281" fmla="*/ 1149992 h 1637761"/>
              <a:gd name="connsiteX282" fmla="*/ 163664 w 962741"/>
              <a:gd name="connsiteY282" fmla="*/ 1159875 h 1637761"/>
              <a:gd name="connsiteX283" fmla="*/ 152794 w 962741"/>
              <a:gd name="connsiteY283" fmla="*/ 1147891 h 1637761"/>
              <a:gd name="connsiteX284" fmla="*/ 157792 w 962741"/>
              <a:gd name="connsiteY284" fmla="*/ 1132571 h 1637761"/>
              <a:gd name="connsiteX285" fmla="*/ 157792 w 962741"/>
              <a:gd name="connsiteY285" fmla="*/ 1132571 h 1637761"/>
              <a:gd name="connsiteX286" fmla="*/ 368680 w 962741"/>
              <a:gd name="connsiteY286" fmla="*/ 1601191 h 1637761"/>
              <a:gd name="connsiteX287" fmla="*/ 372928 w 962741"/>
              <a:gd name="connsiteY287" fmla="*/ 1614782 h 1637761"/>
              <a:gd name="connsiteX288" fmla="*/ 361309 w 962741"/>
              <a:gd name="connsiteY288" fmla="*/ 1623183 h 1637761"/>
              <a:gd name="connsiteX289" fmla="*/ 354313 w 962741"/>
              <a:gd name="connsiteY289" fmla="*/ 1615647 h 1637761"/>
              <a:gd name="connsiteX290" fmla="*/ 362683 w 962741"/>
              <a:gd name="connsiteY290" fmla="*/ 1610334 h 1637761"/>
              <a:gd name="connsiteX291" fmla="*/ 368555 w 962741"/>
              <a:gd name="connsiteY291" fmla="*/ 1601191 h 1637761"/>
              <a:gd name="connsiteX292" fmla="*/ 368555 w 962741"/>
              <a:gd name="connsiteY292" fmla="*/ 1601191 h 1637761"/>
              <a:gd name="connsiteX293" fmla="*/ 343319 w 962741"/>
              <a:gd name="connsiteY293" fmla="*/ 1581918 h 1637761"/>
              <a:gd name="connsiteX294" fmla="*/ 349066 w 962741"/>
              <a:gd name="connsiteY294" fmla="*/ 1594520 h 1637761"/>
              <a:gd name="connsiteX295" fmla="*/ 341944 w 962741"/>
              <a:gd name="connsiteY295" fmla="*/ 1596497 h 1637761"/>
              <a:gd name="connsiteX296" fmla="*/ 343319 w 962741"/>
              <a:gd name="connsiteY296" fmla="*/ 1581918 h 1637761"/>
              <a:gd name="connsiteX297" fmla="*/ 343319 w 962741"/>
              <a:gd name="connsiteY297" fmla="*/ 1581918 h 1637761"/>
              <a:gd name="connsiteX298" fmla="*/ 305089 w 962741"/>
              <a:gd name="connsiteY298" fmla="*/ 1565733 h 1637761"/>
              <a:gd name="connsiteX299" fmla="*/ 332949 w 962741"/>
              <a:gd name="connsiteY299" fmla="*/ 1558938 h 1637761"/>
              <a:gd name="connsiteX300" fmla="*/ 331450 w 962741"/>
              <a:gd name="connsiteY300" fmla="*/ 1569563 h 1637761"/>
              <a:gd name="connsiteX301" fmla="*/ 315458 w 962741"/>
              <a:gd name="connsiteY301" fmla="*/ 1583400 h 1637761"/>
              <a:gd name="connsiteX302" fmla="*/ 302215 w 962741"/>
              <a:gd name="connsiteY302" fmla="*/ 1576729 h 1637761"/>
              <a:gd name="connsiteX303" fmla="*/ 305089 w 962741"/>
              <a:gd name="connsiteY303" fmla="*/ 1565733 h 1637761"/>
              <a:gd name="connsiteX304" fmla="*/ 305089 w 962741"/>
              <a:gd name="connsiteY304" fmla="*/ 1565733 h 1637761"/>
              <a:gd name="connsiteX305" fmla="*/ 265984 w 962741"/>
              <a:gd name="connsiteY305" fmla="*/ 1537193 h 1637761"/>
              <a:gd name="connsiteX306" fmla="*/ 285474 w 962741"/>
              <a:gd name="connsiteY306" fmla="*/ 1552513 h 1637761"/>
              <a:gd name="connsiteX307" fmla="*/ 274605 w 962741"/>
              <a:gd name="connsiteY307" fmla="*/ 1560173 h 1637761"/>
              <a:gd name="connsiteX308" fmla="*/ 266609 w 962741"/>
              <a:gd name="connsiteY308" fmla="*/ 1551896 h 1637761"/>
              <a:gd name="connsiteX309" fmla="*/ 265984 w 962741"/>
              <a:gd name="connsiteY309" fmla="*/ 1537193 h 1637761"/>
              <a:gd name="connsiteX310" fmla="*/ 265984 w 962741"/>
              <a:gd name="connsiteY310" fmla="*/ 1537193 h 1637761"/>
              <a:gd name="connsiteX311" fmla="*/ 224881 w 962741"/>
              <a:gd name="connsiteY311" fmla="*/ 1546459 h 1637761"/>
              <a:gd name="connsiteX312" fmla="*/ 242247 w 962741"/>
              <a:gd name="connsiteY312" fmla="*/ 1548066 h 1637761"/>
              <a:gd name="connsiteX313" fmla="*/ 232127 w 962741"/>
              <a:gd name="connsiteY313" fmla="*/ 1552760 h 1637761"/>
              <a:gd name="connsiteX314" fmla="*/ 224881 w 962741"/>
              <a:gd name="connsiteY314" fmla="*/ 1546459 h 1637761"/>
              <a:gd name="connsiteX315" fmla="*/ 224881 w 962741"/>
              <a:gd name="connsiteY315" fmla="*/ 1546459 h 1637761"/>
              <a:gd name="connsiteX316" fmla="*/ 104195 w 962741"/>
              <a:gd name="connsiteY316" fmla="*/ 1577841 h 1637761"/>
              <a:gd name="connsiteX317" fmla="*/ 125684 w 962741"/>
              <a:gd name="connsiteY317" fmla="*/ 1584142 h 1637761"/>
              <a:gd name="connsiteX318" fmla="*/ 130556 w 962741"/>
              <a:gd name="connsiteY318" fmla="*/ 1575740 h 1637761"/>
              <a:gd name="connsiteX319" fmla="*/ 116314 w 962741"/>
              <a:gd name="connsiteY319" fmla="*/ 1567463 h 1637761"/>
              <a:gd name="connsiteX320" fmla="*/ 115939 w 962741"/>
              <a:gd name="connsiteY320" fmla="*/ 1553625 h 1637761"/>
              <a:gd name="connsiteX321" fmla="*/ 125559 w 962741"/>
              <a:gd name="connsiteY321" fmla="*/ 1552266 h 1637761"/>
              <a:gd name="connsiteX322" fmla="*/ 153544 w 962741"/>
              <a:gd name="connsiteY322" fmla="*/ 1569439 h 1637761"/>
              <a:gd name="connsiteX323" fmla="*/ 156792 w 962741"/>
              <a:gd name="connsiteY323" fmla="*/ 1583153 h 1637761"/>
              <a:gd name="connsiteX324" fmla="*/ 143799 w 962741"/>
              <a:gd name="connsiteY324" fmla="*/ 1581671 h 1637761"/>
              <a:gd name="connsiteX325" fmla="*/ 137802 w 962741"/>
              <a:gd name="connsiteY325" fmla="*/ 1588837 h 1637761"/>
              <a:gd name="connsiteX326" fmla="*/ 148172 w 962741"/>
              <a:gd name="connsiteY326" fmla="*/ 1603910 h 1637761"/>
              <a:gd name="connsiteX327" fmla="*/ 161665 w 962741"/>
              <a:gd name="connsiteY327" fmla="*/ 1602056 h 1637761"/>
              <a:gd name="connsiteX328" fmla="*/ 166287 w 962741"/>
              <a:gd name="connsiteY328" fmla="*/ 1617623 h 1637761"/>
              <a:gd name="connsiteX329" fmla="*/ 154044 w 962741"/>
              <a:gd name="connsiteY329" fmla="*/ 1625036 h 1637761"/>
              <a:gd name="connsiteX330" fmla="*/ 138552 w 962741"/>
              <a:gd name="connsiteY330" fmla="*/ 1611570 h 1637761"/>
              <a:gd name="connsiteX331" fmla="*/ 120062 w 962741"/>
              <a:gd name="connsiteY331" fmla="*/ 1606504 h 1637761"/>
              <a:gd name="connsiteX332" fmla="*/ 109317 w 962741"/>
              <a:gd name="connsiteY332" fmla="*/ 1594767 h 1637761"/>
              <a:gd name="connsiteX333" fmla="*/ 97698 w 962741"/>
              <a:gd name="connsiteY333" fmla="*/ 1587354 h 1637761"/>
              <a:gd name="connsiteX334" fmla="*/ 104320 w 962741"/>
              <a:gd name="connsiteY334" fmla="*/ 1577841 h 1637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962741" h="1637761">
                <a:moveTo>
                  <a:pt x="783586" y="1498028"/>
                </a:moveTo>
                <a:lnTo>
                  <a:pt x="778963" y="1472083"/>
                </a:lnTo>
                <a:lnTo>
                  <a:pt x="819567" y="1430447"/>
                </a:lnTo>
                <a:lnTo>
                  <a:pt x="840931" y="1419081"/>
                </a:lnTo>
                <a:lnTo>
                  <a:pt x="863544" y="1374974"/>
                </a:lnTo>
                <a:lnTo>
                  <a:pt x="887656" y="1335932"/>
                </a:lnTo>
                <a:lnTo>
                  <a:pt x="904897" y="1289972"/>
                </a:lnTo>
                <a:lnTo>
                  <a:pt x="939129" y="1226345"/>
                </a:lnTo>
                <a:lnTo>
                  <a:pt x="962741" y="1160493"/>
                </a:lnTo>
                <a:lnTo>
                  <a:pt x="955620" y="1133312"/>
                </a:lnTo>
                <a:lnTo>
                  <a:pt x="914017" y="1089947"/>
                </a:lnTo>
                <a:lnTo>
                  <a:pt x="889905" y="1083152"/>
                </a:lnTo>
                <a:lnTo>
                  <a:pt x="844929" y="1026072"/>
                </a:lnTo>
                <a:lnTo>
                  <a:pt x="851050" y="999015"/>
                </a:lnTo>
                <a:lnTo>
                  <a:pt x="867167" y="974676"/>
                </a:lnTo>
                <a:lnTo>
                  <a:pt x="864043" y="947989"/>
                </a:lnTo>
                <a:lnTo>
                  <a:pt x="835434" y="930198"/>
                </a:lnTo>
                <a:lnTo>
                  <a:pt x="824564" y="909689"/>
                </a:lnTo>
                <a:lnTo>
                  <a:pt x="821816" y="876455"/>
                </a:lnTo>
                <a:lnTo>
                  <a:pt x="828687" y="867683"/>
                </a:lnTo>
                <a:lnTo>
                  <a:pt x="820067" y="851004"/>
                </a:lnTo>
                <a:lnTo>
                  <a:pt x="797454" y="848038"/>
                </a:lnTo>
                <a:lnTo>
                  <a:pt x="784835" y="833460"/>
                </a:lnTo>
                <a:lnTo>
                  <a:pt x="783586" y="803437"/>
                </a:lnTo>
                <a:lnTo>
                  <a:pt x="795455" y="786511"/>
                </a:lnTo>
                <a:lnTo>
                  <a:pt x="777339" y="782681"/>
                </a:lnTo>
                <a:lnTo>
                  <a:pt x="775965" y="766990"/>
                </a:lnTo>
                <a:lnTo>
                  <a:pt x="777339" y="708058"/>
                </a:lnTo>
                <a:lnTo>
                  <a:pt x="793706" y="703486"/>
                </a:lnTo>
                <a:lnTo>
                  <a:pt x="748604" y="611072"/>
                </a:lnTo>
                <a:lnTo>
                  <a:pt x="707876" y="544109"/>
                </a:lnTo>
                <a:lnTo>
                  <a:pt x="698881" y="518905"/>
                </a:lnTo>
                <a:lnTo>
                  <a:pt x="676018" y="496295"/>
                </a:lnTo>
                <a:lnTo>
                  <a:pt x="689386" y="452435"/>
                </a:lnTo>
                <a:lnTo>
                  <a:pt x="706627" y="422290"/>
                </a:lnTo>
                <a:lnTo>
                  <a:pt x="714123" y="395109"/>
                </a:lnTo>
                <a:lnTo>
                  <a:pt x="702379" y="385101"/>
                </a:lnTo>
                <a:lnTo>
                  <a:pt x="659526" y="360762"/>
                </a:lnTo>
                <a:lnTo>
                  <a:pt x="651531" y="344083"/>
                </a:lnTo>
                <a:lnTo>
                  <a:pt x="636664" y="323821"/>
                </a:lnTo>
                <a:lnTo>
                  <a:pt x="610927" y="311096"/>
                </a:lnTo>
                <a:lnTo>
                  <a:pt x="598309" y="309737"/>
                </a:lnTo>
                <a:lnTo>
                  <a:pt x="580693" y="269213"/>
                </a:lnTo>
                <a:lnTo>
                  <a:pt x="567450" y="254757"/>
                </a:lnTo>
                <a:lnTo>
                  <a:pt x="572697" y="223747"/>
                </a:lnTo>
                <a:lnTo>
                  <a:pt x="575696" y="199408"/>
                </a:lnTo>
                <a:lnTo>
                  <a:pt x="560704" y="195207"/>
                </a:lnTo>
                <a:lnTo>
                  <a:pt x="575196" y="184458"/>
                </a:lnTo>
                <a:lnTo>
                  <a:pt x="598934" y="173957"/>
                </a:lnTo>
                <a:lnTo>
                  <a:pt x="593936" y="136398"/>
                </a:lnTo>
                <a:lnTo>
                  <a:pt x="609053" y="110453"/>
                </a:lnTo>
                <a:lnTo>
                  <a:pt x="611302" y="91673"/>
                </a:lnTo>
                <a:lnTo>
                  <a:pt x="592312" y="73388"/>
                </a:lnTo>
                <a:lnTo>
                  <a:pt x="586315" y="58809"/>
                </a:lnTo>
                <a:lnTo>
                  <a:pt x="555706" y="56832"/>
                </a:lnTo>
                <a:lnTo>
                  <a:pt x="535592" y="50531"/>
                </a:lnTo>
                <a:lnTo>
                  <a:pt x="522099" y="37929"/>
                </a:lnTo>
                <a:lnTo>
                  <a:pt x="498612" y="10996"/>
                </a:lnTo>
                <a:lnTo>
                  <a:pt x="480871" y="0"/>
                </a:lnTo>
                <a:lnTo>
                  <a:pt x="441891" y="2347"/>
                </a:lnTo>
                <a:lnTo>
                  <a:pt x="427399" y="19397"/>
                </a:lnTo>
                <a:lnTo>
                  <a:pt x="429148" y="27181"/>
                </a:lnTo>
                <a:lnTo>
                  <a:pt x="415405" y="31011"/>
                </a:lnTo>
                <a:lnTo>
                  <a:pt x="391418" y="27428"/>
                </a:lnTo>
                <a:lnTo>
                  <a:pt x="372553" y="36694"/>
                </a:lnTo>
                <a:lnTo>
                  <a:pt x="374302" y="47072"/>
                </a:lnTo>
                <a:lnTo>
                  <a:pt x="360684" y="67334"/>
                </a:lnTo>
                <a:lnTo>
                  <a:pt x="350315" y="74376"/>
                </a:lnTo>
                <a:lnTo>
                  <a:pt x="359560" y="87720"/>
                </a:lnTo>
                <a:lnTo>
                  <a:pt x="354188" y="102422"/>
                </a:lnTo>
                <a:lnTo>
                  <a:pt x="351564" y="149000"/>
                </a:lnTo>
                <a:lnTo>
                  <a:pt x="361309" y="176057"/>
                </a:lnTo>
                <a:lnTo>
                  <a:pt x="368555" y="191501"/>
                </a:lnTo>
                <a:lnTo>
                  <a:pt x="362433" y="203608"/>
                </a:lnTo>
                <a:lnTo>
                  <a:pt x="347067" y="214728"/>
                </a:lnTo>
                <a:lnTo>
                  <a:pt x="331200" y="214110"/>
                </a:lnTo>
                <a:lnTo>
                  <a:pt x="317332" y="228442"/>
                </a:lnTo>
                <a:lnTo>
                  <a:pt x="305713" y="235484"/>
                </a:lnTo>
                <a:lnTo>
                  <a:pt x="295969" y="255499"/>
                </a:lnTo>
                <a:lnTo>
                  <a:pt x="275354" y="253151"/>
                </a:lnTo>
                <a:lnTo>
                  <a:pt x="243996" y="233507"/>
                </a:lnTo>
                <a:lnTo>
                  <a:pt x="224756" y="233507"/>
                </a:lnTo>
                <a:cubicBezTo>
                  <a:pt x="224756" y="233507"/>
                  <a:pt x="212763" y="247345"/>
                  <a:pt x="212763" y="247345"/>
                </a:cubicBezTo>
                <a:lnTo>
                  <a:pt x="191274" y="269830"/>
                </a:lnTo>
                <a:lnTo>
                  <a:pt x="148297" y="270325"/>
                </a:lnTo>
                <a:lnTo>
                  <a:pt x="122060" y="260935"/>
                </a:lnTo>
                <a:lnTo>
                  <a:pt x="106694" y="241908"/>
                </a:lnTo>
                <a:lnTo>
                  <a:pt x="98573" y="223253"/>
                </a:lnTo>
                <a:lnTo>
                  <a:pt x="58219" y="193477"/>
                </a:lnTo>
                <a:lnTo>
                  <a:pt x="43477" y="173833"/>
                </a:lnTo>
                <a:lnTo>
                  <a:pt x="26236" y="171980"/>
                </a:lnTo>
                <a:lnTo>
                  <a:pt x="14118" y="182976"/>
                </a:lnTo>
                <a:lnTo>
                  <a:pt x="11494" y="198790"/>
                </a:lnTo>
                <a:lnTo>
                  <a:pt x="17366" y="212257"/>
                </a:lnTo>
                <a:lnTo>
                  <a:pt x="11369" y="216581"/>
                </a:lnTo>
                <a:lnTo>
                  <a:pt x="3498" y="213122"/>
                </a:lnTo>
                <a:lnTo>
                  <a:pt x="0" y="218681"/>
                </a:lnTo>
                <a:lnTo>
                  <a:pt x="15867" y="235855"/>
                </a:lnTo>
                <a:lnTo>
                  <a:pt x="40229" y="246603"/>
                </a:lnTo>
                <a:lnTo>
                  <a:pt x="74211" y="282556"/>
                </a:lnTo>
                <a:lnTo>
                  <a:pt x="98823" y="299235"/>
                </a:lnTo>
                <a:lnTo>
                  <a:pt x="134554" y="300347"/>
                </a:lnTo>
                <a:lnTo>
                  <a:pt x="148796" y="308254"/>
                </a:lnTo>
                <a:lnTo>
                  <a:pt x="161540" y="310972"/>
                </a:lnTo>
                <a:lnTo>
                  <a:pt x="180280" y="330493"/>
                </a:lnTo>
                <a:lnTo>
                  <a:pt x="187651" y="347172"/>
                </a:lnTo>
                <a:lnTo>
                  <a:pt x="195647" y="348160"/>
                </a:lnTo>
                <a:lnTo>
                  <a:pt x="202143" y="345936"/>
                </a:lnTo>
                <a:lnTo>
                  <a:pt x="218884" y="366816"/>
                </a:lnTo>
                <a:lnTo>
                  <a:pt x="231503" y="367557"/>
                </a:lnTo>
                <a:lnTo>
                  <a:pt x="240748" y="380283"/>
                </a:lnTo>
                <a:lnTo>
                  <a:pt x="234751" y="396962"/>
                </a:lnTo>
                <a:lnTo>
                  <a:pt x="240873" y="423031"/>
                </a:lnTo>
                <a:lnTo>
                  <a:pt x="233502" y="444034"/>
                </a:lnTo>
                <a:lnTo>
                  <a:pt x="236250" y="461949"/>
                </a:lnTo>
                <a:lnTo>
                  <a:pt x="260487" y="462566"/>
                </a:lnTo>
                <a:lnTo>
                  <a:pt x="267109" y="483323"/>
                </a:lnTo>
                <a:lnTo>
                  <a:pt x="259113" y="497160"/>
                </a:lnTo>
                <a:lnTo>
                  <a:pt x="263111" y="521993"/>
                </a:lnTo>
                <a:lnTo>
                  <a:pt x="273980" y="536325"/>
                </a:lnTo>
                <a:lnTo>
                  <a:pt x="281476" y="568571"/>
                </a:lnTo>
                <a:lnTo>
                  <a:pt x="277478" y="583768"/>
                </a:lnTo>
                <a:lnTo>
                  <a:pt x="281976" y="597358"/>
                </a:lnTo>
                <a:lnTo>
                  <a:pt x="283475" y="632693"/>
                </a:lnTo>
                <a:lnTo>
                  <a:pt x="278103" y="646036"/>
                </a:lnTo>
                <a:lnTo>
                  <a:pt x="288473" y="671734"/>
                </a:lnTo>
                <a:lnTo>
                  <a:pt x="305963" y="676924"/>
                </a:lnTo>
                <a:lnTo>
                  <a:pt x="323329" y="709540"/>
                </a:lnTo>
                <a:lnTo>
                  <a:pt x="334073" y="720042"/>
                </a:lnTo>
                <a:lnTo>
                  <a:pt x="334073" y="739810"/>
                </a:lnTo>
                <a:cubicBezTo>
                  <a:pt x="334073" y="739810"/>
                  <a:pt x="340445" y="746358"/>
                  <a:pt x="340445" y="746358"/>
                </a:cubicBezTo>
                <a:lnTo>
                  <a:pt x="357936" y="746358"/>
                </a:lnTo>
                <a:cubicBezTo>
                  <a:pt x="357936" y="746358"/>
                  <a:pt x="375302" y="762666"/>
                  <a:pt x="375302" y="762666"/>
                </a:cubicBezTo>
                <a:lnTo>
                  <a:pt x="410033" y="761184"/>
                </a:lnTo>
                <a:lnTo>
                  <a:pt x="434645" y="782805"/>
                </a:lnTo>
                <a:lnTo>
                  <a:pt x="421777" y="789600"/>
                </a:lnTo>
                <a:lnTo>
                  <a:pt x="431272" y="801584"/>
                </a:lnTo>
                <a:lnTo>
                  <a:pt x="433896" y="829012"/>
                </a:lnTo>
                <a:lnTo>
                  <a:pt x="427899" y="834819"/>
                </a:lnTo>
                <a:lnTo>
                  <a:pt x="456759" y="859034"/>
                </a:lnTo>
                <a:lnTo>
                  <a:pt x="436519" y="855822"/>
                </a:lnTo>
                <a:lnTo>
                  <a:pt x="429023" y="858911"/>
                </a:lnTo>
                <a:lnTo>
                  <a:pt x="453510" y="877072"/>
                </a:lnTo>
                <a:lnTo>
                  <a:pt x="454635" y="888068"/>
                </a:lnTo>
                <a:lnTo>
                  <a:pt x="426275" y="874231"/>
                </a:lnTo>
                <a:lnTo>
                  <a:pt x="403412" y="875837"/>
                </a:lnTo>
                <a:lnTo>
                  <a:pt x="379799" y="892640"/>
                </a:lnTo>
                <a:lnTo>
                  <a:pt x="381049" y="906971"/>
                </a:lnTo>
                <a:lnTo>
                  <a:pt x="365182" y="924886"/>
                </a:lnTo>
                <a:lnTo>
                  <a:pt x="365682" y="937241"/>
                </a:lnTo>
                <a:lnTo>
                  <a:pt x="358311" y="943047"/>
                </a:lnTo>
                <a:lnTo>
                  <a:pt x="331075" y="973687"/>
                </a:lnTo>
                <a:lnTo>
                  <a:pt x="328202" y="1003339"/>
                </a:lnTo>
                <a:lnTo>
                  <a:pt x="321330" y="1005687"/>
                </a:lnTo>
                <a:lnTo>
                  <a:pt x="316083" y="996915"/>
                </a:lnTo>
                <a:lnTo>
                  <a:pt x="307837" y="998644"/>
                </a:lnTo>
                <a:lnTo>
                  <a:pt x="314834" y="1016188"/>
                </a:lnTo>
                <a:lnTo>
                  <a:pt x="311335" y="1030767"/>
                </a:lnTo>
                <a:lnTo>
                  <a:pt x="292720" y="1033609"/>
                </a:lnTo>
                <a:lnTo>
                  <a:pt x="282226" y="1049176"/>
                </a:lnTo>
                <a:lnTo>
                  <a:pt x="288098" y="1071662"/>
                </a:lnTo>
                <a:lnTo>
                  <a:pt x="300966" y="1080063"/>
                </a:lnTo>
                <a:lnTo>
                  <a:pt x="278478" y="1074133"/>
                </a:lnTo>
                <a:lnTo>
                  <a:pt x="271856" y="1066102"/>
                </a:lnTo>
                <a:lnTo>
                  <a:pt x="259613" y="1071415"/>
                </a:lnTo>
                <a:lnTo>
                  <a:pt x="253491" y="1090935"/>
                </a:lnTo>
                <a:lnTo>
                  <a:pt x="256614" y="1099707"/>
                </a:lnTo>
                <a:lnTo>
                  <a:pt x="243871" y="1094765"/>
                </a:lnTo>
                <a:lnTo>
                  <a:pt x="239373" y="1101808"/>
                </a:lnTo>
                <a:lnTo>
                  <a:pt x="252367" y="1113545"/>
                </a:lnTo>
                <a:lnTo>
                  <a:pt x="252991" y="1122070"/>
                </a:lnTo>
                <a:lnTo>
                  <a:pt x="242497" y="1134177"/>
                </a:lnTo>
                <a:lnTo>
                  <a:pt x="237749" y="1144679"/>
                </a:lnTo>
                <a:lnTo>
                  <a:pt x="221883" y="1155675"/>
                </a:lnTo>
                <a:lnTo>
                  <a:pt x="212888" y="1149868"/>
                </a:lnTo>
                <a:lnTo>
                  <a:pt x="210514" y="1143443"/>
                </a:lnTo>
                <a:lnTo>
                  <a:pt x="198270" y="1140231"/>
                </a:lnTo>
                <a:lnTo>
                  <a:pt x="186027" y="1145173"/>
                </a:lnTo>
                <a:lnTo>
                  <a:pt x="191149" y="1161358"/>
                </a:lnTo>
                <a:lnTo>
                  <a:pt x="181154" y="1170377"/>
                </a:lnTo>
                <a:lnTo>
                  <a:pt x="189150" y="1187180"/>
                </a:lnTo>
                <a:lnTo>
                  <a:pt x="183028" y="1204229"/>
                </a:lnTo>
                <a:lnTo>
                  <a:pt x="174408" y="1206700"/>
                </a:lnTo>
                <a:lnTo>
                  <a:pt x="166037" y="1222144"/>
                </a:lnTo>
                <a:lnTo>
                  <a:pt x="173783" y="1240059"/>
                </a:lnTo>
                <a:lnTo>
                  <a:pt x="178781" y="1243641"/>
                </a:lnTo>
                <a:lnTo>
                  <a:pt x="174033" y="1261680"/>
                </a:lnTo>
                <a:lnTo>
                  <a:pt x="178031" y="1273540"/>
                </a:lnTo>
                <a:lnTo>
                  <a:pt x="189525" y="1267610"/>
                </a:lnTo>
                <a:lnTo>
                  <a:pt x="199645" y="1277494"/>
                </a:lnTo>
                <a:lnTo>
                  <a:pt x="197396" y="1297138"/>
                </a:lnTo>
                <a:lnTo>
                  <a:pt x="193023" y="1306898"/>
                </a:lnTo>
                <a:lnTo>
                  <a:pt x="200019" y="1323701"/>
                </a:lnTo>
                <a:lnTo>
                  <a:pt x="196521" y="1331732"/>
                </a:lnTo>
                <a:lnTo>
                  <a:pt x="215761" y="1360148"/>
                </a:lnTo>
                <a:lnTo>
                  <a:pt x="225131" y="1367314"/>
                </a:lnTo>
                <a:lnTo>
                  <a:pt x="219384" y="1378557"/>
                </a:lnTo>
                <a:lnTo>
                  <a:pt x="234126" y="1399189"/>
                </a:lnTo>
                <a:lnTo>
                  <a:pt x="221133" y="1405243"/>
                </a:lnTo>
                <a:lnTo>
                  <a:pt x="225131" y="1433289"/>
                </a:lnTo>
                <a:lnTo>
                  <a:pt x="219384" y="1444532"/>
                </a:lnTo>
                <a:lnTo>
                  <a:pt x="220259" y="1481596"/>
                </a:lnTo>
                <a:lnTo>
                  <a:pt x="231253" y="1494198"/>
                </a:lnTo>
                <a:lnTo>
                  <a:pt x="222382" y="1514460"/>
                </a:lnTo>
                <a:lnTo>
                  <a:pt x="223007" y="1528174"/>
                </a:lnTo>
                <a:lnTo>
                  <a:pt x="230378" y="1537440"/>
                </a:lnTo>
                <a:lnTo>
                  <a:pt x="254116" y="1525456"/>
                </a:lnTo>
                <a:lnTo>
                  <a:pt x="263486" y="1532004"/>
                </a:lnTo>
                <a:lnTo>
                  <a:pt x="267109" y="1520885"/>
                </a:lnTo>
                <a:lnTo>
                  <a:pt x="288847" y="1541888"/>
                </a:lnTo>
                <a:lnTo>
                  <a:pt x="301216" y="1539294"/>
                </a:lnTo>
                <a:lnTo>
                  <a:pt x="314209" y="1549672"/>
                </a:lnTo>
                <a:lnTo>
                  <a:pt x="340445" y="1545842"/>
                </a:lnTo>
                <a:lnTo>
                  <a:pt x="348191" y="1548930"/>
                </a:lnTo>
                <a:lnTo>
                  <a:pt x="341819" y="1562274"/>
                </a:lnTo>
                <a:lnTo>
                  <a:pt x="351564" y="1561903"/>
                </a:lnTo>
                <a:lnTo>
                  <a:pt x="373053" y="1545842"/>
                </a:lnTo>
                <a:lnTo>
                  <a:pt x="373553" y="1558197"/>
                </a:lnTo>
                <a:lnTo>
                  <a:pt x="363183" y="1573764"/>
                </a:lnTo>
                <a:lnTo>
                  <a:pt x="387420" y="1605021"/>
                </a:lnTo>
                <a:lnTo>
                  <a:pt x="392792" y="1615770"/>
                </a:lnTo>
                <a:lnTo>
                  <a:pt x="387295" y="1634550"/>
                </a:lnTo>
                <a:lnTo>
                  <a:pt x="393667" y="1637762"/>
                </a:lnTo>
                <a:lnTo>
                  <a:pt x="402162" y="1610581"/>
                </a:lnTo>
                <a:lnTo>
                  <a:pt x="413032" y="1604651"/>
                </a:lnTo>
                <a:lnTo>
                  <a:pt x="415655" y="1616264"/>
                </a:lnTo>
                <a:lnTo>
                  <a:pt x="431272" y="1608728"/>
                </a:lnTo>
                <a:lnTo>
                  <a:pt x="444390" y="1607492"/>
                </a:lnTo>
                <a:lnTo>
                  <a:pt x="473375" y="1585007"/>
                </a:lnTo>
                <a:lnTo>
                  <a:pt x="489991" y="1584265"/>
                </a:lnTo>
                <a:lnTo>
                  <a:pt x="525098" y="1559432"/>
                </a:lnTo>
                <a:lnTo>
                  <a:pt x="526847" y="1549795"/>
                </a:lnTo>
                <a:lnTo>
                  <a:pt x="550709" y="1555602"/>
                </a:lnTo>
                <a:lnTo>
                  <a:pt x="566576" y="1552143"/>
                </a:lnTo>
                <a:lnTo>
                  <a:pt x="580193" y="1529533"/>
                </a:lnTo>
                <a:lnTo>
                  <a:pt x="584066" y="1536946"/>
                </a:lnTo>
                <a:lnTo>
                  <a:pt x="577070" y="1552390"/>
                </a:lnTo>
                <a:lnTo>
                  <a:pt x="586940" y="1556096"/>
                </a:lnTo>
                <a:lnTo>
                  <a:pt x="595685" y="1533734"/>
                </a:lnTo>
                <a:lnTo>
                  <a:pt x="604056" y="1535464"/>
                </a:lnTo>
                <a:lnTo>
                  <a:pt x="595685" y="1517302"/>
                </a:lnTo>
                <a:lnTo>
                  <a:pt x="602931" y="1509395"/>
                </a:lnTo>
                <a:lnTo>
                  <a:pt x="612676" y="1526815"/>
                </a:lnTo>
                <a:lnTo>
                  <a:pt x="623171" y="1528421"/>
                </a:lnTo>
                <a:lnTo>
                  <a:pt x="626669" y="1515202"/>
                </a:lnTo>
                <a:lnTo>
                  <a:pt x="636664" y="1534722"/>
                </a:lnTo>
                <a:lnTo>
                  <a:pt x="648282" y="1530151"/>
                </a:lnTo>
                <a:lnTo>
                  <a:pt x="649157" y="1517673"/>
                </a:lnTo>
                <a:lnTo>
                  <a:pt x="659651" y="1520020"/>
                </a:lnTo>
                <a:lnTo>
                  <a:pt x="664274" y="1529410"/>
                </a:lnTo>
                <a:lnTo>
                  <a:pt x="675643" y="1517920"/>
                </a:lnTo>
                <a:lnTo>
                  <a:pt x="699006" y="1512113"/>
                </a:lnTo>
                <a:lnTo>
                  <a:pt x="712748" y="1523232"/>
                </a:lnTo>
                <a:lnTo>
                  <a:pt x="740983" y="1517920"/>
                </a:lnTo>
                <a:lnTo>
                  <a:pt x="742732" y="1508159"/>
                </a:lnTo>
                <a:lnTo>
                  <a:pt x="734737" y="1500993"/>
                </a:lnTo>
                <a:lnTo>
                  <a:pt x="742857" y="1495804"/>
                </a:lnTo>
                <a:lnTo>
                  <a:pt x="755476" y="1499387"/>
                </a:lnTo>
                <a:lnTo>
                  <a:pt x="758724" y="1510260"/>
                </a:lnTo>
                <a:lnTo>
                  <a:pt x="776964" y="1514337"/>
                </a:lnTo>
                <a:cubicBezTo>
                  <a:pt x="776964" y="1514337"/>
                  <a:pt x="780213" y="1505071"/>
                  <a:pt x="783586" y="1498893"/>
                </a:cubicBezTo>
                <a:lnTo>
                  <a:pt x="783586" y="1498893"/>
                </a:lnTo>
                <a:close/>
                <a:moveTo>
                  <a:pt x="412157" y="852239"/>
                </a:moveTo>
                <a:lnTo>
                  <a:pt x="405536" y="861011"/>
                </a:lnTo>
                <a:lnTo>
                  <a:pt x="389544" y="860393"/>
                </a:lnTo>
                <a:lnTo>
                  <a:pt x="376176" y="843220"/>
                </a:lnTo>
                <a:lnTo>
                  <a:pt x="392792" y="830371"/>
                </a:lnTo>
                <a:lnTo>
                  <a:pt x="420778" y="833460"/>
                </a:lnTo>
                <a:lnTo>
                  <a:pt x="419403" y="841367"/>
                </a:lnTo>
                <a:lnTo>
                  <a:pt x="403287" y="842726"/>
                </a:lnTo>
                <a:lnTo>
                  <a:pt x="412032" y="852239"/>
                </a:lnTo>
                <a:lnTo>
                  <a:pt x="412032" y="852239"/>
                </a:lnTo>
                <a:close/>
                <a:moveTo>
                  <a:pt x="165413" y="1121328"/>
                </a:moveTo>
                <a:lnTo>
                  <a:pt x="166912" y="1109468"/>
                </a:lnTo>
                <a:lnTo>
                  <a:pt x="178156" y="1118240"/>
                </a:lnTo>
                <a:lnTo>
                  <a:pt x="171284" y="1126023"/>
                </a:lnTo>
                <a:lnTo>
                  <a:pt x="165413" y="1121328"/>
                </a:lnTo>
                <a:lnTo>
                  <a:pt x="165413" y="1121328"/>
                </a:lnTo>
                <a:close/>
                <a:moveTo>
                  <a:pt x="157917" y="1132448"/>
                </a:moveTo>
                <a:lnTo>
                  <a:pt x="169161" y="1140849"/>
                </a:lnTo>
                <a:lnTo>
                  <a:pt x="180530" y="1134795"/>
                </a:lnTo>
                <a:lnTo>
                  <a:pt x="179530" y="1149992"/>
                </a:lnTo>
                <a:lnTo>
                  <a:pt x="163664" y="1159875"/>
                </a:lnTo>
                <a:lnTo>
                  <a:pt x="152794" y="1147891"/>
                </a:lnTo>
                <a:lnTo>
                  <a:pt x="157792" y="1132571"/>
                </a:lnTo>
                <a:lnTo>
                  <a:pt x="157792" y="1132571"/>
                </a:lnTo>
                <a:close/>
                <a:moveTo>
                  <a:pt x="368680" y="1601191"/>
                </a:moveTo>
                <a:lnTo>
                  <a:pt x="372928" y="1614782"/>
                </a:lnTo>
                <a:lnTo>
                  <a:pt x="361309" y="1623183"/>
                </a:lnTo>
                <a:lnTo>
                  <a:pt x="354313" y="1615647"/>
                </a:lnTo>
                <a:lnTo>
                  <a:pt x="362683" y="1610334"/>
                </a:lnTo>
                <a:lnTo>
                  <a:pt x="368555" y="1601191"/>
                </a:lnTo>
                <a:lnTo>
                  <a:pt x="368555" y="1601191"/>
                </a:lnTo>
                <a:close/>
                <a:moveTo>
                  <a:pt x="343319" y="1581918"/>
                </a:moveTo>
                <a:cubicBezTo>
                  <a:pt x="343319" y="1581918"/>
                  <a:pt x="349066" y="1594520"/>
                  <a:pt x="349066" y="1594520"/>
                </a:cubicBezTo>
                <a:lnTo>
                  <a:pt x="341944" y="1596497"/>
                </a:lnTo>
                <a:lnTo>
                  <a:pt x="343319" y="1581918"/>
                </a:lnTo>
                <a:lnTo>
                  <a:pt x="343319" y="1581918"/>
                </a:lnTo>
                <a:close/>
                <a:moveTo>
                  <a:pt x="305089" y="1565733"/>
                </a:moveTo>
                <a:lnTo>
                  <a:pt x="332949" y="1558938"/>
                </a:lnTo>
                <a:lnTo>
                  <a:pt x="331450" y="1569563"/>
                </a:lnTo>
                <a:lnTo>
                  <a:pt x="315458" y="1583400"/>
                </a:lnTo>
                <a:lnTo>
                  <a:pt x="302215" y="1576729"/>
                </a:lnTo>
                <a:lnTo>
                  <a:pt x="305089" y="1565733"/>
                </a:lnTo>
                <a:lnTo>
                  <a:pt x="305089" y="1565733"/>
                </a:lnTo>
                <a:close/>
                <a:moveTo>
                  <a:pt x="265984" y="1537193"/>
                </a:moveTo>
                <a:lnTo>
                  <a:pt x="285474" y="1552513"/>
                </a:lnTo>
                <a:lnTo>
                  <a:pt x="274605" y="1560173"/>
                </a:lnTo>
                <a:lnTo>
                  <a:pt x="266609" y="1551896"/>
                </a:lnTo>
                <a:lnTo>
                  <a:pt x="265984" y="1537193"/>
                </a:lnTo>
                <a:lnTo>
                  <a:pt x="265984" y="1537193"/>
                </a:lnTo>
                <a:close/>
                <a:moveTo>
                  <a:pt x="224881" y="1546459"/>
                </a:moveTo>
                <a:lnTo>
                  <a:pt x="242247" y="1548066"/>
                </a:lnTo>
                <a:lnTo>
                  <a:pt x="232127" y="1552760"/>
                </a:lnTo>
                <a:cubicBezTo>
                  <a:pt x="232127" y="1552760"/>
                  <a:pt x="224506" y="1546212"/>
                  <a:pt x="224881" y="1546459"/>
                </a:cubicBezTo>
                <a:lnTo>
                  <a:pt x="224881" y="1546459"/>
                </a:lnTo>
                <a:close/>
                <a:moveTo>
                  <a:pt x="104195" y="1577841"/>
                </a:moveTo>
                <a:lnTo>
                  <a:pt x="125684" y="1584142"/>
                </a:lnTo>
                <a:lnTo>
                  <a:pt x="130556" y="1575740"/>
                </a:lnTo>
                <a:lnTo>
                  <a:pt x="116314" y="1567463"/>
                </a:lnTo>
                <a:lnTo>
                  <a:pt x="115939" y="1553625"/>
                </a:lnTo>
                <a:lnTo>
                  <a:pt x="125559" y="1552266"/>
                </a:lnTo>
                <a:lnTo>
                  <a:pt x="153544" y="1569439"/>
                </a:lnTo>
                <a:lnTo>
                  <a:pt x="156792" y="1583153"/>
                </a:lnTo>
                <a:lnTo>
                  <a:pt x="143799" y="1581671"/>
                </a:lnTo>
                <a:lnTo>
                  <a:pt x="137802" y="1588837"/>
                </a:lnTo>
                <a:lnTo>
                  <a:pt x="148172" y="1603910"/>
                </a:lnTo>
                <a:lnTo>
                  <a:pt x="161665" y="1602056"/>
                </a:lnTo>
                <a:lnTo>
                  <a:pt x="166287" y="1617623"/>
                </a:lnTo>
                <a:lnTo>
                  <a:pt x="154044" y="1625036"/>
                </a:lnTo>
                <a:lnTo>
                  <a:pt x="138552" y="1611570"/>
                </a:lnTo>
                <a:lnTo>
                  <a:pt x="120062" y="1606504"/>
                </a:lnTo>
                <a:lnTo>
                  <a:pt x="109317" y="1594767"/>
                </a:lnTo>
                <a:lnTo>
                  <a:pt x="97698" y="1587354"/>
                </a:lnTo>
                <a:lnTo>
                  <a:pt x="104320" y="1577841"/>
                </a:lnTo>
                <a:close/>
              </a:path>
            </a:pathLst>
          </a:custGeom>
          <a:solidFill>
            <a:schemeClr val="bg2"/>
          </a:solidFill>
          <a:ln w="7118" cap="flat">
            <a:solidFill>
              <a:schemeClr val="accent4"/>
            </a:solidFill>
            <a:prstDash val="solid"/>
            <a:miter/>
          </a:ln>
        </p:spPr>
        <p:txBody>
          <a:bodyPr rtlCol="0" anchor="ctr"/>
          <a:lstStyle/>
          <a:p>
            <a:endParaRPr lang="en-GB"/>
          </a:p>
        </p:txBody>
      </p:sp>
      <p:sp>
        <p:nvSpPr>
          <p:cNvPr id="46" name="Graphic 151">
            <a:extLst>
              <a:ext uri="{FF2B5EF4-FFF2-40B4-BE49-F238E27FC236}">
                <a16:creationId xmlns:a16="http://schemas.microsoft.com/office/drawing/2014/main" id="{BF070B1C-E1C3-FAD9-E1A6-7B03EDECA21E}"/>
              </a:ext>
            </a:extLst>
          </p:cNvPr>
          <p:cNvSpPr/>
          <p:nvPr/>
        </p:nvSpPr>
        <p:spPr>
          <a:xfrm rot="1141104">
            <a:off x="7698105" y="528472"/>
            <a:ext cx="869791" cy="2064992"/>
          </a:xfrm>
          <a:custGeom>
            <a:avLst/>
            <a:gdLst>
              <a:gd name="connsiteX0" fmla="*/ 14742 w 869791"/>
              <a:gd name="connsiteY0" fmla="*/ 1590689 h 2064992"/>
              <a:gd name="connsiteX1" fmla="*/ 26361 w 869791"/>
              <a:gd name="connsiteY1" fmla="*/ 1597855 h 2064992"/>
              <a:gd name="connsiteX2" fmla="*/ 37730 w 869791"/>
              <a:gd name="connsiteY2" fmla="*/ 1615770 h 2064992"/>
              <a:gd name="connsiteX3" fmla="*/ 46850 w 869791"/>
              <a:gd name="connsiteY3" fmla="*/ 1596990 h 2064992"/>
              <a:gd name="connsiteX4" fmla="*/ 40354 w 869791"/>
              <a:gd name="connsiteY4" fmla="*/ 1540899 h 2064992"/>
              <a:gd name="connsiteX5" fmla="*/ 25487 w 869791"/>
              <a:gd name="connsiteY5" fmla="*/ 1517301 h 2064992"/>
              <a:gd name="connsiteX6" fmla="*/ 32108 w 869791"/>
              <a:gd name="connsiteY6" fmla="*/ 1501240 h 2064992"/>
              <a:gd name="connsiteX7" fmla="*/ 44352 w 869791"/>
              <a:gd name="connsiteY7" fmla="*/ 1494198 h 2064992"/>
              <a:gd name="connsiteX8" fmla="*/ 34357 w 869791"/>
              <a:gd name="connsiteY8" fmla="*/ 1476283 h 2064992"/>
              <a:gd name="connsiteX9" fmla="*/ 39854 w 869791"/>
              <a:gd name="connsiteY9" fmla="*/ 1465535 h 2064992"/>
              <a:gd name="connsiteX10" fmla="*/ 68214 w 869791"/>
              <a:gd name="connsiteY10" fmla="*/ 1461705 h 2064992"/>
              <a:gd name="connsiteX11" fmla="*/ 75585 w 869791"/>
              <a:gd name="connsiteY11" fmla="*/ 1447620 h 2064992"/>
              <a:gd name="connsiteX12" fmla="*/ 73461 w 869791"/>
              <a:gd name="connsiteY12" fmla="*/ 1428717 h 2064992"/>
              <a:gd name="connsiteX13" fmla="*/ 85455 w 869791"/>
              <a:gd name="connsiteY13" fmla="*/ 1400054 h 2064992"/>
              <a:gd name="connsiteX14" fmla="*/ 71462 w 869791"/>
              <a:gd name="connsiteY14" fmla="*/ 1382386 h 2064992"/>
              <a:gd name="connsiteX15" fmla="*/ 63092 w 869791"/>
              <a:gd name="connsiteY15" fmla="*/ 1341492 h 2064992"/>
              <a:gd name="connsiteX16" fmla="*/ 44477 w 869791"/>
              <a:gd name="connsiteY16" fmla="*/ 1308875 h 2064992"/>
              <a:gd name="connsiteX17" fmla="*/ 45101 w 869791"/>
              <a:gd name="connsiteY17" fmla="*/ 1293802 h 2064992"/>
              <a:gd name="connsiteX18" fmla="*/ 86205 w 869791"/>
              <a:gd name="connsiteY18" fmla="*/ 1278235 h 2064992"/>
              <a:gd name="connsiteX19" fmla="*/ 85580 w 869791"/>
              <a:gd name="connsiteY19" fmla="*/ 1248830 h 2064992"/>
              <a:gd name="connsiteX20" fmla="*/ 93326 w 869791"/>
              <a:gd name="connsiteY20" fmla="*/ 1228198 h 2064992"/>
              <a:gd name="connsiteX21" fmla="*/ 60093 w 869791"/>
              <a:gd name="connsiteY21" fmla="*/ 1194963 h 2064992"/>
              <a:gd name="connsiteX22" fmla="*/ 33108 w 869791"/>
              <a:gd name="connsiteY22" fmla="*/ 1182979 h 2064992"/>
              <a:gd name="connsiteX23" fmla="*/ 30234 w 869791"/>
              <a:gd name="connsiteY23" fmla="*/ 1149003 h 2064992"/>
              <a:gd name="connsiteX24" fmla="*/ 34732 w 869791"/>
              <a:gd name="connsiteY24" fmla="*/ 1115398 h 2064992"/>
              <a:gd name="connsiteX25" fmla="*/ 28485 w 869791"/>
              <a:gd name="connsiteY25" fmla="*/ 1078951 h 2064992"/>
              <a:gd name="connsiteX26" fmla="*/ 17491 w 869791"/>
              <a:gd name="connsiteY26" fmla="*/ 1054488 h 2064992"/>
              <a:gd name="connsiteX27" fmla="*/ 24237 w 869791"/>
              <a:gd name="connsiteY27" fmla="*/ 1026072 h 2064992"/>
              <a:gd name="connsiteX28" fmla="*/ 16866 w 869791"/>
              <a:gd name="connsiteY28" fmla="*/ 978629 h 2064992"/>
              <a:gd name="connsiteX29" fmla="*/ 6247 w 869791"/>
              <a:gd name="connsiteY29" fmla="*/ 932546 h 2064992"/>
              <a:gd name="connsiteX30" fmla="*/ 10994 w 869791"/>
              <a:gd name="connsiteY30" fmla="*/ 891774 h 2064992"/>
              <a:gd name="connsiteX31" fmla="*/ 29859 w 869791"/>
              <a:gd name="connsiteY31" fmla="*/ 854957 h 2064992"/>
              <a:gd name="connsiteX32" fmla="*/ 49224 w 869791"/>
              <a:gd name="connsiteY32" fmla="*/ 842355 h 2064992"/>
              <a:gd name="connsiteX33" fmla="*/ 73961 w 869791"/>
              <a:gd name="connsiteY33" fmla="*/ 846556 h 2064992"/>
              <a:gd name="connsiteX34" fmla="*/ 105070 w 869791"/>
              <a:gd name="connsiteY34" fmla="*/ 847173 h 2064992"/>
              <a:gd name="connsiteX35" fmla="*/ 119937 w 869791"/>
              <a:gd name="connsiteY35" fmla="*/ 824935 h 2064992"/>
              <a:gd name="connsiteX36" fmla="*/ 115814 w 869791"/>
              <a:gd name="connsiteY36" fmla="*/ 791082 h 2064992"/>
              <a:gd name="connsiteX37" fmla="*/ 106694 w 869791"/>
              <a:gd name="connsiteY37" fmla="*/ 777739 h 2064992"/>
              <a:gd name="connsiteX38" fmla="*/ 107069 w 869791"/>
              <a:gd name="connsiteY38" fmla="*/ 755500 h 2064992"/>
              <a:gd name="connsiteX39" fmla="*/ 134804 w 869791"/>
              <a:gd name="connsiteY39" fmla="*/ 679024 h 2064992"/>
              <a:gd name="connsiteX40" fmla="*/ 134179 w 869791"/>
              <a:gd name="connsiteY40" fmla="*/ 635905 h 2064992"/>
              <a:gd name="connsiteX41" fmla="*/ 141675 w 869791"/>
              <a:gd name="connsiteY41" fmla="*/ 594269 h 2064992"/>
              <a:gd name="connsiteX42" fmla="*/ 149921 w 869791"/>
              <a:gd name="connsiteY42" fmla="*/ 571042 h 2064992"/>
              <a:gd name="connsiteX43" fmla="*/ 148047 w 869791"/>
              <a:gd name="connsiteY43" fmla="*/ 544973 h 2064992"/>
              <a:gd name="connsiteX44" fmla="*/ 134304 w 869791"/>
              <a:gd name="connsiteY44" fmla="*/ 532495 h 2064992"/>
              <a:gd name="connsiteX45" fmla="*/ 134304 w 869791"/>
              <a:gd name="connsiteY45" fmla="*/ 514210 h 2064992"/>
              <a:gd name="connsiteX46" fmla="*/ 162539 w 869791"/>
              <a:gd name="connsiteY46" fmla="*/ 495924 h 2064992"/>
              <a:gd name="connsiteX47" fmla="*/ 193273 w 869791"/>
              <a:gd name="connsiteY47" fmla="*/ 488141 h 2064992"/>
              <a:gd name="connsiteX48" fmla="*/ 207266 w 869791"/>
              <a:gd name="connsiteY48" fmla="*/ 475045 h 2064992"/>
              <a:gd name="connsiteX49" fmla="*/ 207765 w 869791"/>
              <a:gd name="connsiteY49" fmla="*/ 456636 h 2064992"/>
              <a:gd name="connsiteX50" fmla="*/ 231003 w 869791"/>
              <a:gd name="connsiteY50" fmla="*/ 411788 h 2064992"/>
              <a:gd name="connsiteX51" fmla="*/ 255240 w 869791"/>
              <a:gd name="connsiteY51" fmla="*/ 375341 h 2064992"/>
              <a:gd name="connsiteX52" fmla="*/ 262986 w 869791"/>
              <a:gd name="connsiteY52" fmla="*/ 354091 h 2064992"/>
              <a:gd name="connsiteX53" fmla="*/ 251867 w 869791"/>
              <a:gd name="connsiteY53" fmla="*/ 327651 h 2064992"/>
              <a:gd name="connsiteX54" fmla="*/ 240748 w 869791"/>
              <a:gd name="connsiteY54" fmla="*/ 316285 h 2064992"/>
              <a:gd name="connsiteX55" fmla="*/ 238249 w 869791"/>
              <a:gd name="connsiteY55" fmla="*/ 274525 h 2064992"/>
              <a:gd name="connsiteX56" fmla="*/ 249868 w 869791"/>
              <a:gd name="connsiteY56" fmla="*/ 268101 h 2064992"/>
              <a:gd name="connsiteX57" fmla="*/ 260363 w 869791"/>
              <a:gd name="connsiteY57" fmla="*/ 252534 h 2064992"/>
              <a:gd name="connsiteX58" fmla="*/ 264735 w 869791"/>
              <a:gd name="connsiteY58" fmla="*/ 230048 h 2064992"/>
              <a:gd name="connsiteX59" fmla="*/ 276979 w 869791"/>
              <a:gd name="connsiteY59" fmla="*/ 223005 h 2064992"/>
              <a:gd name="connsiteX60" fmla="*/ 289597 w 869791"/>
              <a:gd name="connsiteY60" fmla="*/ 192365 h 2064992"/>
              <a:gd name="connsiteX61" fmla="*/ 308088 w 869791"/>
              <a:gd name="connsiteY61" fmla="*/ 177169 h 2064992"/>
              <a:gd name="connsiteX62" fmla="*/ 328952 w 869791"/>
              <a:gd name="connsiteY62" fmla="*/ 185447 h 2064992"/>
              <a:gd name="connsiteX63" fmla="*/ 337947 w 869791"/>
              <a:gd name="connsiteY63" fmla="*/ 194960 h 2064992"/>
              <a:gd name="connsiteX64" fmla="*/ 349691 w 869791"/>
              <a:gd name="connsiteY64" fmla="*/ 192489 h 2064992"/>
              <a:gd name="connsiteX65" fmla="*/ 363059 w 869791"/>
              <a:gd name="connsiteY65" fmla="*/ 179516 h 2064992"/>
              <a:gd name="connsiteX66" fmla="*/ 351065 w 869791"/>
              <a:gd name="connsiteY66" fmla="*/ 160984 h 2064992"/>
              <a:gd name="connsiteX67" fmla="*/ 361185 w 869791"/>
              <a:gd name="connsiteY67" fmla="*/ 150729 h 2064992"/>
              <a:gd name="connsiteX68" fmla="*/ 360810 w 869791"/>
              <a:gd name="connsiteY68" fmla="*/ 140969 h 2064992"/>
              <a:gd name="connsiteX69" fmla="*/ 365058 w 869791"/>
              <a:gd name="connsiteY69" fmla="*/ 130962 h 2064992"/>
              <a:gd name="connsiteX70" fmla="*/ 349566 w 869791"/>
              <a:gd name="connsiteY70" fmla="*/ 108723 h 2064992"/>
              <a:gd name="connsiteX71" fmla="*/ 358561 w 869791"/>
              <a:gd name="connsiteY71" fmla="*/ 102422 h 2064992"/>
              <a:gd name="connsiteX72" fmla="*/ 385047 w 869791"/>
              <a:gd name="connsiteY72" fmla="*/ 101928 h 2064992"/>
              <a:gd name="connsiteX73" fmla="*/ 404412 w 869791"/>
              <a:gd name="connsiteY73" fmla="*/ 90561 h 2064992"/>
              <a:gd name="connsiteX74" fmla="*/ 435146 w 869791"/>
              <a:gd name="connsiteY74" fmla="*/ 97109 h 2064992"/>
              <a:gd name="connsiteX75" fmla="*/ 454136 w 869791"/>
              <a:gd name="connsiteY75" fmla="*/ 108723 h 2064992"/>
              <a:gd name="connsiteX76" fmla="*/ 475374 w 869791"/>
              <a:gd name="connsiteY76" fmla="*/ 109835 h 2064992"/>
              <a:gd name="connsiteX77" fmla="*/ 487618 w 869791"/>
              <a:gd name="connsiteY77" fmla="*/ 119101 h 2064992"/>
              <a:gd name="connsiteX78" fmla="*/ 496738 w 869791"/>
              <a:gd name="connsiteY78" fmla="*/ 115394 h 2064992"/>
              <a:gd name="connsiteX79" fmla="*/ 505608 w 869791"/>
              <a:gd name="connsiteY79" fmla="*/ 120213 h 2064992"/>
              <a:gd name="connsiteX80" fmla="*/ 504609 w 869791"/>
              <a:gd name="connsiteY80" fmla="*/ 97974 h 2064992"/>
              <a:gd name="connsiteX81" fmla="*/ 494115 w 869791"/>
              <a:gd name="connsiteY81" fmla="*/ 84013 h 2064992"/>
              <a:gd name="connsiteX82" fmla="*/ 495489 w 869791"/>
              <a:gd name="connsiteY82" fmla="*/ 55720 h 2064992"/>
              <a:gd name="connsiteX83" fmla="*/ 509731 w 869791"/>
              <a:gd name="connsiteY83" fmla="*/ 47196 h 2064992"/>
              <a:gd name="connsiteX84" fmla="*/ 504234 w 869791"/>
              <a:gd name="connsiteY84" fmla="*/ 28416 h 2064992"/>
              <a:gd name="connsiteX85" fmla="*/ 489367 w 869791"/>
              <a:gd name="connsiteY85" fmla="*/ 21127 h 2064992"/>
              <a:gd name="connsiteX86" fmla="*/ 487243 w 869791"/>
              <a:gd name="connsiteY86" fmla="*/ 2842 h 2064992"/>
              <a:gd name="connsiteX87" fmla="*/ 508732 w 869791"/>
              <a:gd name="connsiteY87" fmla="*/ 8525 h 2064992"/>
              <a:gd name="connsiteX88" fmla="*/ 529096 w 869791"/>
              <a:gd name="connsiteY88" fmla="*/ 3706 h 2064992"/>
              <a:gd name="connsiteX89" fmla="*/ 535843 w 869791"/>
              <a:gd name="connsiteY89" fmla="*/ 0 h 2064992"/>
              <a:gd name="connsiteX90" fmla="*/ 551584 w 869791"/>
              <a:gd name="connsiteY90" fmla="*/ 17173 h 2064992"/>
              <a:gd name="connsiteX91" fmla="*/ 575946 w 869791"/>
              <a:gd name="connsiteY91" fmla="*/ 27922 h 2064992"/>
              <a:gd name="connsiteX92" fmla="*/ 609929 w 869791"/>
              <a:gd name="connsiteY92" fmla="*/ 63875 h 2064992"/>
              <a:gd name="connsiteX93" fmla="*/ 634541 w 869791"/>
              <a:gd name="connsiteY93" fmla="*/ 80554 h 2064992"/>
              <a:gd name="connsiteX94" fmla="*/ 670272 w 869791"/>
              <a:gd name="connsiteY94" fmla="*/ 81666 h 2064992"/>
              <a:gd name="connsiteX95" fmla="*/ 684514 w 869791"/>
              <a:gd name="connsiteY95" fmla="*/ 89573 h 2064992"/>
              <a:gd name="connsiteX96" fmla="*/ 697257 w 869791"/>
              <a:gd name="connsiteY96" fmla="*/ 92291 h 2064992"/>
              <a:gd name="connsiteX97" fmla="*/ 715998 w 869791"/>
              <a:gd name="connsiteY97" fmla="*/ 111812 h 2064992"/>
              <a:gd name="connsiteX98" fmla="*/ 723369 w 869791"/>
              <a:gd name="connsiteY98" fmla="*/ 128491 h 2064992"/>
              <a:gd name="connsiteX99" fmla="*/ 731364 w 869791"/>
              <a:gd name="connsiteY99" fmla="*/ 129479 h 2064992"/>
              <a:gd name="connsiteX100" fmla="*/ 737861 w 869791"/>
              <a:gd name="connsiteY100" fmla="*/ 127255 h 2064992"/>
              <a:gd name="connsiteX101" fmla="*/ 754602 w 869791"/>
              <a:gd name="connsiteY101" fmla="*/ 148135 h 2064992"/>
              <a:gd name="connsiteX102" fmla="*/ 767221 w 869791"/>
              <a:gd name="connsiteY102" fmla="*/ 148876 h 2064992"/>
              <a:gd name="connsiteX103" fmla="*/ 776466 w 869791"/>
              <a:gd name="connsiteY103" fmla="*/ 161602 h 2064992"/>
              <a:gd name="connsiteX104" fmla="*/ 770469 w 869791"/>
              <a:gd name="connsiteY104" fmla="*/ 178281 h 2064992"/>
              <a:gd name="connsiteX105" fmla="*/ 776591 w 869791"/>
              <a:gd name="connsiteY105" fmla="*/ 204350 h 2064992"/>
              <a:gd name="connsiteX106" fmla="*/ 769220 w 869791"/>
              <a:gd name="connsiteY106" fmla="*/ 225353 h 2064992"/>
              <a:gd name="connsiteX107" fmla="*/ 771968 w 869791"/>
              <a:gd name="connsiteY107" fmla="*/ 243267 h 2064992"/>
              <a:gd name="connsiteX108" fmla="*/ 796205 w 869791"/>
              <a:gd name="connsiteY108" fmla="*/ 243885 h 2064992"/>
              <a:gd name="connsiteX109" fmla="*/ 802827 w 869791"/>
              <a:gd name="connsiteY109" fmla="*/ 264641 h 2064992"/>
              <a:gd name="connsiteX110" fmla="*/ 794831 w 869791"/>
              <a:gd name="connsiteY110" fmla="*/ 278479 h 2064992"/>
              <a:gd name="connsiteX111" fmla="*/ 798829 w 869791"/>
              <a:gd name="connsiteY111" fmla="*/ 303312 h 2064992"/>
              <a:gd name="connsiteX112" fmla="*/ 809698 w 869791"/>
              <a:gd name="connsiteY112" fmla="*/ 317644 h 2064992"/>
              <a:gd name="connsiteX113" fmla="*/ 817194 w 869791"/>
              <a:gd name="connsiteY113" fmla="*/ 349890 h 2064992"/>
              <a:gd name="connsiteX114" fmla="*/ 813196 w 869791"/>
              <a:gd name="connsiteY114" fmla="*/ 365086 h 2064992"/>
              <a:gd name="connsiteX115" fmla="*/ 817694 w 869791"/>
              <a:gd name="connsiteY115" fmla="*/ 378677 h 2064992"/>
              <a:gd name="connsiteX116" fmla="*/ 819193 w 869791"/>
              <a:gd name="connsiteY116" fmla="*/ 414012 h 2064992"/>
              <a:gd name="connsiteX117" fmla="*/ 813821 w 869791"/>
              <a:gd name="connsiteY117" fmla="*/ 427355 h 2064992"/>
              <a:gd name="connsiteX118" fmla="*/ 824191 w 869791"/>
              <a:gd name="connsiteY118" fmla="*/ 453053 h 2064992"/>
              <a:gd name="connsiteX119" fmla="*/ 841681 w 869791"/>
              <a:gd name="connsiteY119" fmla="*/ 458242 h 2064992"/>
              <a:gd name="connsiteX120" fmla="*/ 859047 w 869791"/>
              <a:gd name="connsiteY120" fmla="*/ 490859 h 2064992"/>
              <a:gd name="connsiteX121" fmla="*/ 869792 w 869791"/>
              <a:gd name="connsiteY121" fmla="*/ 501361 h 2064992"/>
              <a:gd name="connsiteX122" fmla="*/ 869792 w 869791"/>
              <a:gd name="connsiteY122" fmla="*/ 521128 h 2064992"/>
              <a:gd name="connsiteX123" fmla="*/ 868917 w 869791"/>
              <a:gd name="connsiteY123" fmla="*/ 520387 h 2064992"/>
              <a:gd name="connsiteX124" fmla="*/ 857423 w 869791"/>
              <a:gd name="connsiteY124" fmla="*/ 529159 h 2064992"/>
              <a:gd name="connsiteX125" fmla="*/ 840057 w 869791"/>
              <a:gd name="connsiteY125" fmla="*/ 528541 h 2064992"/>
              <a:gd name="connsiteX126" fmla="*/ 829188 w 869791"/>
              <a:gd name="connsiteY126" fmla="*/ 516681 h 2064992"/>
              <a:gd name="connsiteX127" fmla="*/ 808324 w 869791"/>
              <a:gd name="connsiteY127" fmla="*/ 531259 h 2064992"/>
              <a:gd name="connsiteX128" fmla="*/ 793457 w 869791"/>
              <a:gd name="connsiteY128" fmla="*/ 523599 h 2064992"/>
              <a:gd name="connsiteX129" fmla="*/ 786460 w 869791"/>
              <a:gd name="connsiteY129" fmla="*/ 539043 h 2064992"/>
              <a:gd name="connsiteX130" fmla="*/ 770969 w 869791"/>
              <a:gd name="connsiteY130" fmla="*/ 533483 h 2064992"/>
              <a:gd name="connsiteX131" fmla="*/ 763348 w 869791"/>
              <a:gd name="connsiteY131" fmla="*/ 518657 h 2064992"/>
              <a:gd name="connsiteX132" fmla="*/ 749605 w 869791"/>
              <a:gd name="connsiteY132" fmla="*/ 537190 h 2064992"/>
              <a:gd name="connsiteX133" fmla="*/ 737611 w 869791"/>
              <a:gd name="connsiteY133" fmla="*/ 517793 h 2064992"/>
              <a:gd name="connsiteX134" fmla="*/ 728241 w 869791"/>
              <a:gd name="connsiteY134" fmla="*/ 525700 h 2064992"/>
              <a:gd name="connsiteX135" fmla="*/ 726992 w 869791"/>
              <a:gd name="connsiteY135" fmla="*/ 543120 h 2064992"/>
              <a:gd name="connsiteX136" fmla="*/ 721370 w 869791"/>
              <a:gd name="connsiteY136" fmla="*/ 557699 h 2064992"/>
              <a:gd name="connsiteX137" fmla="*/ 708002 w 869791"/>
              <a:gd name="connsiteY137" fmla="*/ 561405 h 2064992"/>
              <a:gd name="connsiteX138" fmla="*/ 699256 w 869791"/>
              <a:gd name="connsiteY138" fmla="*/ 551768 h 2064992"/>
              <a:gd name="connsiteX139" fmla="*/ 686888 w 869791"/>
              <a:gd name="connsiteY139" fmla="*/ 548186 h 2064992"/>
              <a:gd name="connsiteX140" fmla="*/ 699256 w 869791"/>
              <a:gd name="connsiteY140" fmla="*/ 569560 h 2064992"/>
              <a:gd name="connsiteX141" fmla="*/ 711750 w 869791"/>
              <a:gd name="connsiteY141" fmla="*/ 577220 h 2064992"/>
              <a:gd name="connsiteX142" fmla="*/ 697133 w 869791"/>
              <a:gd name="connsiteY142" fmla="*/ 591551 h 2064992"/>
              <a:gd name="connsiteX143" fmla="*/ 681516 w 869791"/>
              <a:gd name="connsiteY143" fmla="*/ 591181 h 2064992"/>
              <a:gd name="connsiteX144" fmla="*/ 668023 w 869791"/>
              <a:gd name="connsiteY144" fmla="*/ 599335 h 2064992"/>
              <a:gd name="connsiteX145" fmla="*/ 685264 w 869791"/>
              <a:gd name="connsiteY145" fmla="*/ 606130 h 2064992"/>
              <a:gd name="connsiteX146" fmla="*/ 684639 w 869791"/>
              <a:gd name="connsiteY146" fmla="*/ 616755 h 2064992"/>
              <a:gd name="connsiteX147" fmla="*/ 677768 w 869791"/>
              <a:gd name="connsiteY147" fmla="*/ 619103 h 2064992"/>
              <a:gd name="connsiteX148" fmla="*/ 673645 w 869791"/>
              <a:gd name="connsiteY148" fmla="*/ 613049 h 2064992"/>
              <a:gd name="connsiteX149" fmla="*/ 662401 w 869791"/>
              <a:gd name="connsiteY149" fmla="*/ 607983 h 2064992"/>
              <a:gd name="connsiteX150" fmla="*/ 656779 w 869791"/>
              <a:gd name="connsiteY150" fmla="*/ 614778 h 2064992"/>
              <a:gd name="connsiteX151" fmla="*/ 665274 w 869791"/>
              <a:gd name="connsiteY151" fmla="*/ 627504 h 2064992"/>
              <a:gd name="connsiteX152" fmla="*/ 676393 w 869791"/>
              <a:gd name="connsiteY152" fmla="*/ 627504 h 2064992"/>
              <a:gd name="connsiteX153" fmla="*/ 685639 w 869791"/>
              <a:gd name="connsiteY153" fmla="*/ 638005 h 2064992"/>
              <a:gd name="connsiteX154" fmla="*/ 680516 w 869791"/>
              <a:gd name="connsiteY154" fmla="*/ 648507 h 2064992"/>
              <a:gd name="connsiteX155" fmla="*/ 670771 w 869791"/>
              <a:gd name="connsiteY155" fmla="*/ 680506 h 2064992"/>
              <a:gd name="connsiteX156" fmla="*/ 675519 w 869791"/>
              <a:gd name="connsiteY156" fmla="*/ 693355 h 2064992"/>
              <a:gd name="connsiteX157" fmla="*/ 653531 w 869791"/>
              <a:gd name="connsiteY157" fmla="*/ 698421 h 2064992"/>
              <a:gd name="connsiteX158" fmla="*/ 672146 w 869791"/>
              <a:gd name="connsiteY158" fmla="*/ 711393 h 2064992"/>
              <a:gd name="connsiteX159" fmla="*/ 686888 w 869791"/>
              <a:gd name="connsiteY159" fmla="*/ 713494 h 2064992"/>
              <a:gd name="connsiteX160" fmla="*/ 692885 w 869791"/>
              <a:gd name="connsiteY160" fmla="*/ 724860 h 2064992"/>
              <a:gd name="connsiteX161" fmla="*/ 682016 w 869791"/>
              <a:gd name="connsiteY161" fmla="*/ 729431 h 2064992"/>
              <a:gd name="connsiteX162" fmla="*/ 693010 w 869791"/>
              <a:gd name="connsiteY162" fmla="*/ 743393 h 2064992"/>
              <a:gd name="connsiteX163" fmla="*/ 706253 w 869791"/>
              <a:gd name="connsiteY163" fmla="*/ 742775 h 2064992"/>
              <a:gd name="connsiteX164" fmla="*/ 689262 w 869791"/>
              <a:gd name="connsiteY164" fmla="*/ 766125 h 2064992"/>
              <a:gd name="connsiteX165" fmla="*/ 677518 w 869791"/>
              <a:gd name="connsiteY165" fmla="*/ 767361 h 2064992"/>
              <a:gd name="connsiteX166" fmla="*/ 665024 w 869791"/>
              <a:gd name="connsiteY166" fmla="*/ 783669 h 2064992"/>
              <a:gd name="connsiteX167" fmla="*/ 669147 w 869791"/>
              <a:gd name="connsiteY167" fmla="*/ 813074 h 2064992"/>
              <a:gd name="connsiteX168" fmla="*/ 652406 w 869791"/>
              <a:gd name="connsiteY168" fmla="*/ 844085 h 2064992"/>
              <a:gd name="connsiteX169" fmla="*/ 640537 w 869791"/>
              <a:gd name="connsiteY169" fmla="*/ 843838 h 2064992"/>
              <a:gd name="connsiteX170" fmla="*/ 622547 w 869791"/>
              <a:gd name="connsiteY170" fmla="*/ 862493 h 2064992"/>
              <a:gd name="connsiteX171" fmla="*/ 612302 w 869791"/>
              <a:gd name="connsiteY171" fmla="*/ 850509 h 2064992"/>
              <a:gd name="connsiteX172" fmla="*/ 610178 w 869791"/>
              <a:gd name="connsiteY172" fmla="*/ 866447 h 2064992"/>
              <a:gd name="connsiteX173" fmla="*/ 617799 w 869791"/>
              <a:gd name="connsiteY173" fmla="*/ 882632 h 2064992"/>
              <a:gd name="connsiteX174" fmla="*/ 596186 w 869791"/>
              <a:gd name="connsiteY174" fmla="*/ 895975 h 2064992"/>
              <a:gd name="connsiteX175" fmla="*/ 587940 w 869791"/>
              <a:gd name="connsiteY175" fmla="*/ 914878 h 2064992"/>
              <a:gd name="connsiteX176" fmla="*/ 576821 w 869791"/>
              <a:gd name="connsiteY176" fmla="*/ 914631 h 2064992"/>
              <a:gd name="connsiteX177" fmla="*/ 574197 w 869791"/>
              <a:gd name="connsiteY177" fmla="*/ 901658 h 2064992"/>
              <a:gd name="connsiteX178" fmla="*/ 560330 w 869791"/>
              <a:gd name="connsiteY178" fmla="*/ 902276 h 2064992"/>
              <a:gd name="connsiteX179" fmla="*/ 552834 w 869791"/>
              <a:gd name="connsiteY179" fmla="*/ 921179 h 2064992"/>
              <a:gd name="connsiteX180" fmla="*/ 553708 w 869791"/>
              <a:gd name="connsiteY180" fmla="*/ 941688 h 2064992"/>
              <a:gd name="connsiteX181" fmla="*/ 541714 w 869791"/>
              <a:gd name="connsiteY181" fmla="*/ 953178 h 2064992"/>
              <a:gd name="connsiteX182" fmla="*/ 533594 w 869791"/>
              <a:gd name="connsiteY182" fmla="*/ 941812 h 2064992"/>
              <a:gd name="connsiteX183" fmla="*/ 525973 w 869791"/>
              <a:gd name="connsiteY183" fmla="*/ 942182 h 2064992"/>
              <a:gd name="connsiteX184" fmla="*/ 521975 w 869791"/>
              <a:gd name="connsiteY184" fmla="*/ 961579 h 2064992"/>
              <a:gd name="connsiteX185" fmla="*/ 513729 w 869791"/>
              <a:gd name="connsiteY185" fmla="*/ 964050 h 2064992"/>
              <a:gd name="connsiteX186" fmla="*/ 505608 w 869791"/>
              <a:gd name="connsiteY186" fmla="*/ 954784 h 2064992"/>
              <a:gd name="connsiteX187" fmla="*/ 493740 w 869791"/>
              <a:gd name="connsiteY187" fmla="*/ 967633 h 2064992"/>
              <a:gd name="connsiteX188" fmla="*/ 488867 w 869791"/>
              <a:gd name="connsiteY188" fmla="*/ 982953 h 2064992"/>
              <a:gd name="connsiteX189" fmla="*/ 501486 w 869791"/>
              <a:gd name="connsiteY189" fmla="*/ 985177 h 2064992"/>
              <a:gd name="connsiteX190" fmla="*/ 500611 w 869791"/>
              <a:gd name="connsiteY190" fmla="*/ 995555 h 2064992"/>
              <a:gd name="connsiteX191" fmla="*/ 476499 w 869791"/>
              <a:gd name="connsiteY191" fmla="*/ 1017918 h 2064992"/>
              <a:gd name="connsiteX192" fmla="*/ 460382 w 869791"/>
              <a:gd name="connsiteY192" fmla="*/ 1014458 h 2064992"/>
              <a:gd name="connsiteX193" fmla="*/ 456010 w 869791"/>
              <a:gd name="connsiteY193" fmla="*/ 1024342 h 2064992"/>
              <a:gd name="connsiteX194" fmla="*/ 464130 w 869791"/>
              <a:gd name="connsiteY194" fmla="*/ 1039662 h 2064992"/>
              <a:gd name="connsiteX195" fmla="*/ 450138 w 869791"/>
              <a:gd name="connsiteY195" fmla="*/ 1062148 h 2064992"/>
              <a:gd name="connsiteX196" fmla="*/ 423777 w 869791"/>
              <a:gd name="connsiteY196" fmla="*/ 1067708 h 2064992"/>
              <a:gd name="connsiteX197" fmla="*/ 409034 w 869791"/>
              <a:gd name="connsiteY197" fmla="*/ 1063260 h 2064992"/>
              <a:gd name="connsiteX198" fmla="*/ 431273 w 869791"/>
              <a:gd name="connsiteY198" fmla="*/ 1088711 h 2064992"/>
              <a:gd name="connsiteX199" fmla="*/ 434771 w 869791"/>
              <a:gd name="connsiteY199" fmla="*/ 1111197 h 2064992"/>
              <a:gd name="connsiteX200" fmla="*/ 430273 w 869791"/>
              <a:gd name="connsiteY200" fmla="*/ 1118239 h 2064992"/>
              <a:gd name="connsiteX201" fmla="*/ 434646 w 869791"/>
              <a:gd name="connsiteY201" fmla="*/ 1138625 h 2064992"/>
              <a:gd name="connsiteX202" fmla="*/ 431023 w 869791"/>
              <a:gd name="connsiteY202" fmla="*/ 1165558 h 2064992"/>
              <a:gd name="connsiteX203" fmla="*/ 445515 w 869791"/>
              <a:gd name="connsiteY203" fmla="*/ 1179396 h 2064992"/>
              <a:gd name="connsiteX204" fmla="*/ 444141 w 869791"/>
              <a:gd name="connsiteY204" fmla="*/ 1197310 h 2064992"/>
              <a:gd name="connsiteX205" fmla="*/ 431897 w 869791"/>
              <a:gd name="connsiteY205" fmla="*/ 1187550 h 2064992"/>
              <a:gd name="connsiteX206" fmla="*/ 428024 w 869791"/>
              <a:gd name="connsiteY206" fmla="*/ 1193233 h 2064992"/>
              <a:gd name="connsiteX207" fmla="*/ 434771 w 869791"/>
              <a:gd name="connsiteY207" fmla="*/ 1219796 h 2064992"/>
              <a:gd name="connsiteX208" fmla="*/ 421653 w 869791"/>
              <a:gd name="connsiteY208" fmla="*/ 1237587 h 2064992"/>
              <a:gd name="connsiteX209" fmla="*/ 435770 w 869791"/>
              <a:gd name="connsiteY209" fmla="*/ 1242529 h 2064992"/>
              <a:gd name="connsiteX210" fmla="*/ 436270 w 869791"/>
              <a:gd name="connsiteY210" fmla="*/ 1253525 h 2064992"/>
              <a:gd name="connsiteX211" fmla="*/ 428149 w 869791"/>
              <a:gd name="connsiteY211" fmla="*/ 1258714 h 2064992"/>
              <a:gd name="connsiteX212" fmla="*/ 438769 w 869791"/>
              <a:gd name="connsiteY212" fmla="*/ 1278235 h 2064992"/>
              <a:gd name="connsiteX213" fmla="*/ 426900 w 869791"/>
              <a:gd name="connsiteY213" fmla="*/ 1294543 h 2064992"/>
              <a:gd name="connsiteX214" fmla="*/ 437769 w 869791"/>
              <a:gd name="connsiteY214" fmla="*/ 1305045 h 2064992"/>
              <a:gd name="connsiteX215" fmla="*/ 447389 w 869791"/>
              <a:gd name="connsiteY215" fmla="*/ 1318388 h 2064992"/>
              <a:gd name="connsiteX216" fmla="*/ 460008 w 869791"/>
              <a:gd name="connsiteY216" fmla="*/ 1320612 h 2064992"/>
              <a:gd name="connsiteX217" fmla="*/ 460757 w 869791"/>
              <a:gd name="connsiteY217" fmla="*/ 1337785 h 2064992"/>
              <a:gd name="connsiteX218" fmla="*/ 469503 w 869791"/>
              <a:gd name="connsiteY218" fmla="*/ 1331978 h 2064992"/>
              <a:gd name="connsiteX219" fmla="*/ 479872 w 869791"/>
              <a:gd name="connsiteY219" fmla="*/ 1348040 h 2064992"/>
              <a:gd name="connsiteX220" fmla="*/ 494989 w 869791"/>
              <a:gd name="connsiteY220" fmla="*/ 1328148 h 2064992"/>
              <a:gd name="connsiteX221" fmla="*/ 507982 w 869791"/>
              <a:gd name="connsiteY221" fmla="*/ 1337909 h 2064992"/>
              <a:gd name="connsiteX222" fmla="*/ 512855 w 869791"/>
              <a:gd name="connsiteY222" fmla="*/ 1353476 h 2064992"/>
              <a:gd name="connsiteX223" fmla="*/ 546587 w 869791"/>
              <a:gd name="connsiteY223" fmla="*/ 1376827 h 2064992"/>
              <a:gd name="connsiteX224" fmla="*/ 542214 w 869791"/>
              <a:gd name="connsiteY224" fmla="*/ 1387328 h 2064992"/>
              <a:gd name="connsiteX225" fmla="*/ 569950 w 869791"/>
              <a:gd name="connsiteY225" fmla="*/ 1401907 h 2064992"/>
              <a:gd name="connsiteX226" fmla="*/ 570574 w 869791"/>
              <a:gd name="connsiteY226" fmla="*/ 1415621 h 2064992"/>
              <a:gd name="connsiteX227" fmla="*/ 589314 w 869791"/>
              <a:gd name="connsiteY227" fmla="*/ 1432053 h 2064992"/>
              <a:gd name="connsiteX228" fmla="*/ 578695 w 869791"/>
              <a:gd name="connsiteY228" fmla="*/ 1459975 h 2064992"/>
              <a:gd name="connsiteX229" fmla="*/ 556832 w 869791"/>
              <a:gd name="connsiteY229" fmla="*/ 1485673 h 2064992"/>
              <a:gd name="connsiteX230" fmla="*/ 551334 w 869791"/>
              <a:gd name="connsiteY230" fmla="*/ 1504453 h 2064992"/>
              <a:gd name="connsiteX231" fmla="*/ 526722 w 869791"/>
              <a:gd name="connsiteY231" fmla="*/ 1511742 h 2064992"/>
              <a:gd name="connsiteX232" fmla="*/ 511106 w 869791"/>
              <a:gd name="connsiteY232" fmla="*/ 1504205 h 2064992"/>
              <a:gd name="connsiteX233" fmla="*/ 512730 w 869791"/>
              <a:gd name="connsiteY233" fmla="*/ 1492468 h 2064992"/>
              <a:gd name="connsiteX234" fmla="*/ 491616 w 869791"/>
              <a:gd name="connsiteY234" fmla="*/ 1485797 h 2064992"/>
              <a:gd name="connsiteX235" fmla="*/ 482246 w 869791"/>
              <a:gd name="connsiteY235" fmla="*/ 1477272 h 2064992"/>
              <a:gd name="connsiteX236" fmla="*/ 481996 w 869791"/>
              <a:gd name="connsiteY236" fmla="*/ 1488268 h 2064992"/>
              <a:gd name="connsiteX237" fmla="*/ 471002 w 869791"/>
              <a:gd name="connsiteY237" fmla="*/ 1489503 h 2064992"/>
              <a:gd name="connsiteX238" fmla="*/ 463006 w 869791"/>
              <a:gd name="connsiteY238" fmla="*/ 1481596 h 2064992"/>
              <a:gd name="connsiteX239" fmla="*/ 446889 w 869791"/>
              <a:gd name="connsiteY239" fmla="*/ 1478878 h 2064992"/>
              <a:gd name="connsiteX240" fmla="*/ 441142 w 869791"/>
              <a:gd name="connsiteY240" fmla="*/ 1490862 h 2064992"/>
              <a:gd name="connsiteX241" fmla="*/ 427400 w 869791"/>
              <a:gd name="connsiteY241" fmla="*/ 1495557 h 2064992"/>
              <a:gd name="connsiteX242" fmla="*/ 419529 w 869791"/>
              <a:gd name="connsiteY242" fmla="*/ 1488268 h 2064992"/>
              <a:gd name="connsiteX243" fmla="*/ 407035 w 869791"/>
              <a:gd name="connsiteY243" fmla="*/ 1505935 h 2064992"/>
              <a:gd name="connsiteX244" fmla="*/ 391419 w 869791"/>
              <a:gd name="connsiteY244" fmla="*/ 1499016 h 2064992"/>
              <a:gd name="connsiteX245" fmla="*/ 378550 w 869791"/>
              <a:gd name="connsiteY245" fmla="*/ 1505070 h 2064992"/>
              <a:gd name="connsiteX246" fmla="*/ 379425 w 869791"/>
              <a:gd name="connsiteY246" fmla="*/ 1511865 h 2064992"/>
              <a:gd name="connsiteX247" fmla="*/ 407285 w 869791"/>
              <a:gd name="connsiteY247" fmla="*/ 1513472 h 2064992"/>
              <a:gd name="connsiteX248" fmla="*/ 414532 w 869791"/>
              <a:gd name="connsiteY248" fmla="*/ 1518661 h 2064992"/>
              <a:gd name="connsiteX249" fmla="*/ 416156 w 869791"/>
              <a:gd name="connsiteY249" fmla="*/ 1509642 h 2064992"/>
              <a:gd name="connsiteX250" fmla="*/ 440393 w 869791"/>
              <a:gd name="connsiteY250" fmla="*/ 1507912 h 2064992"/>
              <a:gd name="connsiteX251" fmla="*/ 452511 w 869791"/>
              <a:gd name="connsiteY251" fmla="*/ 1514954 h 2064992"/>
              <a:gd name="connsiteX252" fmla="*/ 472126 w 869791"/>
              <a:gd name="connsiteY252" fmla="*/ 1517549 h 2064992"/>
              <a:gd name="connsiteX253" fmla="*/ 484620 w 869791"/>
              <a:gd name="connsiteY253" fmla="*/ 1532869 h 2064992"/>
              <a:gd name="connsiteX254" fmla="*/ 498862 w 869791"/>
              <a:gd name="connsiteY254" fmla="*/ 1523973 h 2064992"/>
              <a:gd name="connsiteX255" fmla="*/ 508107 w 869791"/>
              <a:gd name="connsiteY255" fmla="*/ 1527680 h 2064992"/>
              <a:gd name="connsiteX256" fmla="*/ 523599 w 869791"/>
              <a:gd name="connsiteY256" fmla="*/ 1518043 h 2064992"/>
              <a:gd name="connsiteX257" fmla="*/ 546087 w 869791"/>
              <a:gd name="connsiteY257" fmla="*/ 1523232 h 2064992"/>
              <a:gd name="connsiteX258" fmla="*/ 557581 w 869791"/>
              <a:gd name="connsiteY258" fmla="*/ 1532374 h 2064992"/>
              <a:gd name="connsiteX259" fmla="*/ 560330 w 869791"/>
              <a:gd name="connsiteY259" fmla="*/ 1549424 h 2064992"/>
              <a:gd name="connsiteX260" fmla="*/ 548336 w 869791"/>
              <a:gd name="connsiteY260" fmla="*/ 1560296 h 2064992"/>
              <a:gd name="connsiteX261" fmla="*/ 535843 w 869791"/>
              <a:gd name="connsiteY261" fmla="*/ 1560791 h 2064992"/>
              <a:gd name="connsiteX262" fmla="*/ 520850 w 869791"/>
              <a:gd name="connsiteY262" fmla="*/ 1585500 h 2064992"/>
              <a:gd name="connsiteX263" fmla="*/ 510481 w 869791"/>
              <a:gd name="connsiteY263" fmla="*/ 1585253 h 2064992"/>
              <a:gd name="connsiteX264" fmla="*/ 513229 w 869791"/>
              <a:gd name="connsiteY264" fmla="*/ 1568698 h 2064992"/>
              <a:gd name="connsiteX265" fmla="*/ 506608 w 869791"/>
              <a:gd name="connsiteY265" fmla="*/ 1560667 h 2064992"/>
              <a:gd name="connsiteX266" fmla="*/ 500111 w 869791"/>
              <a:gd name="connsiteY266" fmla="*/ 1570551 h 2064992"/>
              <a:gd name="connsiteX267" fmla="*/ 503360 w 869791"/>
              <a:gd name="connsiteY267" fmla="*/ 1582041 h 2064992"/>
              <a:gd name="connsiteX268" fmla="*/ 490866 w 869791"/>
              <a:gd name="connsiteY268" fmla="*/ 1583894 h 2064992"/>
              <a:gd name="connsiteX269" fmla="*/ 478998 w 869791"/>
              <a:gd name="connsiteY269" fmla="*/ 1598226 h 2064992"/>
              <a:gd name="connsiteX270" fmla="*/ 477748 w 869791"/>
              <a:gd name="connsiteY270" fmla="*/ 1616882 h 2064992"/>
              <a:gd name="connsiteX271" fmla="*/ 462006 w 869791"/>
              <a:gd name="connsiteY271" fmla="*/ 1605886 h 2064992"/>
              <a:gd name="connsiteX272" fmla="*/ 463256 w 869791"/>
              <a:gd name="connsiteY272" fmla="*/ 1617499 h 2064992"/>
              <a:gd name="connsiteX273" fmla="*/ 453261 w 869791"/>
              <a:gd name="connsiteY273" fmla="*/ 1627507 h 2064992"/>
              <a:gd name="connsiteX274" fmla="*/ 450263 w 869791"/>
              <a:gd name="connsiteY274" fmla="*/ 1623553 h 2064992"/>
              <a:gd name="connsiteX275" fmla="*/ 440518 w 869791"/>
              <a:gd name="connsiteY275" fmla="*/ 1623924 h 2064992"/>
              <a:gd name="connsiteX276" fmla="*/ 430648 w 869791"/>
              <a:gd name="connsiteY276" fmla="*/ 1636650 h 2064992"/>
              <a:gd name="connsiteX277" fmla="*/ 446015 w 869791"/>
              <a:gd name="connsiteY277" fmla="*/ 1638009 h 2064992"/>
              <a:gd name="connsiteX278" fmla="*/ 464880 w 869791"/>
              <a:gd name="connsiteY278" fmla="*/ 1655800 h 2064992"/>
              <a:gd name="connsiteX279" fmla="*/ 431023 w 869791"/>
              <a:gd name="connsiteY279" fmla="*/ 1658641 h 2064992"/>
              <a:gd name="connsiteX280" fmla="*/ 458508 w 869791"/>
              <a:gd name="connsiteY280" fmla="*/ 1667043 h 2064992"/>
              <a:gd name="connsiteX281" fmla="*/ 460382 w 869791"/>
              <a:gd name="connsiteY281" fmla="*/ 1678038 h 2064992"/>
              <a:gd name="connsiteX282" fmla="*/ 451637 w 869791"/>
              <a:gd name="connsiteY282" fmla="*/ 1699042 h 2064992"/>
              <a:gd name="connsiteX283" fmla="*/ 471876 w 869791"/>
              <a:gd name="connsiteY283" fmla="*/ 1716091 h 2064992"/>
              <a:gd name="connsiteX284" fmla="*/ 450637 w 869791"/>
              <a:gd name="connsiteY284" fmla="*/ 1721157 h 2064992"/>
              <a:gd name="connsiteX285" fmla="*/ 430148 w 869791"/>
              <a:gd name="connsiteY285" fmla="*/ 1714485 h 2064992"/>
              <a:gd name="connsiteX286" fmla="*/ 442017 w 869791"/>
              <a:gd name="connsiteY286" fmla="*/ 1731164 h 2064992"/>
              <a:gd name="connsiteX287" fmla="*/ 433646 w 869791"/>
              <a:gd name="connsiteY287" fmla="*/ 1747349 h 2064992"/>
              <a:gd name="connsiteX288" fmla="*/ 454261 w 869791"/>
              <a:gd name="connsiteY288" fmla="*/ 1758839 h 2064992"/>
              <a:gd name="connsiteX289" fmla="*/ 438894 w 869791"/>
              <a:gd name="connsiteY289" fmla="*/ 1773912 h 2064992"/>
              <a:gd name="connsiteX290" fmla="*/ 454261 w 869791"/>
              <a:gd name="connsiteY290" fmla="*/ 1791827 h 2064992"/>
              <a:gd name="connsiteX291" fmla="*/ 439768 w 869791"/>
              <a:gd name="connsiteY291" fmla="*/ 1809618 h 2064992"/>
              <a:gd name="connsiteX292" fmla="*/ 438519 w 869791"/>
              <a:gd name="connsiteY292" fmla="*/ 1828274 h 2064992"/>
              <a:gd name="connsiteX293" fmla="*/ 455010 w 869791"/>
              <a:gd name="connsiteY293" fmla="*/ 1841370 h 2064992"/>
              <a:gd name="connsiteX294" fmla="*/ 447389 w 869791"/>
              <a:gd name="connsiteY294" fmla="*/ 1856196 h 2064992"/>
              <a:gd name="connsiteX295" fmla="*/ 445890 w 869791"/>
              <a:gd name="connsiteY295" fmla="*/ 1900920 h 2064992"/>
              <a:gd name="connsiteX296" fmla="*/ 432022 w 869791"/>
              <a:gd name="connsiteY296" fmla="*/ 1916611 h 2064992"/>
              <a:gd name="connsiteX297" fmla="*/ 427275 w 869791"/>
              <a:gd name="connsiteY297" fmla="*/ 1952564 h 2064992"/>
              <a:gd name="connsiteX298" fmla="*/ 408160 w 869791"/>
              <a:gd name="connsiteY298" fmla="*/ 1977397 h 2064992"/>
              <a:gd name="connsiteX299" fmla="*/ 397915 w 869791"/>
              <a:gd name="connsiteY299" fmla="*/ 1965413 h 2064992"/>
              <a:gd name="connsiteX300" fmla="*/ 380924 w 869791"/>
              <a:gd name="connsiteY300" fmla="*/ 1958617 h 2064992"/>
              <a:gd name="connsiteX301" fmla="*/ 361310 w 869791"/>
              <a:gd name="connsiteY301" fmla="*/ 1970478 h 2064992"/>
              <a:gd name="connsiteX302" fmla="*/ 327702 w 869791"/>
              <a:gd name="connsiteY302" fmla="*/ 1966401 h 2064992"/>
              <a:gd name="connsiteX303" fmla="*/ 322330 w 869791"/>
              <a:gd name="connsiteY303" fmla="*/ 1953552 h 2064992"/>
              <a:gd name="connsiteX304" fmla="*/ 317333 w 869791"/>
              <a:gd name="connsiteY304" fmla="*/ 1982586 h 2064992"/>
              <a:gd name="connsiteX305" fmla="*/ 288973 w 869791"/>
              <a:gd name="connsiteY305" fmla="*/ 1987157 h 2064992"/>
              <a:gd name="connsiteX306" fmla="*/ 277854 w 869791"/>
              <a:gd name="connsiteY306" fmla="*/ 2017180 h 2064992"/>
              <a:gd name="connsiteX307" fmla="*/ 288598 w 869791"/>
              <a:gd name="connsiteY307" fmla="*/ 2025704 h 2064992"/>
              <a:gd name="connsiteX308" fmla="*/ 290597 w 869791"/>
              <a:gd name="connsiteY308" fmla="*/ 2040036 h 2064992"/>
              <a:gd name="connsiteX309" fmla="*/ 273231 w 869791"/>
              <a:gd name="connsiteY309" fmla="*/ 2057209 h 2064992"/>
              <a:gd name="connsiteX310" fmla="*/ 249993 w 869791"/>
              <a:gd name="connsiteY310" fmla="*/ 2049920 h 2064992"/>
              <a:gd name="connsiteX311" fmla="*/ 204017 w 869791"/>
              <a:gd name="connsiteY311" fmla="*/ 2064252 h 2064992"/>
              <a:gd name="connsiteX312" fmla="*/ 186027 w 869791"/>
              <a:gd name="connsiteY312" fmla="*/ 2064993 h 2064992"/>
              <a:gd name="connsiteX313" fmla="*/ 175907 w 869791"/>
              <a:gd name="connsiteY313" fmla="*/ 2056468 h 2064992"/>
              <a:gd name="connsiteX314" fmla="*/ 185652 w 869791"/>
              <a:gd name="connsiteY314" fmla="*/ 2039542 h 2064992"/>
              <a:gd name="connsiteX315" fmla="*/ 175532 w 869791"/>
              <a:gd name="connsiteY315" fmla="*/ 1997412 h 2064992"/>
              <a:gd name="connsiteX316" fmla="*/ 156542 w 869791"/>
              <a:gd name="connsiteY316" fmla="*/ 1992717 h 2064992"/>
              <a:gd name="connsiteX317" fmla="*/ 153044 w 869791"/>
              <a:gd name="connsiteY317" fmla="*/ 1976408 h 2064992"/>
              <a:gd name="connsiteX318" fmla="*/ 140176 w 869791"/>
              <a:gd name="connsiteY318" fmla="*/ 1969366 h 2064992"/>
              <a:gd name="connsiteX319" fmla="*/ 143299 w 869791"/>
              <a:gd name="connsiteY319" fmla="*/ 1959606 h 2064992"/>
              <a:gd name="connsiteX320" fmla="*/ 166037 w 869791"/>
              <a:gd name="connsiteY320" fmla="*/ 1955899 h 2064992"/>
              <a:gd name="connsiteX321" fmla="*/ 178156 w 869791"/>
              <a:gd name="connsiteY321" fmla="*/ 1930695 h 2064992"/>
              <a:gd name="connsiteX322" fmla="*/ 171660 w 869791"/>
              <a:gd name="connsiteY322" fmla="*/ 1908951 h 2064992"/>
              <a:gd name="connsiteX323" fmla="*/ 152670 w 869791"/>
              <a:gd name="connsiteY323" fmla="*/ 1920812 h 2064992"/>
              <a:gd name="connsiteX324" fmla="*/ 134554 w 869791"/>
              <a:gd name="connsiteY324" fmla="*/ 1904380 h 2064992"/>
              <a:gd name="connsiteX325" fmla="*/ 128932 w 869791"/>
              <a:gd name="connsiteY325" fmla="*/ 1887453 h 2064992"/>
              <a:gd name="connsiteX326" fmla="*/ 109942 w 869791"/>
              <a:gd name="connsiteY326" fmla="*/ 1880658 h 2064992"/>
              <a:gd name="connsiteX327" fmla="*/ 106694 w 869791"/>
              <a:gd name="connsiteY327" fmla="*/ 1855331 h 2064992"/>
              <a:gd name="connsiteX328" fmla="*/ 88578 w 869791"/>
              <a:gd name="connsiteY328" fmla="*/ 1822467 h 2064992"/>
              <a:gd name="connsiteX329" fmla="*/ 79958 w 869791"/>
              <a:gd name="connsiteY329" fmla="*/ 1815919 h 2064992"/>
              <a:gd name="connsiteX330" fmla="*/ 69838 w 869791"/>
              <a:gd name="connsiteY330" fmla="*/ 1792815 h 2064992"/>
              <a:gd name="connsiteX331" fmla="*/ 54471 w 869791"/>
              <a:gd name="connsiteY331" fmla="*/ 1789726 h 2064992"/>
              <a:gd name="connsiteX332" fmla="*/ 43477 w 869791"/>
              <a:gd name="connsiteY332" fmla="*/ 1775395 h 2064992"/>
              <a:gd name="connsiteX333" fmla="*/ 51348 w 869791"/>
              <a:gd name="connsiteY333" fmla="*/ 1766499 h 2064992"/>
              <a:gd name="connsiteX334" fmla="*/ 52972 w 869791"/>
              <a:gd name="connsiteY334" fmla="*/ 1746608 h 2064992"/>
              <a:gd name="connsiteX335" fmla="*/ 46725 w 869791"/>
              <a:gd name="connsiteY335" fmla="*/ 1732770 h 2064992"/>
              <a:gd name="connsiteX336" fmla="*/ 49224 w 869791"/>
              <a:gd name="connsiteY336" fmla="*/ 1718315 h 2064992"/>
              <a:gd name="connsiteX337" fmla="*/ 66840 w 869791"/>
              <a:gd name="connsiteY337" fmla="*/ 1702501 h 2064992"/>
              <a:gd name="connsiteX338" fmla="*/ 61593 w 869791"/>
              <a:gd name="connsiteY338" fmla="*/ 1693111 h 2064992"/>
              <a:gd name="connsiteX339" fmla="*/ 45976 w 869791"/>
              <a:gd name="connsiteY339" fmla="*/ 1684957 h 2064992"/>
              <a:gd name="connsiteX340" fmla="*/ 49724 w 869791"/>
              <a:gd name="connsiteY340" fmla="*/ 1675814 h 2064992"/>
              <a:gd name="connsiteX341" fmla="*/ 40978 w 869791"/>
              <a:gd name="connsiteY341" fmla="*/ 1675814 h 2064992"/>
              <a:gd name="connsiteX342" fmla="*/ 39229 w 869791"/>
              <a:gd name="connsiteY342" fmla="*/ 1689899 h 2064992"/>
              <a:gd name="connsiteX343" fmla="*/ 52222 w 869791"/>
              <a:gd name="connsiteY343" fmla="*/ 1702378 h 2064992"/>
              <a:gd name="connsiteX344" fmla="*/ 32483 w 869791"/>
              <a:gd name="connsiteY344" fmla="*/ 1711767 h 2064992"/>
              <a:gd name="connsiteX345" fmla="*/ 34482 w 869791"/>
              <a:gd name="connsiteY345" fmla="*/ 1692494 h 2064992"/>
              <a:gd name="connsiteX346" fmla="*/ 29360 w 869791"/>
              <a:gd name="connsiteY346" fmla="*/ 1685822 h 2064992"/>
              <a:gd name="connsiteX347" fmla="*/ 15867 w 869791"/>
              <a:gd name="connsiteY347" fmla="*/ 1679521 h 2064992"/>
              <a:gd name="connsiteX348" fmla="*/ 12868 w 869791"/>
              <a:gd name="connsiteY348" fmla="*/ 1650240 h 2064992"/>
              <a:gd name="connsiteX349" fmla="*/ 5122 w 869791"/>
              <a:gd name="connsiteY349" fmla="*/ 1639985 h 2064992"/>
              <a:gd name="connsiteX350" fmla="*/ 0 w 869791"/>
              <a:gd name="connsiteY350" fmla="*/ 1601191 h 2064992"/>
              <a:gd name="connsiteX351" fmla="*/ 13868 w 869791"/>
              <a:gd name="connsiteY351" fmla="*/ 1592419 h 2064992"/>
              <a:gd name="connsiteX352" fmla="*/ 15242 w 869791"/>
              <a:gd name="connsiteY352" fmla="*/ 1590442 h 2064992"/>
              <a:gd name="connsiteX353" fmla="*/ 15242 w 869791"/>
              <a:gd name="connsiteY353" fmla="*/ 1590442 h 2064992"/>
              <a:gd name="connsiteX354" fmla="*/ 550460 w 869791"/>
              <a:gd name="connsiteY354" fmla="*/ 1514089 h 2064992"/>
              <a:gd name="connsiteX355" fmla="*/ 564952 w 869791"/>
              <a:gd name="connsiteY355" fmla="*/ 1534845 h 2064992"/>
              <a:gd name="connsiteX356" fmla="*/ 572573 w 869791"/>
              <a:gd name="connsiteY356" fmla="*/ 1540405 h 2064992"/>
              <a:gd name="connsiteX357" fmla="*/ 571949 w 869791"/>
              <a:gd name="connsiteY357" fmla="*/ 1518043 h 2064992"/>
              <a:gd name="connsiteX358" fmla="*/ 589189 w 869791"/>
              <a:gd name="connsiteY358" fmla="*/ 1501487 h 2064992"/>
              <a:gd name="connsiteX359" fmla="*/ 588940 w 869791"/>
              <a:gd name="connsiteY359" fmla="*/ 1486661 h 2064992"/>
              <a:gd name="connsiteX360" fmla="*/ 567076 w 869791"/>
              <a:gd name="connsiteY360" fmla="*/ 1487650 h 2064992"/>
              <a:gd name="connsiteX361" fmla="*/ 550710 w 869791"/>
              <a:gd name="connsiteY361" fmla="*/ 1513966 h 2064992"/>
              <a:gd name="connsiteX362" fmla="*/ 550710 w 869791"/>
              <a:gd name="connsiteY362" fmla="*/ 1513966 h 2064992"/>
              <a:gd name="connsiteX363" fmla="*/ 29984 w 869791"/>
              <a:gd name="connsiteY363" fmla="*/ 1718933 h 2064992"/>
              <a:gd name="connsiteX364" fmla="*/ 29360 w 869791"/>
              <a:gd name="connsiteY364" fmla="*/ 1731906 h 2064992"/>
              <a:gd name="connsiteX365" fmla="*/ 38855 w 869791"/>
              <a:gd name="connsiteY365" fmla="*/ 1731041 h 2064992"/>
              <a:gd name="connsiteX366" fmla="*/ 41853 w 869791"/>
              <a:gd name="connsiteY366" fmla="*/ 1715597 h 2064992"/>
              <a:gd name="connsiteX367" fmla="*/ 30109 w 869791"/>
              <a:gd name="connsiteY367" fmla="*/ 1718933 h 2064992"/>
              <a:gd name="connsiteX368" fmla="*/ 30109 w 869791"/>
              <a:gd name="connsiteY368" fmla="*/ 1718933 h 2064992"/>
              <a:gd name="connsiteX369" fmla="*/ 636415 w 869791"/>
              <a:gd name="connsiteY369" fmla="*/ 1635908 h 2064992"/>
              <a:gd name="connsiteX370" fmla="*/ 644660 w 869791"/>
              <a:gd name="connsiteY370" fmla="*/ 1650734 h 2064992"/>
              <a:gd name="connsiteX371" fmla="*/ 653780 w 869791"/>
              <a:gd name="connsiteY371" fmla="*/ 1638503 h 2064992"/>
              <a:gd name="connsiteX372" fmla="*/ 643911 w 869791"/>
              <a:gd name="connsiteY372" fmla="*/ 1631090 h 2064992"/>
              <a:gd name="connsiteX373" fmla="*/ 636539 w 869791"/>
              <a:gd name="connsiteY373" fmla="*/ 1636032 h 2064992"/>
              <a:gd name="connsiteX374" fmla="*/ 636539 w 869791"/>
              <a:gd name="connsiteY374" fmla="*/ 1636032 h 2064992"/>
              <a:gd name="connsiteX375" fmla="*/ 647034 w 869791"/>
              <a:gd name="connsiteY375" fmla="*/ 1719551 h 2064992"/>
              <a:gd name="connsiteX376" fmla="*/ 653780 w 869791"/>
              <a:gd name="connsiteY376" fmla="*/ 1727829 h 2064992"/>
              <a:gd name="connsiteX377" fmla="*/ 663275 w 869791"/>
              <a:gd name="connsiteY377" fmla="*/ 1717945 h 2064992"/>
              <a:gd name="connsiteX378" fmla="*/ 679267 w 869791"/>
              <a:gd name="connsiteY378" fmla="*/ 1712632 h 2064992"/>
              <a:gd name="connsiteX379" fmla="*/ 675019 w 869791"/>
              <a:gd name="connsiteY379" fmla="*/ 1706578 h 2064992"/>
              <a:gd name="connsiteX380" fmla="*/ 656279 w 869791"/>
              <a:gd name="connsiteY380" fmla="*/ 1708061 h 2064992"/>
              <a:gd name="connsiteX381" fmla="*/ 647159 w 869791"/>
              <a:gd name="connsiteY381" fmla="*/ 1719674 h 2064992"/>
              <a:gd name="connsiteX382" fmla="*/ 647159 w 869791"/>
              <a:gd name="connsiteY382" fmla="*/ 1719674 h 2064992"/>
              <a:gd name="connsiteX383" fmla="*/ 589939 w 869791"/>
              <a:gd name="connsiteY383" fmla="*/ 1862373 h 2064992"/>
              <a:gd name="connsiteX384" fmla="*/ 610803 w 869791"/>
              <a:gd name="connsiteY384" fmla="*/ 1855578 h 2064992"/>
              <a:gd name="connsiteX385" fmla="*/ 614551 w 869791"/>
              <a:gd name="connsiteY385" fmla="*/ 1844582 h 2064992"/>
              <a:gd name="connsiteX386" fmla="*/ 608054 w 869791"/>
              <a:gd name="connsiteY386" fmla="*/ 1840258 h 2064992"/>
              <a:gd name="connsiteX387" fmla="*/ 610928 w 869791"/>
              <a:gd name="connsiteY387" fmla="*/ 1829015 h 2064992"/>
              <a:gd name="connsiteX388" fmla="*/ 631417 w 869791"/>
              <a:gd name="connsiteY388" fmla="*/ 1811718 h 2064992"/>
              <a:gd name="connsiteX389" fmla="*/ 633541 w 869791"/>
              <a:gd name="connsiteY389" fmla="*/ 1799734 h 2064992"/>
              <a:gd name="connsiteX390" fmla="*/ 646159 w 869791"/>
              <a:gd name="connsiteY390" fmla="*/ 1783425 h 2064992"/>
              <a:gd name="connsiteX391" fmla="*/ 643786 w 869791"/>
              <a:gd name="connsiteY391" fmla="*/ 1775271 h 2064992"/>
              <a:gd name="connsiteX392" fmla="*/ 630293 w 869791"/>
              <a:gd name="connsiteY392" fmla="*/ 1764275 h 2064992"/>
              <a:gd name="connsiteX393" fmla="*/ 636914 w 869791"/>
              <a:gd name="connsiteY393" fmla="*/ 1748585 h 2064992"/>
              <a:gd name="connsiteX394" fmla="*/ 638413 w 869791"/>
              <a:gd name="connsiteY394" fmla="*/ 1738330 h 2064992"/>
              <a:gd name="connsiteX395" fmla="*/ 645660 w 869791"/>
              <a:gd name="connsiteY395" fmla="*/ 1731164 h 2064992"/>
              <a:gd name="connsiteX396" fmla="*/ 634915 w 869791"/>
              <a:gd name="connsiteY396" fmla="*/ 1725975 h 2064992"/>
              <a:gd name="connsiteX397" fmla="*/ 625545 w 869791"/>
              <a:gd name="connsiteY397" fmla="*/ 1732029 h 2064992"/>
              <a:gd name="connsiteX398" fmla="*/ 606056 w 869791"/>
              <a:gd name="connsiteY398" fmla="*/ 1732523 h 2064992"/>
              <a:gd name="connsiteX399" fmla="*/ 594562 w 869791"/>
              <a:gd name="connsiteY399" fmla="*/ 1748461 h 2064992"/>
              <a:gd name="connsiteX400" fmla="*/ 586691 w 869791"/>
              <a:gd name="connsiteY400" fmla="*/ 1764893 h 2064992"/>
              <a:gd name="connsiteX401" fmla="*/ 574947 w 869791"/>
              <a:gd name="connsiteY401" fmla="*/ 1778236 h 2064992"/>
              <a:gd name="connsiteX402" fmla="*/ 581444 w 869791"/>
              <a:gd name="connsiteY402" fmla="*/ 1798622 h 2064992"/>
              <a:gd name="connsiteX403" fmla="*/ 574947 w 869791"/>
              <a:gd name="connsiteY403" fmla="*/ 1803193 h 2064992"/>
              <a:gd name="connsiteX404" fmla="*/ 594312 w 869791"/>
              <a:gd name="connsiteY404" fmla="*/ 1828644 h 2064992"/>
              <a:gd name="connsiteX405" fmla="*/ 601433 w 869791"/>
              <a:gd name="connsiteY405" fmla="*/ 1825679 h 2064992"/>
              <a:gd name="connsiteX406" fmla="*/ 597810 w 869791"/>
              <a:gd name="connsiteY406" fmla="*/ 1840876 h 2064992"/>
              <a:gd name="connsiteX407" fmla="*/ 587815 w 869791"/>
              <a:gd name="connsiteY407" fmla="*/ 1854466 h 2064992"/>
              <a:gd name="connsiteX408" fmla="*/ 589814 w 869791"/>
              <a:gd name="connsiteY408" fmla="*/ 1862249 h 2064992"/>
              <a:gd name="connsiteX409" fmla="*/ 589814 w 869791"/>
              <a:gd name="connsiteY409" fmla="*/ 1862249 h 2064992"/>
              <a:gd name="connsiteX410" fmla="*/ 455510 w 869791"/>
              <a:gd name="connsiteY410" fmla="*/ 1922418 h 2064992"/>
              <a:gd name="connsiteX411" fmla="*/ 458883 w 869791"/>
              <a:gd name="connsiteY411" fmla="*/ 1939344 h 2064992"/>
              <a:gd name="connsiteX412" fmla="*/ 459383 w 869791"/>
              <a:gd name="connsiteY412" fmla="*/ 1951699 h 2064992"/>
              <a:gd name="connsiteX413" fmla="*/ 465630 w 869791"/>
              <a:gd name="connsiteY413" fmla="*/ 1957382 h 2064992"/>
              <a:gd name="connsiteX414" fmla="*/ 471501 w 869791"/>
              <a:gd name="connsiteY414" fmla="*/ 1941444 h 2064992"/>
              <a:gd name="connsiteX415" fmla="*/ 480122 w 869791"/>
              <a:gd name="connsiteY415" fmla="*/ 1912287 h 2064992"/>
              <a:gd name="connsiteX416" fmla="*/ 482121 w 869791"/>
              <a:gd name="connsiteY416" fmla="*/ 1882141 h 2064992"/>
              <a:gd name="connsiteX417" fmla="*/ 489992 w 869791"/>
              <a:gd name="connsiteY417" fmla="*/ 1851007 h 2064992"/>
              <a:gd name="connsiteX418" fmla="*/ 492116 w 869791"/>
              <a:gd name="connsiteY418" fmla="*/ 1824073 h 2064992"/>
              <a:gd name="connsiteX419" fmla="*/ 481746 w 869791"/>
              <a:gd name="connsiteY419" fmla="*/ 1814065 h 2064992"/>
              <a:gd name="connsiteX420" fmla="*/ 471252 w 869791"/>
              <a:gd name="connsiteY420" fmla="*/ 1831609 h 2064992"/>
              <a:gd name="connsiteX421" fmla="*/ 474250 w 869791"/>
              <a:gd name="connsiteY421" fmla="*/ 1839393 h 2064992"/>
              <a:gd name="connsiteX422" fmla="*/ 469503 w 869791"/>
              <a:gd name="connsiteY422" fmla="*/ 1866450 h 2064992"/>
              <a:gd name="connsiteX423" fmla="*/ 459883 w 869791"/>
              <a:gd name="connsiteY423" fmla="*/ 1873369 h 2064992"/>
              <a:gd name="connsiteX424" fmla="*/ 455385 w 869791"/>
              <a:gd name="connsiteY424" fmla="*/ 1922665 h 2064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Lst>
            <a:rect l="l" t="t" r="r" b="b"/>
            <a:pathLst>
              <a:path w="869791" h="2064992">
                <a:moveTo>
                  <a:pt x="14742" y="1590689"/>
                </a:moveTo>
                <a:lnTo>
                  <a:pt x="26361" y="1597855"/>
                </a:lnTo>
                <a:lnTo>
                  <a:pt x="37730" y="1615770"/>
                </a:lnTo>
                <a:lnTo>
                  <a:pt x="46850" y="1596990"/>
                </a:lnTo>
                <a:lnTo>
                  <a:pt x="40354" y="1540899"/>
                </a:lnTo>
                <a:lnTo>
                  <a:pt x="25487" y="1517301"/>
                </a:lnTo>
                <a:lnTo>
                  <a:pt x="32108" y="1501240"/>
                </a:lnTo>
                <a:lnTo>
                  <a:pt x="44352" y="1494198"/>
                </a:lnTo>
                <a:lnTo>
                  <a:pt x="34357" y="1476283"/>
                </a:lnTo>
                <a:lnTo>
                  <a:pt x="39854" y="1465535"/>
                </a:lnTo>
                <a:lnTo>
                  <a:pt x="68214" y="1461705"/>
                </a:lnTo>
                <a:lnTo>
                  <a:pt x="75585" y="1447620"/>
                </a:lnTo>
                <a:lnTo>
                  <a:pt x="73461" y="1428717"/>
                </a:lnTo>
                <a:lnTo>
                  <a:pt x="85455" y="1400054"/>
                </a:lnTo>
                <a:lnTo>
                  <a:pt x="71462" y="1382386"/>
                </a:lnTo>
                <a:lnTo>
                  <a:pt x="63092" y="1341492"/>
                </a:lnTo>
                <a:lnTo>
                  <a:pt x="44477" y="1308875"/>
                </a:lnTo>
                <a:lnTo>
                  <a:pt x="45101" y="1293802"/>
                </a:lnTo>
                <a:lnTo>
                  <a:pt x="86205" y="1278235"/>
                </a:lnTo>
                <a:lnTo>
                  <a:pt x="85580" y="1248830"/>
                </a:lnTo>
                <a:lnTo>
                  <a:pt x="93326" y="1228198"/>
                </a:lnTo>
                <a:lnTo>
                  <a:pt x="60093" y="1194963"/>
                </a:lnTo>
                <a:lnTo>
                  <a:pt x="33108" y="1182979"/>
                </a:lnTo>
                <a:lnTo>
                  <a:pt x="30234" y="1149003"/>
                </a:lnTo>
                <a:lnTo>
                  <a:pt x="34732" y="1115398"/>
                </a:lnTo>
                <a:lnTo>
                  <a:pt x="28485" y="1078951"/>
                </a:lnTo>
                <a:lnTo>
                  <a:pt x="17491" y="1054488"/>
                </a:lnTo>
                <a:lnTo>
                  <a:pt x="24237" y="1026072"/>
                </a:lnTo>
                <a:lnTo>
                  <a:pt x="16866" y="978629"/>
                </a:lnTo>
                <a:lnTo>
                  <a:pt x="6247" y="932546"/>
                </a:lnTo>
                <a:lnTo>
                  <a:pt x="10994" y="891774"/>
                </a:lnTo>
                <a:lnTo>
                  <a:pt x="29859" y="854957"/>
                </a:lnTo>
                <a:lnTo>
                  <a:pt x="49224" y="842355"/>
                </a:lnTo>
                <a:lnTo>
                  <a:pt x="73961" y="846556"/>
                </a:lnTo>
                <a:lnTo>
                  <a:pt x="105070" y="847173"/>
                </a:lnTo>
                <a:lnTo>
                  <a:pt x="119937" y="824935"/>
                </a:lnTo>
                <a:lnTo>
                  <a:pt x="115814" y="791082"/>
                </a:lnTo>
                <a:lnTo>
                  <a:pt x="106694" y="777739"/>
                </a:lnTo>
                <a:lnTo>
                  <a:pt x="107069" y="755500"/>
                </a:lnTo>
                <a:lnTo>
                  <a:pt x="134804" y="679024"/>
                </a:lnTo>
                <a:lnTo>
                  <a:pt x="134179" y="635905"/>
                </a:lnTo>
                <a:lnTo>
                  <a:pt x="141675" y="594269"/>
                </a:lnTo>
                <a:lnTo>
                  <a:pt x="149921" y="571042"/>
                </a:lnTo>
                <a:lnTo>
                  <a:pt x="148047" y="544973"/>
                </a:lnTo>
                <a:lnTo>
                  <a:pt x="134304" y="532495"/>
                </a:lnTo>
                <a:lnTo>
                  <a:pt x="134304" y="514210"/>
                </a:lnTo>
                <a:cubicBezTo>
                  <a:pt x="134304" y="514210"/>
                  <a:pt x="162539" y="495924"/>
                  <a:pt x="162539" y="495924"/>
                </a:cubicBezTo>
                <a:lnTo>
                  <a:pt x="193273" y="488141"/>
                </a:lnTo>
                <a:lnTo>
                  <a:pt x="207266" y="475045"/>
                </a:lnTo>
                <a:lnTo>
                  <a:pt x="207765" y="456636"/>
                </a:lnTo>
                <a:lnTo>
                  <a:pt x="231003" y="411788"/>
                </a:lnTo>
                <a:lnTo>
                  <a:pt x="255240" y="375341"/>
                </a:lnTo>
                <a:lnTo>
                  <a:pt x="262986" y="354091"/>
                </a:lnTo>
                <a:lnTo>
                  <a:pt x="251867" y="327651"/>
                </a:lnTo>
                <a:lnTo>
                  <a:pt x="240748" y="316285"/>
                </a:lnTo>
                <a:lnTo>
                  <a:pt x="238249" y="274525"/>
                </a:lnTo>
                <a:lnTo>
                  <a:pt x="249868" y="268101"/>
                </a:lnTo>
                <a:lnTo>
                  <a:pt x="260363" y="252534"/>
                </a:lnTo>
                <a:lnTo>
                  <a:pt x="264735" y="230048"/>
                </a:lnTo>
                <a:lnTo>
                  <a:pt x="276979" y="223005"/>
                </a:lnTo>
                <a:lnTo>
                  <a:pt x="289597" y="192365"/>
                </a:lnTo>
                <a:lnTo>
                  <a:pt x="308088" y="177169"/>
                </a:lnTo>
                <a:lnTo>
                  <a:pt x="328952" y="185447"/>
                </a:lnTo>
                <a:lnTo>
                  <a:pt x="337947" y="194960"/>
                </a:lnTo>
                <a:lnTo>
                  <a:pt x="349691" y="192489"/>
                </a:lnTo>
                <a:lnTo>
                  <a:pt x="363059" y="179516"/>
                </a:lnTo>
                <a:lnTo>
                  <a:pt x="351065" y="160984"/>
                </a:lnTo>
                <a:lnTo>
                  <a:pt x="361185" y="150729"/>
                </a:lnTo>
                <a:lnTo>
                  <a:pt x="360810" y="140969"/>
                </a:lnTo>
                <a:lnTo>
                  <a:pt x="365058" y="130962"/>
                </a:lnTo>
                <a:lnTo>
                  <a:pt x="349566" y="108723"/>
                </a:lnTo>
                <a:lnTo>
                  <a:pt x="358561" y="102422"/>
                </a:lnTo>
                <a:lnTo>
                  <a:pt x="385047" y="101928"/>
                </a:lnTo>
                <a:lnTo>
                  <a:pt x="404412" y="90561"/>
                </a:lnTo>
                <a:lnTo>
                  <a:pt x="435146" y="97109"/>
                </a:lnTo>
                <a:lnTo>
                  <a:pt x="454136" y="108723"/>
                </a:lnTo>
                <a:lnTo>
                  <a:pt x="475374" y="109835"/>
                </a:lnTo>
                <a:lnTo>
                  <a:pt x="487618" y="119101"/>
                </a:lnTo>
                <a:lnTo>
                  <a:pt x="496738" y="115394"/>
                </a:lnTo>
                <a:lnTo>
                  <a:pt x="505608" y="120213"/>
                </a:lnTo>
                <a:lnTo>
                  <a:pt x="504609" y="97974"/>
                </a:lnTo>
                <a:lnTo>
                  <a:pt x="494115" y="84013"/>
                </a:lnTo>
                <a:lnTo>
                  <a:pt x="495489" y="55720"/>
                </a:lnTo>
                <a:lnTo>
                  <a:pt x="509731" y="47196"/>
                </a:lnTo>
                <a:lnTo>
                  <a:pt x="504234" y="28416"/>
                </a:lnTo>
                <a:lnTo>
                  <a:pt x="489367" y="21127"/>
                </a:lnTo>
                <a:lnTo>
                  <a:pt x="487243" y="2842"/>
                </a:lnTo>
                <a:lnTo>
                  <a:pt x="508732" y="8525"/>
                </a:lnTo>
                <a:lnTo>
                  <a:pt x="529096" y="3706"/>
                </a:lnTo>
                <a:lnTo>
                  <a:pt x="535843" y="0"/>
                </a:lnTo>
                <a:lnTo>
                  <a:pt x="551584" y="17173"/>
                </a:lnTo>
                <a:lnTo>
                  <a:pt x="575946" y="27922"/>
                </a:lnTo>
                <a:lnTo>
                  <a:pt x="609929" y="63875"/>
                </a:lnTo>
                <a:lnTo>
                  <a:pt x="634541" y="80554"/>
                </a:lnTo>
                <a:lnTo>
                  <a:pt x="670272" y="81666"/>
                </a:lnTo>
                <a:lnTo>
                  <a:pt x="684514" y="89573"/>
                </a:lnTo>
                <a:lnTo>
                  <a:pt x="697257" y="92291"/>
                </a:lnTo>
                <a:lnTo>
                  <a:pt x="715998" y="111812"/>
                </a:lnTo>
                <a:lnTo>
                  <a:pt x="723369" y="128491"/>
                </a:lnTo>
                <a:lnTo>
                  <a:pt x="731364" y="129479"/>
                </a:lnTo>
                <a:lnTo>
                  <a:pt x="737861" y="127255"/>
                </a:lnTo>
                <a:lnTo>
                  <a:pt x="754602" y="148135"/>
                </a:lnTo>
                <a:lnTo>
                  <a:pt x="767221" y="148876"/>
                </a:lnTo>
                <a:lnTo>
                  <a:pt x="776466" y="161602"/>
                </a:lnTo>
                <a:lnTo>
                  <a:pt x="770469" y="178281"/>
                </a:lnTo>
                <a:lnTo>
                  <a:pt x="776591" y="204350"/>
                </a:lnTo>
                <a:lnTo>
                  <a:pt x="769220" y="225353"/>
                </a:lnTo>
                <a:lnTo>
                  <a:pt x="771968" y="243267"/>
                </a:lnTo>
                <a:lnTo>
                  <a:pt x="796205" y="243885"/>
                </a:lnTo>
                <a:lnTo>
                  <a:pt x="802827" y="264641"/>
                </a:lnTo>
                <a:lnTo>
                  <a:pt x="794831" y="278479"/>
                </a:lnTo>
                <a:lnTo>
                  <a:pt x="798829" y="303312"/>
                </a:lnTo>
                <a:lnTo>
                  <a:pt x="809698" y="317644"/>
                </a:lnTo>
                <a:lnTo>
                  <a:pt x="817194" y="349890"/>
                </a:lnTo>
                <a:lnTo>
                  <a:pt x="813196" y="365086"/>
                </a:lnTo>
                <a:lnTo>
                  <a:pt x="817694" y="378677"/>
                </a:lnTo>
                <a:lnTo>
                  <a:pt x="819193" y="414012"/>
                </a:lnTo>
                <a:lnTo>
                  <a:pt x="813821" y="427355"/>
                </a:lnTo>
                <a:lnTo>
                  <a:pt x="824191" y="453053"/>
                </a:lnTo>
                <a:lnTo>
                  <a:pt x="841681" y="458242"/>
                </a:lnTo>
                <a:lnTo>
                  <a:pt x="859047" y="490859"/>
                </a:lnTo>
                <a:lnTo>
                  <a:pt x="869792" y="501361"/>
                </a:lnTo>
                <a:lnTo>
                  <a:pt x="869792" y="521128"/>
                </a:lnTo>
                <a:cubicBezTo>
                  <a:pt x="869792" y="521128"/>
                  <a:pt x="868917" y="520387"/>
                  <a:pt x="868917" y="520387"/>
                </a:cubicBezTo>
                <a:lnTo>
                  <a:pt x="857423" y="529159"/>
                </a:lnTo>
                <a:lnTo>
                  <a:pt x="840057" y="528541"/>
                </a:lnTo>
                <a:lnTo>
                  <a:pt x="829188" y="516681"/>
                </a:lnTo>
                <a:lnTo>
                  <a:pt x="808324" y="531259"/>
                </a:lnTo>
                <a:lnTo>
                  <a:pt x="793457" y="523599"/>
                </a:lnTo>
                <a:lnTo>
                  <a:pt x="786460" y="539043"/>
                </a:lnTo>
                <a:lnTo>
                  <a:pt x="770969" y="533483"/>
                </a:lnTo>
                <a:lnTo>
                  <a:pt x="763348" y="518657"/>
                </a:lnTo>
                <a:lnTo>
                  <a:pt x="749605" y="537190"/>
                </a:lnTo>
                <a:lnTo>
                  <a:pt x="737611" y="517793"/>
                </a:lnTo>
                <a:lnTo>
                  <a:pt x="728241" y="525700"/>
                </a:lnTo>
                <a:lnTo>
                  <a:pt x="726992" y="543120"/>
                </a:lnTo>
                <a:lnTo>
                  <a:pt x="721370" y="557699"/>
                </a:lnTo>
                <a:lnTo>
                  <a:pt x="708002" y="561405"/>
                </a:lnTo>
                <a:lnTo>
                  <a:pt x="699256" y="551768"/>
                </a:lnTo>
                <a:lnTo>
                  <a:pt x="686888" y="548186"/>
                </a:lnTo>
                <a:lnTo>
                  <a:pt x="699256" y="569560"/>
                </a:lnTo>
                <a:lnTo>
                  <a:pt x="711750" y="577220"/>
                </a:lnTo>
                <a:lnTo>
                  <a:pt x="697133" y="591551"/>
                </a:lnTo>
                <a:lnTo>
                  <a:pt x="681516" y="591181"/>
                </a:lnTo>
                <a:lnTo>
                  <a:pt x="668023" y="599335"/>
                </a:lnTo>
                <a:lnTo>
                  <a:pt x="685264" y="606130"/>
                </a:lnTo>
                <a:lnTo>
                  <a:pt x="684639" y="616755"/>
                </a:lnTo>
                <a:lnTo>
                  <a:pt x="677768" y="619103"/>
                </a:lnTo>
                <a:lnTo>
                  <a:pt x="673645" y="613049"/>
                </a:lnTo>
                <a:lnTo>
                  <a:pt x="662401" y="607983"/>
                </a:lnTo>
                <a:lnTo>
                  <a:pt x="656779" y="614778"/>
                </a:lnTo>
                <a:lnTo>
                  <a:pt x="665274" y="627504"/>
                </a:lnTo>
                <a:lnTo>
                  <a:pt x="676393" y="627504"/>
                </a:lnTo>
                <a:cubicBezTo>
                  <a:pt x="676393" y="627504"/>
                  <a:pt x="685639" y="638005"/>
                  <a:pt x="685639" y="638005"/>
                </a:cubicBezTo>
                <a:lnTo>
                  <a:pt x="680516" y="648507"/>
                </a:lnTo>
                <a:lnTo>
                  <a:pt x="670771" y="680506"/>
                </a:lnTo>
                <a:lnTo>
                  <a:pt x="675519" y="693355"/>
                </a:lnTo>
                <a:lnTo>
                  <a:pt x="653531" y="698421"/>
                </a:lnTo>
                <a:lnTo>
                  <a:pt x="672146" y="711393"/>
                </a:lnTo>
                <a:lnTo>
                  <a:pt x="686888" y="713494"/>
                </a:lnTo>
                <a:lnTo>
                  <a:pt x="692885" y="724860"/>
                </a:lnTo>
                <a:lnTo>
                  <a:pt x="682016" y="729431"/>
                </a:lnTo>
                <a:lnTo>
                  <a:pt x="693010" y="743393"/>
                </a:lnTo>
                <a:lnTo>
                  <a:pt x="706253" y="742775"/>
                </a:lnTo>
                <a:lnTo>
                  <a:pt x="689262" y="766125"/>
                </a:lnTo>
                <a:lnTo>
                  <a:pt x="677518" y="767361"/>
                </a:lnTo>
                <a:lnTo>
                  <a:pt x="665024" y="783669"/>
                </a:lnTo>
                <a:lnTo>
                  <a:pt x="669147" y="813074"/>
                </a:lnTo>
                <a:lnTo>
                  <a:pt x="652406" y="844085"/>
                </a:lnTo>
                <a:lnTo>
                  <a:pt x="640537" y="843838"/>
                </a:lnTo>
                <a:lnTo>
                  <a:pt x="622547" y="862493"/>
                </a:lnTo>
                <a:lnTo>
                  <a:pt x="612302" y="850509"/>
                </a:lnTo>
                <a:lnTo>
                  <a:pt x="610178" y="866447"/>
                </a:lnTo>
                <a:lnTo>
                  <a:pt x="617799" y="882632"/>
                </a:lnTo>
                <a:lnTo>
                  <a:pt x="596186" y="895975"/>
                </a:lnTo>
                <a:lnTo>
                  <a:pt x="587940" y="914878"/>
                </a:lnTo>
                <a:lnTo>
                  <a:pt x="576821" y="914631"/>
                </a:lnTo>
                <a:lnTo>
                  <a:pt x="574197" y="901658"/>
                </a:lnTo>
                <a:lnTo>
                  <a:pt x="560330" y="902276"/>
                </a:lnTo>
                <a:lnTo>
                  <a:pt x="552834" y="921179"/>
                </a:lnTo>
                <a:lnTo>
                  <a:pt x="553708" y="941688"/>
                </a:lnTo>
                <a:lnTo>
                  <a:pt x="541714" y="953178"/>
                </a:lnTo>
                <a:lnTo>
                  <a:pt x="533594" y="941812"/>
                </a:lnTo>
                <a:lnTo>
                  <a:pt x="525973" y="942182"/>
                </a:lnTo>
                <a:lnTo>
                  <a:pt x="521975" y="961579"/>
                </a:lnTo>
                <a:lnTo>
                  <a:pt x="513729" y="964050"/>
                </a:lnTo>
                <a:lnTo>
                  <a:pt x="505608" y="954784"/>
                </a:lnTo>
                <a:lnTo>
                  <a:pt x="493740" y="967633"/>
                </a:lnTo>
                <a:lnTo>
                  <a:pt x="488867" y="982953"/>
                </a:lnTo>
                <a:lnTo>
                  <a:pt x="501486" y="985177"/>
                </a:lnTo>
                <a:lnTo>
                  <a:pt x="500611" y="995555"/>
                </a:lnTo>
                <a:lnTo>
                  <a:pt x="476499" y="1017918"/>
                </a:lnTo>
                <a:lnTo>
                  <a:pt x="460382" y="1014458"/>
                </a:lnTo>
                <a:lnTo>
                  <a:pt x="456010" y="1024342"/>
                </a:lnTo>
                <a:lnTo>
                  <a:pt x="464130" y="1039662"/>
                </a:lnTo>
                <a:lnTo>
                  <a:pt x="450138" y="1062148"/>
                </a:lnTo>
                <a:lnTo>
                  <a:pt x="423777" y="1067708"/>
                </a:lnTo>
                <a:lnTo>
                  <a:pt x="409034" y="1063260"/>
                </a:lnTo>
                <a:lnTo>
                  <a:pt x="431273" y="1088711"/>
                </a:lnTo>
                <a:lnTo>
                  <a:pt x="434771" y="1111197"/>
                </a:lnTo>
                <a:lnTo>
                  <a:pt x="430273" y="1118239"/>
                </a:lnTo>
                <a:lnTo>
                  <a:pt x="434646" y="1138625"/>
                </a:lnTo>
                <a:lnTo>
                  <a:pt x="431023" y="1165558"/>
                </a:lnTo>
                <a:lnTo>
                  <a:pt x="445515" y="1179396"/>
                </a:lnTo>
                <a:lnTo>
                  <a:pt x="444141" y="1197310"/>
                </a:lnTo>
                <a:lnTo>
                  <a:pt x="431897" y="1187550"/>
                </a:lnTo>
                <a:lnTo>
                  <a:pt x="428024" y="1193233"/>
                </a:lnTo>
                <a:lnTo>
                  <a:pt x="434771" y="1219796"/>
                </a:lnTo>
                <a:lnTo>
                  <a:pt x="421653" y="1237587"/>
                </a:lnTo>
                <a:lnTo>
                  <a:pt x="435770" y="1242529"/>
                </a:lnTo>
                <a:lnTo>
                  <a:pt x="436270" y="1253525"/>
                </a:lnTo>
                <a:lnTo>
                  <a:pt x="428149" y="1258714"/>
                </a:lnTo>
                <a:lnTo>
                  <a:pt x="438769" y="1278235"/>
                </a:lnTo>
                <a:lnTo>
                  <a:pt x="426900" y="1294543"/>
                </a:lnTo>
                <a:lnTo>
                  <a:pt x="437769" y="1305045"/>
                </a:lnTo>
                <a:lnTo>
                  <a:pt x="447389" y="1318388"/>
                </a:lnTo>
                <a:lnTo>
                  <a:pt x="460008" y="1320612"/>
                </a:lnTo>
                <a:lnTo>
                  <a:pt x="460757" y="1337785"/>
                </a:lnTo>
                <a:lnTo>
                  <a:pt x="469503" y="1331978"/>
                </a:lnTo>
                <a:lnTo>
                  <a:pt x="479872" y="1348040"/>
                </a:lnTo>
                <a:lnTo>
                  <a:pt x="494989" y="1328148"/>
                </a:lnTo>
                <a:lnTo>
                  <a:pt x="507982" y="1337909"/>
                </a:lnTo>
                <a:lnTo>
                  <a:pt x="512855" y="1353476"/>
                </a:lnTo>
                <a:lnTo>
                  <a:pt x="546587" y="1376827"/>
                </a:lnTo>
                <a:lnTo>
                  <a:pt x="542214" y="1387328"/>
                </a:lnTo>
                <a:lnTo>
                  <a:pt x="569950" y="1401907"/>
                </a:lnTo>
                <a:lnTo>
                  <a:pt x="570574" y="1415621"/>
                </a:lnTo>
                <a:lnTo>
                  <a:pt x="589314" y="1432053"/>
                </a:lnTo>
                <a:lnTo>
                  <a:pt x="578695" y="1459975"/>
                </a:lnTo>
                <a:lnTo>
                  <a:pt x="556832" y="1485673"/>
                </a:lnTo>
                <a:lnTo>
                  <a:pt x="551334" y="1504453"/>
                </a:lnTo>
                <a:lnTo>
                  <a:pt x="526722" y="1511742"/>
                </a:lnTo>
                <a:lnTo>
                  <a:pt x="511106" y="1504205"/>
                </a:lnTo>
                <a:lnTo>
                  <a:pt x="512730" y="1492468"/>
                </a:lnTo>
                <a:lnTo>
                  <a:pt x="491616" y="1485797"/>
                </a:lnTo>
                <a:lnTo>
                  <a:pt x="482246" y="1477272"/>
                </a:lnTo>
                <a:lnTo>
                  <a:pt x="481996" y="1488268"/>
                </a:lnTo>
                <a:lnTo>
                  <a:pt x="471002" y="1489503"/>
                </a:lnTo>
                <a:lnTo>
                  <a:pt x="463006" y="1481596"/>
                </a:lnTo>
                <a:lnTo>
                  <a:pt x="446889" y="1478878"/>
                </a:lnTo>
                <a:lnTo>
                  <a:pt x="441142" y="1490862"/>
                </a:lnTo>
                <a:lnTo>
                  <a:pt x="427400" y="1495557"/>
                </a:lnTo>
                <a:lnTo>
                  <a:pt x="419529" y="1488268"/>
                </a:lnTo>
                <a:lnTo>
                  <a:pt x="407035" y="1505935"/>
                </a:lnTo>
                <a:lnTo>
                  <a:pt x="391419" y="1499016"/>
                </a:lnTo>
                <a:lnTo>
                  <a:pt x="378550" y="1505070"/>
                </a:lnTo>
                <a:lnTo>
                  <a:pt x="379425" y="1511865"/>
                </a:lnTo>
                <a:lnTo>
                  <a:pt x="407285" y="1513472"/>
                </a:lnTo>
                <a:lnTo>
                  <a:pt x="414532" y="1518661"/>
                </a:lnTo>
                <a:lnTo>
                  <a:pt x="416156" y="1509642"/>
                </a:lnTo>
                <a:lnTo>
                  <a:pt x="440393" y="1507912"/>
                </a:lnTo>
                <a:lnTo>
                  <a:pt x="452511" y="1514954"/>
                </a:lnTo>
                <a:lnTo>
                  <a:pt x="472126" y="1517549"/>
                </a:lnTo>
                <a:lnTo>
                  <a:pt x="484620" y="1532869"/>
                </a:lnTo>
                <a:lnTo>
                  <a:pt x="498862" y="1523973"/>
                </a:lnTo>
                <a:lnTo>
                  <a:pt x="508107" y="1527680"/>
                </a:lnTo>
                <a:lnTo>
                  <a:pt x="523599" y="1518043"/>
                </a:lnTo>
                <a:lnTo>
                  <a:pt x="546087" y="1523232"/>
                </a:lnTo>
                <a:lnTo>
                  <a:pt x="557581" y="1532374"/>
                </a:lnTo>
                <a:lnTo>
                  <a:pt x="560330" y="1549424"/>
                </a:lnTo>
                <a:lnTo>
                  <a:pt x="548336" y="1560296"/>
                </a:lnTo>
                <a:lnTo>
                  <a:pt x="535843" y="1560791"/>
                </a:lnTo>
                <a:lnTo>
                  <a:pt x="520850" y="1585500"/>
                </a:lnTo>
                <a:lnTo>
                  <a:pt x="510481" y="1585253"/>
                </a:lnTo>
                <a:lnTo>
                  <a:pt x="513229" y="1568698"/>
                </a:lnTo>
                <a:lnTo>
                  <a:pt x="506608" y="1560667"/>
                </a:lnTo>
                <a:lnTo>
                  <a:pt x="500111" y="1570551"/>
                </a:lnTo>
                <a:lnTo>
                  <a:pt x="503360" y="1582041"/>
                </a:lnTo>
                <a:lnTo>
                  <a:pt x="490866" y="1583894"/>
                </a:lnTo>
                <a:lnTo>
                  <a:pt x="478998" y="1598226"/>
                </a:lnTo>
                <a:lnTo>
                  <a:pt x="477748" y="1616882"/>
                </a:lnTo>
                <a:lnTo>
                  <a:pt x="462006" y="1605886"/>
                </a:lnTo>
                <a:lnTo>
                  <a:pt x="463256" y="1617499"/>
                </a:lnTo>
                <a:lnTo>
                  <a:pt x="453261" y="1627507"/>
                </a:lnTo>
                <a:lnTo>
                  <a:pt x="450263" y="1623553"/>
                </a:lnTo>
                <a:lnTo>
                  <a:pt x="440518" y="1623924"/>
                </a:lnTo>
                <a:lnTo>
                  <a:pt x="430648" y="1636650"/>
                </a:lnTo>
                <a:lnTo>
                  <a:pt x="446015" y="1638009"/>
                </a:lnTo>
                <a:lnTo>
                  <a:pt x="464880" y="1655800"/>
                </a:lnTo>
                <a:lnTo>
                  <a:pt x="431023" y="1658641"/>
                </a:lnTo>
                <a:lnTo>
                  <a:pt x="458508" y="1667043"/>
                </a:lnTo>
                <a:lnTo>
                  <a:pt x="460382" y="1678038"/>
                </a:lnTo>
                <a:lnTo>
                  <a:pt x="451637" y="1699042"/>
                </a:lnTo>
                <a:lnTo>
                  <a:pt x="471876" y="1716091"/>
                </a:lnTo>
                <a:lnTo>
                  <a:pt x="450637" y="1721157"/>
                </a:lnTo>
                <a:lnTo>
                  <a:pt x="430148" y="1714485"/>
                </a:lnTo>
                <a:lnTo>
                  <a:pt x="442017" y="1731164"/>
                </a:lnTo>
                <a:lnTo>
                  <a:pt x="433646" y="1747349"/>
                </a:lnTo>
                <a:lnTo>
                  <a:pt x="454261" y="1758839"/>
                </a:lnTo>
                <a:lnTo>
                  <a:pt x="438894" y="1773912"/>
                </a:lnTo>
                <a:lnTo>
                  <a:pt x="454261" y="1791827"/>
                </a:lnTo>
                <a:lnTo>
                  <a:pt x="439768" y="1809618"/>
                </a:lnTo>
                <a:lnTo>
                  <a:pt x="438519" y="1828274"/>
                </a:lnTo>
                <a:lnTo>
                  <a:pt x="455010" y="1841370"/>
                </a:lnTo>
                <a:lnTo>
                  <a:pt x="447389" y="1856196"/>
                </a:lnTo>
                <a:lnTo>
                  <a:pt x="445890" y="1900920"/>
                </a:lnTo>
                <a:lnTo>
                  <a:pt x="432022" y="1916611"/>
                </a:lnTo>
                <a:lnTo>
                  <a:pt x="427275" y="1952564"/>
                </a:lnTo>
                <a:lnTo>
                  <a:pt x="408160" y="1977397"/>
                </a:lnTo>
                <a:lnTo>
                  <a:pt x="397915" y="1965413"/>
                </a:lnTo>
                <a:lnTo>
                  <a:pt x="380924" y="1958617"/>
                </a:lnTo>
                <a:lnTo>
                  <a:pt x="361310" y="1970478"/>
                </a:lnTo>
                <a:lnTo>
                  <a:pt x="327702" y="1966401"/>
                </a:lnTo>
                <a:lnTo>
                  <a:pt x="322330" y="1953552"/>
                </a:lnTo>
                <a:lnTo>
                  <a:pt x="317333" y="1982586"/>
                </a:lnTo>
                <a:lnTo>
                  <a:pt x="288973" y="1987157"/>
                </a:lnTo>
                <a:lnTo>
                  <a:pt x="277854" y="2017180"/>
                </a:lnTo>
                <a:lnTo>
                  <a:pt x="288598" y="2025704"/>
                </a:lnTo>
                <a:lnTo>
                  <a:pt x="290597" y="2040036"/>
                </a:lnTo>
                <a:lnTo>
                  <a:pt x="273231" y="2057209"/>
                </a:lnTo>
                <a:lnTo>
                  <a:pt x="249993" y="2049920"/>
                </a:lnTo>
                <a:lnTo>
                  <a:pt x="204017" y="2064252"/>
                </a:lnTo>
                <a:lnTo>
                  <a:pt x="186027" y="2064993"/>
                </a:lnTo>
                <a:lnTo>
                  <a:pt x="175907" y="2056468"/>
                </a:lnTo>
                <a:lnTo>
                  <a:pt x="185652" y="2039542"/>
                </a:lnTo>
                <a:lnTo>
                  <a:pt x="175532" y="1997412"/>
                </a:lnTo>
                <a:lnTo>
                  <a:pt x="156542" y="1992717"/>
                </a:lnTo>
                <a:lnTo>
                  <a:pt x="153044" y="1976408"/>
                </a:lnTo>
                <a:lnTo>
                  <a:pt x="140176" y="1969366"/>
                </a:lnTo>
                <a:lnTo>
                  <a:pt x="143299" y="1959606"/>
                </a:lnTo>
                <a:lnTo>
                  <a:pt x="166037" y="1955899"/>
                </a:lnTo>
                <a:lnTo>
                  <a:pt x="178156" y="1930695"/>
                </a:lnTo>
                <a:lnTo>
                  <a:pt x="171660" y="1908951"/>
                </a:lnTo>
                <a:lnTo>
                  <a:pt x="152670" y="1920812"/>
                </a:lnTo>
                <a:lnTo>
                  <a:pt x="134554" y="1904380"/>
                </a:lnTo>
                <a:lnTo>
                  <a:pt x="128932" y="1887453"/>
                </a:lnTo>
                <a:lnTo>
                  <a:pt x="109942" y="1880658"/>
                </a:lnTo>
                <a:lnTo>
                  <a:pt x="106694" y="1855331"/>
                </a:lnTo>
                <a:lnTo>
                  <a:pt x="88578" y="1822467"/>
                </a:lnTo>
                <a:lnTo>
                  <a:pt x="79958" y="1815919"/>
                </a:lnTo>
                <a:lnTo>
                  <a:pt x="69838" y="1792815"/>
                </a:lnTo>
                <a:lnTo>
                  <a:pt x="54471" y="1789726"/>
                </a:lnTo>
                <a:lnTo>
                  <a:pt x="43477" y="1775395"/>
                </a:lnTo>
                <a:lnTo>
                  <a:pt x="51348" y="1766499"/>
                </a:lnTo>
                <a:lnTo>
                  <a:pt x="52972" y="1746608"/>
                </a:lnTo>
                <a:lnTo>
                  <a:pt x="46725" y="1732770"/>
                </a:lnTo>
                <a:lnTo>
                  <a:pt x="49224" y="1718315"/>
                </a:lnTo>
                <a:lnTo>
                  <a:pt x="66840" y="1702501"/>
                </a:lnTo>
                <a:lnTo>
                  <a:pt x="61593" y="1693111"/>
                </a:lnTo>
                <a:lnTo>
                  <a:pt x="45976" y="1684957"/>
                </a:lnTo>
                <a:lnTo>
                  <a:pt x="49724" y="1675814"/>
                </a:lnTo>
                <a:lnTo>
                  <a:pt x="40978" y="1675814"/>
                </a:lnTo>
                <a:cubicBezTo>
                  <a:pt x="40978" y="1675814"/>
                  <a:pt x="39229" y="1689899"/>
                  <a:pt x="39229" y="1689899"/>
                </a:cubicBezTo>
                <a:lnTo>
                  <a:pt x="52222" y="1702378"/>
                </a:lnTo>
                <a:lnTo>
                  <a:pt x="32483" y="1711767"/>
                </a:lnTo>
                <a:lnTo>
                  <a:pt x="34482" y="1692494"/>
                </a:lnTo>
                <a:lnTo>
                  <a:pt x="29360" y="1685822"/>
                </a:lnTo>
                <a:lnTo>
                  <a:pt x="15867" y="1679521"/>
                </a:lnTo>
                <a:lnTo>
                  <a:pt x="12868" y="1650240"/>
                </a:lnTo>
                <a:lnTo>
                  <a:pt x="5122" y="1639985"/>
                </a:lnTo>
                <a:lnTo>
                  <a:pt x="0" y="1601191"/>
                </a:lnTo>
                <a:lnTo>
                  <a:pt x="13868" y="1592419"/>
                </a:lnTo>
                <a:lnTo>
                  <a:pt x="15242" y="1590442"/>
                </a:lnTo>
                <a:lnTo>
                  <a:pt x="15242" y="1590442"/>
                </a:lnTo>
                <a:close/>
                <a:moveTo>
                  <a:pt x="550460" y="1514089"/>
                </a:moveTo>
                <a:lnTo>
                  <a:pt x="564952" y="1534845"/>
                </a:lnTo>
                <a:lnTo>
                  <a:pt x="572573" y="1540405"/>
                </a:lnTo>
                <a:lnTo>
                  <a:pt x="571949" y="1518043"/>
                </a:lnTo>
                <a:lnTo>
                  <a:pt x="589189" y="1501487"/>
                </a:lnTo>
                <a:lnTo>
                  <a:pt x="588940" y="1486661"/>
                </a:lnTo>
                <a:lnTo>
                  <a:pt x="567076" y="1487650"/>
                </a:lnTo>
                <a:lnTo>
                  <a:pt x="550710" y="1513966"/>
                </a:lnTo>
                <a:lnTo>
                  <a:pt x="550710" y="1513966"/>
                </a:lnTo>
                <a:close/>
                <a:moveTo>
                  <a:pt x="29984" y="1718933"/>
                </a:moveTo>
                <a:lnTo>
                  <a:pt x="29360" y="1731906"/>
                </a:lnTo>
                <a:lnTo>
                  <a:pt x="38855" y="1731041"/>
                </a:lnTo>
                <a:lnTo>
                  <a:pt x="41853" y="1715597"/>
                </a:lnTo>
                <a:lnTo>
                  <a:pt x="30109" y="1718933"/>
                </a:lnTo>
                <a:lnTo>
                  <a:pt x="30109" y="1718933"/>
                </a:lnTo>
                <a:close/>
                <a:moveTo>
                  <a:pt x="636415" y="1635908"/>
                </a:moveTo>
                <a:lnTo>
                  <a:pt x="644660" y="1650734"/>
                </a:lnTo>
                <a:lnTo>
                  <a:pt x="653780" y="1638503"/>
                </a:lnTo>
                <a:lnTo>
                  <a:pt x="643911" y="1631090"/>
                </a:lnTo>
                <a:lnTo>
                  <a:pt x="636539" y="1636032"/>
                </a:lnTo>
                <a:lnTo>
                  <a:pt x="636539" y="1636032"/>
                </a:lnTo>
                <a:close/>
                <a:moveTo>
                  <a:pt x="647034" y="1719551"/>
                </a:moveTo>
                <a:lnTo>
                  <a:pt x="653780" y="1727829"/>
                </a:lnTo>
                <a:lnTo>
                  <a:pt x="663275" y="1717945"/>
                </a:lnTo>
                <a:lnTo>
                  <a:pt x="679267" y="1712632"/>
                </a:lnTo>
                <a:lnTo>
                  <a:pt x="675019" y="1706578"/>
                </a:lnTo>
                <a:lnTo>
                  <a:pt x="656279" y="1708061"/>
                </a:lnTo>
                <a:lnTo>
                  <a:pt x="647159" y="1719674"/>
                </a:lnTo>
                <a:lnTo>
                  <a:pt x="647159" y="1719674"/>
                </a:lnTo>
                <a:close/>
                <a:moveTo>
                  <a:pt x="589939" y="1862373"/>
                </a:moveTo>
                <a:lnTo>
                  <a:pt x="610803" y="1855578"/>
                </a:lnTo>
                <a:lnTo>
                  <a:pt x="614551" y="1844582"/>
                </a:lnTo>
                <a:lnTo>
                  <a:pt x="608054" y="1840258"/>
                </a:lnTo>
                <a:lnTo>
                  <a:pt x="610928" y="1829015"/>
                </a:lnTo>
                <a:lnTo>
                  <a:pt x="631417" y="1811718"/>
                </a:lnTo>
                <a:lnTo>
                  <a:pt x="633541" y="1799734"/>
                </a:lnTo>
                <a:lnTo>
                  <a:pt x="646159" y="1783425"/>
                </a:lnTo>
                <a:lnTo>
                  <a:pt x="643786" y="1775271"/>
                </a:lnTo>
                <a:lnTo>
                  <a:pt x="630293" y="1764275"/>
                </a:lnTo>
                <a:lnTo>
                  <a:pt x="636914" y="1748585"/>
                </a:lnTo>
                <a:lnTo>
                  <a:pt x="638413" y="1738330"/>
                </a:lnTo>
                <a:lnTo>
                  <a:pt x="645660" y="1731164"/>
                </a:lnTo>
                <a:lnTo>
                  <a:pt x="634915" y="1725975"/>
                </a:lnTo>
                <a:lnTo>
                  <a:pt x="625545" y="1732029"/>
                </a:lnTo>
                <a:lnTo>
                  <a:pt x="606056" y="1732523"/>
                </a:lnTo>
                <a:lnTo>
                  <a:pt x="594562" y="1748461"/>
                </a:lnTo>
                <a:lnTo>
                  <a:pt x="586691" y="1764893"/>
                </a:lnTo>
                <a:lnTo>
                  <a:pt x="574947" y="1778236"/>
                </a:lnTo>
                <a:lnTo>
                  <a:pt x="581444" y="1798622"/>
                </a:lnTo>
                <a:lnTo>
                  <a:pt x="574947" y="1803193"/>
                </a:lnTo>
                <a:lnTo>
                  <a:pt x="594312" y="1828644"/>
                </a:lnTo>
                <a:lnTo>
                  <a:pt x="601433" y="1825679"/>
                </a:lnTo>
                <a:lnTo>
                  <a:pt x="597810" y="1840876"/>
                </a:lnTo>
                <a:lnTo>
                  <a:pt x="587815" y="1854466"/>
                </a:lnTo>
                <a:lnTo>
                  <a:pt x="589814" y="1862249"/>
                </a:lnTo>
                <a:lnTo>
                  <a:pt x="589814" y="1862249"/>
                </a:lnTo>
                <a:close/>
                <a:moveTo>
                  <a:pt x="455510" y="1922418"/>
                </a:moveTo>
                <a:lnTo>
                  <a:pt x="458883" y="1939344"/>
                </a:lnTo>
                <a:lnTo>
                  <a:pt x="459383" y="1951699"/>
                </a:lnTo>
                <a:lnTo>
                  <a:pt x="465630" y="1957382"/>
                </a:lnTo>
                <a:lnTo>
                  <a:pt x="471501" y="1941444"/>
                </a:lnTo>
                <a:lnTo>
                  <a:pt x="480122" y="1912287"/>
                </a:lnTo>
                <a:lnTo>
                  <a:pt x="482121" y="1882141"/>
                </a:lnTo>
                <a:lnTo>
                  <a:pt x="489992" y="1851007"/>
                </a:lnTo>
                <a:lnTo>
                  <a:pt x="492116" y="1824073"/>
                </a:lnTo>
                <a:lnTo>
                  <a:pt x="481746" y="1814065"/>
                </a:lnTo>
                <a:lnTo>
                  <a:pt x="471252" y="1831609"/>
                </a:lnTo>
                <a:lnTo>
                  <a:pt x="474250" y="1839393"/>
                </a:lnTo>
                <a:lnTo>
                  <a:pt x="469503" y="1866450"/>
                </a:lnTo>
                <a:lnTo>
                  <a:pt x="459883" y="1873369"/>
                </a:lnTo>
                <a:lnTo>
                  <a:pt x="455385" y="1922665"/>
                </a:lnTo>
                <a:close/>
              </a:path>
            </a:pathLst>
          </a:custGeom>
          <a:solidFill>
            <a:schemeClr val="bg2"/>
          </a:solidFill>
          <a:ln w="7047" cap="flat">
            <a:solidFill>
              <a:schemeClr val="accent4"/>
            </a:solidFill>
            <a:prstDash val="solid"/>
            <a:miter/>
          </a:ln>
        </p:spPr>
        <p:txBody>
          <a:bodyPr rtlCol="0" anchor="ctr"/>
          <a:lstStyle/>
          <a:p>
            <a:endParaRPr lang="en-GB"/>
          </a:p>
        </p:txBody>
      </p:sp>
      <p:pic>
        <p:nvPicPr>
          <p:cNvPr id="141" name="Graphic 140">
            <a:extLst>
              <a:ext uri="{FF2B5EF4-FFF2-40B4-BE49-F238E27FC236}">
                <a16:creationId xmlns:a16="http://schemas.microsoft.com/office/drawing/2014/main" id="{C8997509-8AA9-D35F-40CD-B935007248AF}"/>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rot="1141104">
            <a:off x="7791290" y="4021679"/>
            <a:ext cx="162414" cy="172968"/>
          </a:xfrm>
          <a:prstGeom prst="rect">
            <a:avLst/>
          </a:prstGeom>
        </p:spPr>
      </p:pic>
      <p:sp>
        <p:nvSpPr>
          <p:cNvPr id="22" name="Graphic 5">
            <a:extLst>
              <a:ext uri="{FF2B5EF4-FFF2-40B4-BE49-F238E27FC236}">
                <a16:creationId xmlns:a16="http://schemas.microsoft.com/office/drawing/2014/main" id="{C6F49F9E-924D-C141-9FD8-7A372209B1D7}"/>
              </a:ext>
            </a:extLst>
          </p:cNvPr>
          <p:cNvSpPr/>
          <p:nvPr/>
        </p:nvSpPr>
        <p:spPr>
          <a:xfrm rot="1141104">
            <a:off x="7879608" y="3560548"/>
            <a:ext cx="814070" cy="521745"/>
          </a:xfrm>
          <a:custGeom>
            <a:avLst/>
            <a:gdLst>
              <a:gd name="connsiteX0" fmla="*/ 172034 w 814070"/>
              <a:gd name="connsiteY0" fmla="*/ 34594 h 521745"/>
              <a:gd name="connsiteX1" fmla="*/ 190150 w 814070"/>
              <a:gd name="connsiteY1" fmla="*/ 33111 h 521745"/>
              <a:gd name="connsiteX2" fmla="*/ 201644 w 814070"/>
              <a:gd name="connsiteY2" fmla="*/ 21497 h 521745"/>
              <a:gd name="connsiteX3" fmla="*/ 219509 w 814070"/>
              <a:gd name="connsiteY3" fmla="*/ 20756 h 521745"/>
              <a:gd name="connsiteX4" fmla="*/ 253366 w 814070"/>
              <a:gd name="connsiteY4" fmla="*/ 38300 h 521745"/>
              <a:gd name="connsiteX5" fmla="*/ 279103 w 814070"/>
              <a:gd name="connsiteY5" fmla="*/ 37806 h 521745"/>
              <a:gd name="connsiteX6" fmla="*/ 304090 w 814070"/>
              <a:gd name="connsiteY6" fmla="*/ 47937 h 521745"/>
              <a:gd name="connsiteX7" fmla="*/ 313210 w 814070"/>
              <a:gd name="connsiteY7" fmla="*/ 61898 h 521745"/>
              <a:gd name="connsiteX8" fmla="*/ 332824 w 814070"/>
              <a:gd name="connsiteY8" fmla="*/ 70299 h 521745"/>
              <a:gd name="connsiteX9" fmla="*/ 361559 w 814070"/>
              <a:gd name="connsiteY9" fmla="*/ 59921 h 521745"/>
              <a:gd name="connsiteX10" fmla="*/ 380674 w 814070"/>
              <a:gd name="connsiteY10" fmla="*/ 57697 h 521745"/>
              <a:gd name="connsiteX11" fmla="*/ 395042 w 814070"/>
              <a:gd name="connsiteY11" fmla="*/ 39536 h 521745"/>
              <a:gd name="connsiteX12" fmla="*/ 456134 w 814070"/>
              <a:gd name="connsiteY12" fmla="*/ 26439 h 521745"/>
              <a:gd name="connsiteX13" fmla="*/ 476749 w 814070"/>
              <a:gd name="connsiteY13" fmla="*/ 12355 h 521745"/>
              <a:gd name="connsiteX14" fmla="*/ 533718 w 814070"/>
              <a:gd name="connsiteY14" fmla="*/ 0 h 521745"/>
              <a:gd name="connsiteX15" fmla="*/ 546087 w 814070"/>
              <a:gd name="connsiteY15" fmla="*/ 40153 h 521745"/>
              <a:gd name="connsiteX16" fmla="*/ 584567 w 814070"/>
              <a:gd name="connsiteY16" fmla="*/ 71288 h 521745"/>
              <a:gd name="connsiteX17" fmla="*/ 589314 w 814070"/>
              <a:gd name="connsiteY17" fmla="*/ 89449 h 521745"/>
              <a:gd name="connsiteX18" fmla="*/ 639912 w 814070"/>
              <a:gd name="connsiteY18" fmla="*/ 125402 h 521745"/>
              <a:gd name="connsiteX19" fmla="*/ 647658 w 814070"/>
              <a:gd name="connsiteY19" fmla="*/ 149988 h 521745"/>
              <a:gd name="connsiteX20" fmla="*/ 664649 w 814070"/>
              <a:gd name="connsiteY20" fmla="*/ 175439 h 521745"/>
              <a:gd name="connsiteX21" fmla="*/ 664400 w 814070"/>
              <a:gd name="connsiteY21" fmla="*/ 260688 h 521745"/>
              <a:gd name="connsiteX22" fmla="*/ 677393 w 814070"/>
              <a:gd name="connsiteY22" fmla="*/ 285150 h 521745"/>
              <a:gd name="connsiteX23" fmla="*/ 694509 w 814070"/>
              <a:gd name="connsiteY23" fmla="*/ 311960 h 521745"/>
              <a:gd name="connsiteX24" fmla="*/ 719870 w 814070"/>
              <a:gd name="connsiteY24" fmla="*/ 316037 h 521745"/>
              <a:gd name="connsiteX25" fmla="*/ 753727 w 814070"/>
              <a:gd name="connsiteY25" fmla="*/ 315296 h 521745"/>
              <a:gd name="connsiteX26" fmla="*/ 768220 w 814070"/>
              <a:gd name="connsiteY26" fmla="*/ 303806 h 521745"/>
              <a:gd name="connsiteX27" fmla="*/ 796455 w 814070"/>
              <a:gd name="connsiteY27" fmla="*/ 300100 h 521745"/>
              <a:gd name="connsiteX28" fmla="*/ 812571 w 814070"/>
              <a:gd name="connsiteY28" fmla="*/ 311960 h 521745"/>
              <a:gd name="connsiteX29" fmla="*/ 803451 w 814070"/>
              <a:gd name="connsiteY29" fmla="*/ 321721 h 521745"/>
              <a:gd name="connsiteX30" fmla="*/ 813571 w 814070"/>
              <a:gd name="connsiteY30" fmla="*/ 328886 h 521745"/>
              <a:gd name="connsiteX31" fmla="*/ 814071 w 814070"/>
              <a:gd name="connsiteY31" fmla="*/ 342600 h 521745"/>
              <a:gd name="connsiteX32" fmla="*/ 801952 w 814070"/>
              <a:gd name="connsiteY32" fmla="*/ 366445 h 521745"/>
              <a:gd name="connsiteX33" fmla="*/ 782712 w 814070"/>
              <a:gd name="connsiteY33" fmla="*/ 371387 h 521745"/>
              <a:gd name="connsiteX34" fmla="*/ 750854 w 814070"/>
              <a:gd name="connsiteY34" fmla="*/ 374846 h 521745"/>
              <a:gd name="connsiteX35" fmla="*/ 746856 w 814070"/>
              <a:gd name="connsiteY35" fmla="*/ 394244 h 521745"/>
              <a:gd name="connsiteX36" fmla="*/ 735612 w 814070"/>
              <a:gd name="connsiteY36" fmla="*/ 407093 h 521745"/>
              <a:gd name="connsiteX37" fmla="*/ 743733 w 814070"/>
              <a:gd name="connsiteY37" fmla="*/ 419818 h 521745"/>
              <a:gd name="connsiteX38" fmla="*/ 743608 w 814070"/>
              <a:gd name="connsiteY38" fmla="*/ 446628 h 521745"/>
              <a:gd name="connsiteX39" fmla="*/ 734612 w 814070"/>
              <a:gd name="connsiteY39" fmla="*/ 463554 h 521745"/>
              <a:gd name="connsiteX40" fmla="*/ 741984 w 814070"/>
              <a:gd name="connsiteY40" fmla="*/ 485052 h 521745"/>
              <a:gd name="connsiteX41" fmla="*/ 720120 w 814070"/>
              <a:gd name="connsiteY41" fmla="*/ 484928 h 521745"/>
              <a:gd name="connsiteX42" fmla="*/ 715747 w 814070"/>
              <a:gd name="connsiteY42" fmla="*/ 475909 h 521745"/>
              <a:gd name="connsiteX43" fmla="*/ 691385 w 814070"/>
              <a:gd name="connsiteY43" fmla="*/ 465778 h 521745"/>
              <a:gd name="connsiteX44" fmla="*/ 674144 w 814070"/>
              <a:gd name="connsiteY44" fmla="*/ 473191 h 521745"/>
              <a:gd name="connsiteX45" fmla="*/ 664150 w 814070"/>
              <a:gd name="connsiteY45" fmla="*/ 463307 h 521745"/>
              <a:gd name="connsiteX46" fmla="*/ 633541 w 814070"/>
              <a:gd name="connsiteY46" fmla="*/ 452435 h 521745"/>
              <a:gd name="connsiteX47" fmla="*/ 605056 w 814070"/>
              <a:gd name="connsiteY47" fmla="*/ 450952 h 521745"/>
              <a:gd name="connsiteX48" fmla="*/ 581443 w 814070"/>
              <a:gd name="connsiteY48" fmla="*/ 455894 h 521745"/>
              <a:gd name="connsiteX49" fmla="*/ 528346 w 814070"/>
              <a:gd name="connsiteY49" fmla="*/ 483075 h 521745"/>
              <a:gd name="connsiteX50" fmla="*/ 520975 w 814070"/>
              <a:gd name="connsiteY50" fmla="*/ 496418 h 521745"/>
              <a:gd name="connsiteX51" fmla="*/ 498112 w 814070"/>
              <a:gd name="connsiteY51" fmla="*/ 504573 h 521745"/>
              <a:gd name="connsiteX52" fmla="*/ 487243 w 814070"/>
              <a:gd name="connsiteY52" fmla="*/ 512974 h 521745"/>
              <a:gd name="connsiteX53" fmla="*/ 452636 w 814070"/>
              <a:gd name="connsiteY53" fmla="*/ 510503 h 521745"/>
              <a:gd name="connsiteX54" fmla="*/ 436770 w 814070"/>
              <a:gd name="connsiteY54" fmla="*/ 511121 h 521745"/>
              <a:gd name="connsiteX55" fmla="*/ 418029 w 814070"/>
              <a:gd name="connsiteY55" fmla="*/ 505437 h 521745"/>
              <a:gd name="connsiteX56" fmla="*/ 403162 w 814070"/>
              <a:gd name="connsiteY56" fmla="*/ 512603 h 521745"/>
              <a:gd name="connsiteX57" fmla="*/ 385047 w 814070"/>
              <a:gd name="connsiteY57" fmla="*/ 508155 h 521745"/>
              <a:gd name="connsiteX58" fmla="*/ 359061 w 814070"/>
              <a:gd name="connsiteY58" fmla="*/ 521746 h 521745"/>
              <a:gd name="connsiteX59" fmla="*/ 326828 w 814070"/>
              <a:gd name="connsiteY59" fmla="*/ 511244 h 521745"/>
              <a:gd name="connsiteX60" fmla="*/ 317707 w 814070"/>
              <a:gd name="connsiteY60" fmla="*/ 514209 h 521745"/>
              <a:gd name="connsiteX61" fmla="*/ 307338 w 814070"/>
              <a:gd name="connsiteY61" fmla="*/ 504202 h 521745"/>
              <a:gd name="connsiteX62" fmla="*/ 282851 w 814070"/>
              <a:gd name="connsiteY62" fmla="*/ 503955 h 521745"/>
              <a:gd name="connsiteX63" fmla="*/ 260987 w 814070"/>
              <a:gd name="connsiteY63" fmla="*/ 519275 h 521745"/>
              <a:gd name="connsiteX64" fmla="*/ 250368 w 814070"/>
              <a:gd name="connsiteY64" fmla="*/ 503337 h 521745"/>
              <a:gd name="connsiteX65" fmla="*/ 256615 w 814070"/>
              <a:gd name="connsiteY65" fmla="*/ 493330 h 521745"/>
              <a:gd name="connsiteX66" fmla="*/ 257239 w 814070"/>
              <a:gd name="connsiteY66" fmla="*/ 479492 h 521745"/>
              <a:gd name="connsiteX67" fmla="*/ 244996 w 814070"/>
              <a:gd name="connsiteY67" fmla="*/ 470226 h 521745"/>
              <a:gd name="connsiteX68" fmla="*/ 220009 w 814070"/>
              <a:gd name="connsiteY68" fmla="*/ 468991 h 521745"/>
              <a:gd name="connsiteX69" fmla="*/ 213637 w 814070"/>
              <a:gd name="connsiteY69" fmla="*/ 449964 h 521745"/>
              <a:gd name="connsiteX70" fmla="*/ 210389 w 814070"/>
              <a:gd name="connsiteY70" fmla="*/ 436374 h 521745"/>
              <a:gd name="connsiteX71" fmla="*/ 224881 w 814070"/>
              <a:gd name="connsiteY71" fmla="*/ 418706 h 521745"/>
              <a:gd name="connsiteX72" fmla="*/ 192773 w 814070"/>
              <a:gd name="connsiteY72" fmla="*/ 413517 h 521745"/>
              <a:gd name="connsiteX73" fmla="*/ 178531 w 814070"/>
              <a:gd name="connsiteY73" fmla="*/ 434397 h 521745"/>
              <a:gd name="connsiteX74" fmla="*/ 163414 w 814070"/>
              <a:gd name="connsiteY74" fmla="*/ 421918 h 521745"/>
              <a:gd name="connsiteX75" fmla="*/ 144549 w 814070"/>
              <a:gd name="connsiteY75" fmla="*/ 430690 h 521745"/>
              <a:gd name="connsiteX76" fmla="*/ 135304 w 814070"/>
              <a:gd name="connsiteY76" fmla="*/ 415988 h 521745"/>
              <a:gd name="connsiteX77" fmla="*/ 104570 w 814070"/>
              <a:gd name="connsiteY77" fmla="*/ 407340 h 521745"/>
              <a:gd name="connsiteX78" fmla="*/ 100572 w 814070"/>
              <a:gd name="connsiteY78" fmla="*/ 397950 h 521745"/>
              <a:gd name="connsiteX79" fmla="*/ 110192 w 814070"/>
              <a:gd name="connsiteY79" fmla="*/ 374846 h 521745"/>
              <a:gd name="connsiteX80" fmla="*/ 85205 w 814070"/>
              <a:gd name="connsiteY80" fmla="*/ 357920 h 521745"/>
              <a:gd name="connsiteX81" fmla="*/ 60843 w 814070"/>
              <a:gd name="connsiteY81" fmla="*/ 346430 h 521745"/>
              <a:gd name="connsiteX82" fmla="*/ 54221 w 814070"/>
              <a:gd name="connsiteY82" fmla="*/ 330616 h 521745"/>
              <a:gd name="connsiteX83" fmla="*/ 23113 w 814070"/>
              <a:gd name="connsiteY83" fmla="*/ 297382 h 521745"/>
              <a:gd name="connsiteX84" fmla="*/ 17116 w 814070"/>
              <a:gd name="connsiteY84" fmla="*/ 286139 h 521745"/>
              <a:gd name="connsiteX85" fmla="*/ 0 w 814070"/>
              <a:gd name="connsiteY85" fmla="*/ 281197 h 521745"/>
              <a:gd name="connsiteX86" fmla="*/ 17366 w 814070"/>
              <a:gd name="connsiteY86" fmla="*/ 261799 h 521745"/>
              <a:gd name="connsiteX87" fmla="*/ 32983 w 814070"/>
              <a:gd name="connsiteY87" fmla="*/ 256610 h 521745"/>
              <a:gd name="connsiteX88" fmla="*/ 40978 w 814070"/>
              <a:gd name="connsiteY88" fmla="*/ 240549 h 521745"/>
              <a:gd name="connsiteX89" fmla="*/ 65465 w 814070"/>
              <a:gd name="connsiteY89" fmla="*/ 241414 h 521745"/>
              <a:gd name="connsiteX90" fmla="*/ 81332 w 814070"/>
              <a:gd name="connsiteY90" fmla="*/ 225106 h 521745"/>
              <a:gd name="connsiteX91" fmla="*/ 79958 w 814070"/>
              <a:gd name="connsiteY91" fmla="*/ 207438 h 521745"/>
              <a:gd name="connsiteX92" fmla="*/ 110192 w 814070"/>
              <a:gd name="connsiteY92" fmla="*/ 158389 h 521745"/>
              <a:gd name="connsiteX93" fmla="*/ 126933 w 814070"/>
              <a:gd name="connsiteY93" fmla="*/ 101928 h 521745"/>
              <a:gd name="connsiteX94" fmla="*/ 144549 w 814070"/>
              <a:gd name="connsiteY94" fmla="*/ 65851 h 521745"/>
              <a:gd name="connsiteX95" fmla="*/ 166162 w 814070"/>
              <a:gd name="connsiteY95" fmla="*/ 61033 h 521745"/>
              <a:gd name="connsiteX96" fmla="*/ 174658 w 814070"/>
              <a:gd name="connsiteY96" fmla="*/ 40277 h 521745"/>
              <a:gd name="connsiteX97" fmla="*/ 172034 w 814070"/>
              <a:gd name="connsiteY97" fmla="*/ 34594 h 52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14070" h="521745">
                <a:moveTo>
                  <a:pt x="172034" y="34594"/>
                </a:moveTo>
                <a:lnTo>
                  <a:pt x="190150" y="33111"/>
                </a:lnTo>
                <a:lnTo>
                  <a:pt x="201644" y="21497"/>
                </a:lnTo>
                <a:lnTo>
                  <a:pt x="219509" y="20756"/>
                </a:lnTo>
                <a:lnTo>
                  <a:pt x="253366" y="38300"/>
                </a:lnTo>
                <a:lnTo>
                  <a:pt x="279103" y="37806"/>
                </a:lnTo>
                <a:lnTo>
                  <a:pt x="304090" y="47937"/>
                </a:lnTo>
                <a:lnTo>
                  <a:pt x="313210" y="61898"/>
                </a:lnTo>
                <a:lnTo>
                  <a:pt x="332824" y="70299"/>
                </a:lnTo>
                <a:lnTo>
                  <a:pt x="361559" y="59921"/>
                </a:lnTo>
                <a:lnTo>
                  <a:pt x="380674" y="57697"/>
                </a:lnTo>
                <a:lnTo>
                  <a:pt x="395042" y="39536"/>
                </a:lnTo>
                <a:lnTo>
                  <a:pt x="456134" y="26439"/>
                </a:lnTo>
                <a:lnTo>
                  <a:pt x="476749" y="12355"/>
                </a:lnTo>
                <a:lnTo>
                  <a:pt x="533718" y="0"/>
                </a:lnTo>
                <a:lnTo>
                  <a:pt x="546087" y="40153"/>
                </a:lnTo>
                <a:lnTo>
                  <a:pt x="584567" y="71288"/>
                </a:lnTo>
                <a:lnTo>
                  <a:pt x="589314" y="89449"/>
                </a:lnTo>
                <a:lnTo>
                  <a:pt x="639912" y="125402"/>
                </a:lnTo>
                <a:lnTo>
                  <a:pt x="647658" y="149988"/>
                </a:lnTo>
                <a:lnTo>
                  <a:pt x="664649" y="175439"/>
                </a:lnTo>
                <a:lnTo>
                  <a:pt x="664400" y="260688"/>
                </a:lnTo>
                <a:lnTo>
                  <a:pt x="677393" y="285150"/>
                </a:lnTo>
                <a:lnTo>
                  <a:pt x="694509" y="311960"/>
                </a:lnTo>
                <a:lnTo>
                  <a:pt x="719870" y="316037"/>
                </a:lnTo>
                <a:lnTo>
                  <a:pt x="753727" y="315296"/>
                </a:lnTo>
                <a:lnTo>
                  <a:pt x="768220" y="303806"/>
                </a:lnTo>
                <a:lnTo>
                  <a:pt x="796455" y="300100"/>
                </a:lnTo>
                <a:lnTo>
                  <a:pt x="812571" y="311960"/>
                </a:lnTo>
                <a:lnTo>
                  <a:pt x="803451" y="321721"/>
                </a:lnTo>
                <a:lnTo>
                  <a:pt x="813571" y="328886"/>
                </a:lnTo>
                <a:lnTo>
                  <a:pt x="814071" y="342600"/>
                </a:lnTo>
                <a:lnTo>
                  <a:pt x="801952" y="366445"/>
                </a:lnTo>
                <a:lnTo>
                  <a:pt x="782712" y="371387"/>
                </a:lnTo>
                <a:lnTo>
                  <a:pt x="750854" y="374846"/>
                </a:lnTo>
                <a:lnTo>
                  <a:pt x="746856" y="394244"/>
                </a:lnTo>
                <a:lnTo>
                  <a:pt x="735612" y="407093"/>
                </a:lnTo>
                <a:lnTo>
                  <a:pt x="743733" y="419818"/>
                </a:lnTo>
                <a:lnTo>
                  <a:pt x="743608" y="446628"/>
                </a:lnTo>
                <a:lnTo>
                  <a:pt x="734612" y="463554"/>
                </a:lnTo>
                <a:lnTo>
                  <a:pt x="741984" y="485052"/>
                </a:lnTo>
                <a:lnTo>
                  <a:pt x="720120" y="484928"/>
                </a:lnTo>
                <a:lnTo>
                  <a:pt x="715747" y="475909"/>
                </a:lnTo>
                <a:lnTo>
                  <a:pt x="691385" y="465778"/>
                </a:lnTo>
                <a:lnTo>
                  <a:pt x="674144" y="473191"/>
                </a:lnTo>
                <a:lnTo>
                  <a:pt x="664150" y="463307"/>
                </a:lnTo>
                <a:lnTo>
                  <a:pt x="633541" y="452435"/>
                </a:lnTo>
                <a:lnTo>
                  <a:pt x="605056" y="450952"/>
                </a:lnTo>
                <a:lnTo>
                  <a:pt x="581443" y="455894"/>
                </a:lnTo>
                <a:lnTo>
                  <a:pt x="528346" y="483075"/>
                </a:lnTo>
                <a:lnTo>
                  <a:pt x="520975" y="496418"/>
                </a:lnTo>
                <a:lnTo>
                  <a:pt x="498112" y="504573"/>
                </a:lnTo>
                <a:lnTo>
                  <a:pt x="487243" y="512974"/>
                </a:lnTo>
                <a:lnTo>
                  <a:pt x="452636" y="510503"/>
                </a:lnTo>
                <a:lnTo>
                  <a:pt x="436770" y="511121"/>
                </a:lnTo>
                <a:lnTo>
                  <a:pt x="418029" y="505437"/>
                </a:lnTo>
                <a:lnTo>
                  <a:pt x="403162" y="512603"/>
                </a:lnTo>
                <a:lnTo>
                  <a:pt x="385047" y="508155"/>
                </a:lnTo>
                <a:lnTo>
                  <a:pt x="359061" y="521746"/>
                </a:lnTo>
                <a:lnTo>
                  <a:pt x="326828" y="511244"/>
                </a:lnTo>
                <a:lnTo>
                  <a:pt x="317707" y="514209"/>
                </a:lnTo>
                <a:lnTo>
                  <a:pt x="307338" y="504202"/>
                </a:lnTo>
                <a:lnTo>
                  <a:pt x="282851" y="503955"/>
                </a:lnTo>
                <a:lnTo>
                  <a:pt x="260987" y="519275"/>
                </a:lnTo>
                <a:lnTo>
                  <a:pt x="250368" y="503337"/>
                </a:lnTo>
                <a:lnTo>
                  <a:pt x="256615" y="493330"/>
                </a:lnTo>
                <a:lnTo>
                  <a:pt x="257239" y="479492"/>
                </a:lnTo>
                <a:lnTo>
                  <a:pt x="244996" y="470226"/>
                </a:lnTo>
                <a:lnTo>
                  <a:pt x="220009" y="468991"/>
                </a:lnTo>
                <a:lnTo>
                  <a:pt x="213637" y="449964"/>
                </a:lnTo>
                <a:lnTo>
                  <a:pt x="210389" y="436374"/>
                </a:lnTo>
                <a:lnTo>
                  <a:pt x="224881" y="418706"/>
                </a:lnTo>
                <a:lnTo>
                  <a:pt x="192773" y="413517"/>
                </a:lnTo>
                <a:lnTo>
                  <a:pt x="178531" y="434397"/>
                </a:lnTo>
                <a:lnTo>
                  <a:pt x="163414" y="421918"/>
                </a:lnTo>
                <a:lnTo>
                  <a:pt x="144549" y="430690"/>
                </a:lnTo>
                <a:lnTo>
                  <a:pt x="135304" y="415988"/>
                </a:lnTo>
                <a:lnTo>
                  <a:pt x="104570" y="407340"/>
                </a:lnTo>
                <a:lnTo>
                  <a:pt x="100572" y="397950"/>
                </a:lnTo>
                <a:lnTo>
                  <a:pt x="110192" y="374846"/>
                </a:lnTo>
                <a:lnTo>
                  <a:pt x="85205" y="357920"/>
                </a:lnTo>
                <a:lnTo>
                  <a:pt x="60843" y="346430"/>
                </a:lnTo>
                <a:lnTo>
                  <a:pt x="54221" y="330616"/>
                </a:lnTo>
                <a:lnTo>
                  <a:pt x="23113" y="297382"/>
                </a:lnTo>
                <a:lnTo>
                  <a:pt x="17116" y="286139"/>
                </a:lnTo>
                <a:lnTo>
                  <a:pt x="0" y="281197"/>
                </a:lnTo>
                <a:lnTo>
                  <a:pt x="17366" y="261799"/>
                </a:lnTo>
                <a:lnTo>
                  <a:pt x="32983" y="256610"/>
                </a:lnTo>
                <a:lnTo>
                  <a:pt x="40978" y="240549"/>
                </a:lnTo>
                <a:lnTo>
                  <a:pt x="65465" y="241414"/>
                </a:lnTo>
                <a:lnTo>
                  <a:pt x="81332" y="225106"/>
                </a:lnTo>
                <a:lnTo>
                  <a:pt x="79958" y="207438"/>
                </a:lnTo>
                <a:lnTo>
                  <a:pt x="110192" y="158389"/>
                </a:lnTo>
                <a:lnTo>
                  <a:pt x="126933" y="101928"/>
                </a:lnTo>
                <a:lnTo>
                  <a:pt x="144549" y="65851"/>
                </a:lnTo>
                <a:lnTo>
                  <a:pt x="166162" y="61033"/>
                </a:lnTo>
                <a:lnTo>
                  <a:pt x="174658" y="40277"/>
                </a:lnTo>
                <a:lnTo>
                  <a:pt x="172034" y="34594"/>
                </a:lnTo>
                <a:close/>
              </a:path>
            </a:pathLst>
          </a:custGeom>
          <a:solidFill>
            <a:schemeClr val="bg2"/>
          </a:solidFill>
          <a:ln w="7092" cap="flat">
            <a:solidFill>
              <a:schemeClr val="accent4"/>
            </a:solidFill>
            <a:prstDash val="solid"/>
            <a:miter/>
          </a:ln>
        </p:spPr>
        <p:txBody>
          <a:bodyPr rtlCol="0" anchor="ctr"/>
          <a:lstStyle/>
          <a:p>
            <a:endParaRPr lang="en-GB"/>
          </a:p>
        </p:txBody>
      </p:sp>
      <p:sp>
        <p:nvSpPr>
          <p:cNvPr id="24" name="Graphic 145">
            <a:extLst>
              <a:ext uri="{FF2B5EF4-FFF2-40B4-BE49-F238E27FC236}">
                <a16:creationId xmlns:a16="http://schemas.microsoft.com/office/drawing/2014/main" id="{5C246EE9-13F2-0897-935B-C1055F11D28C}"/>
              </a:ext>
            </a:extLst>
          </p:cNvPr>
          <p:cNvSpPr/>
          <p:nvPr/>
        </p:nvSpPr>
        <p:spPr>
          <a:xfrm rot="1141104">
            <a:off x="8401484" y="3600963"/>
            <a:ext cx="326702" cy="345194"/>
          </a:xfrm>
          <a:custGeom>
            <a:avLst/>
            <a:gdLst>
              <a:gd name="connsiteX0" fmla="*/ 6622 w 326702"/>
              <a:gd name="connsiteY0" fmla="*/ 65728 h 345194"/>
              <a:gd name="connsiteX1" fmla="*/ 2249 w 326702"/>
              <a:gd name="connsiteY1" fmla="*/ 43489 h 345194"/>
              <a:gd name="connsiteX2" fmla="*/ 4997 w 326702"/>
              <a:gd name="connsiteY2" fmla="*/ 32864 h 345194"/>
              <a:gd name="connsiteX3" fmla="*/ 0 w 326702"/>
              <a:gd name="connsiteY3" fmla="*/ 8896 h 345194"/>
              <a:gd name="connsiteX4" fmla="*/ 14867 w 326702"/>
              <a:gd name="connsiteY4" fmla="*/ 14085 h 345194"/>
              <a:gd name="connsiteX5" fmla="*/ 18490 w 326702"/>
              <a:gd name="connsiteY5" fmla="*/ 8031 h 345194"/>
              <a:gd name="connsiteX6" fmla="*/ 36856 w 326702"/>
              <a:gd name="connsiteY6" fmla="*/ 17791 h 345194"/>
              <a:gd name="connsiteX7" fmla="*/ 42353 w 326702"/>
              <a:gd name="connsiteY7" fmla="*/ 8401 h 345194"/>
              <a:gd name="connsiteX8" fmla="*/ 62217 w 326702"/>
              <a:gd name="connsiteY8" fmla="*/ 7536 h 345194"/>
              <a:gd name="connsiteX9" fmla="*/ 69213 w 326702"/>
              <a:gd name="connsiteY9" fmla="*/ 0 h 345194"/>
              <a:gd name="connsiteX10" fmla="*/ 83331 w 326702"/>
              <a:gd name="connsiteY10" fmla="*/ 20386 h 345194"/>
              <a:gd name="connsiteX11" fmla="*/ 107193 w 326702"/>
              <a:gd name="connsiteY11" fmla="*/ 19397 h 345194"/>
              <a:gd name="connsiteX12" fmla="*/ 136678 w 326702"/>
              <a:gd name="connsiteY12" fmla="*/ 43613 h 345194"/>
              <a:gd name="connsiteX13" fmla="*/ 166537 w 326702"/>
              <a:gd name="connsiteY13" fmla="*/ 45589 h 345194"/>
              <a:gd name="connsiteX14" fmla="*/ 170785 w 326702"/>
              <a:gd name="connsiteY14" fmla="*/ 34964 h 345194"/>
              <a:gd name="connsiteX15" fmla="*/ 179280 w 326702"/>
              <a:gd name="connsiteY15" fmla="*/ 34594 h 345194"/>
              <a:gd name="connsiteX16" fmla="*/ 209015 w 326702"/>
              <a:gd name="connsiteY16" fmla="*/ 61527 h 345194"/>
              <a:gd name="connsiteX17" fmla="*/ 232627 w 326702"/>
              <a:gd name="connsiteY17" fmla="*/ 72276 h 345194"/>
              <a:gd name="connsiteX18" fmla="*/ 239998 w 326702"/>
              <a:gd name="connsiteY18" fmla="*/ 104028 h 345194"/>
              <a:gd name="connsiteX19" fmla="*/ 238999 w 326702"/>
              <a:gd name="connsiteY19" fmla="*/ 125772 h 345194"/>
              <a:gd name="connsiteX20" fmla="*/ 259863 w 326702"/>
              <a:gd name="connsiteY20" fmla="*/ 135286 h 345194"/>
              <a:gd name="connsiteX21" fmla="*/ 263611 w 326702"/>
              <a:gd name="connsiteY21" fmla="*/ 144923 h 345194"/>
              <a:gd name="connsiteX22" fmla="*/ 286974 w 326702"/>
              <a:gd name="connsiteY22" fmla="*/ 164320 h 345194"/>
              <a:gd name="connsiteX23" fmla="*/ 314084 w 326702"/>
              <a:gd name="connsiteY23" fmla="*/ 178898 h 345194"/>
              <a:gd name="connsiteX24" fmla="*/ 318082 w 326702"/>
              <a:gd name="connsiteY24" fmla="*/ 195083 h 345194"/>
              <a:gd name="connsiteX25" fmla="*/ 314834 w 326702"/>
              <a:gd name="connsiteY25" fmla="*/ 210280 h 345194"/>
              <a:gd name="connsiteX26" fmla="*/ 326703 w 326702"/>
              <a:gd name="connsiteY26" fmla="*/ 225476 h 345194"/>
              <a:gd name="connsiteX27" fmla="*/ 323829 w 326702"/>
              <a:gd name="connsiteY27" fmla="*/ 235360 h 345194"/>
              <a:gd name="connsiteX28" fmla="*/ 296718 w 326702"/>
              <a:gd name="connsiteY28" fmla="*/ 237213 h 345194"/>
              <a:gd name="connsiteX29" fmla="*/ 281726 w 326702"/>
              <a:gd name="connsiteY29" fmla="*/ 226094 h 345194"/>
              <a:gd name="connsiteX30" fmla="*/ 258239 w 326702"/>
              <a:gd name="connsiteY30" fmla="*/ 234866 h 345194"/>
              <a:gd name="connsiteX31" fmla="*/ 240373 w 326702"/>
              <a:gd name="connsiteY31" fmla="*/ 236349 h 345194"/>
              <a:gd name="connsiteX32" fmla="*/ 239249 w 326702"/>
              <a:gd name="connsiteY32" fmla="*/ 269089 h 345194"/>
              <a:gd name="connsiteX33" fmla="*/ 240873 w 326702"/>
              <a:gd name="connsiteY33" fmla="*/ 291328 h 345194"/>
              <a:gd name="connsiteX34" fmla="*/ 231503 w 326702"/>
              <a:gd name="connsiteY34" fmla="*/ 290463 h 345194"/>
              <a:gd name="connsiteX35" fmla="*/ 215636 w 326702"/>
              <a:gd name="connsiteY35" fmla="*/ 322585 h 345194"/>
              <a:gd name="connsiteX36" fmla="*/ 215761 w 326702"/>
              <a:gd name="connsiteY36" fmla="*/ 338894 h 345194"/>
              <a:gd name="connsiteX37" fmla="*/ 200394 w 326702"/>
              <a:gd name="connsiteY37" fmla="*/ 334940 h 345194"/>
              <a:gd name="connsiteX38" fmla="*/ 187651 w 326702"/>
              <a:gd name="connsiteY38" fmla="*/ 345195 h 345194"/>
              <a:gd name="connsiteX39" fmla="*/ 186277 w 326702"/>
              <a:gd name="connsiteY39" fmla="*/ 343095 h 345194"/>
              <a:gd name="connsiteX40" fmla="*/ 173284 w 326702"/>
              <a:gd name="connsiteY40" fmla="*/ 318755 h 345194"/>
              <a:gd name="connsiteX41" fmla="*/ 173533 w 326702"/>
              <a:gd name="connsiteY41" fmla="*/ 233383 h 345194"/>
              <a:gd name="connsiteX42" fmla="*/ 156417 w 326702"/>
              <a:gd name="connsiteY42" fmla="*/ 207932 h 345194"/>
              <a:gd name="connsiteX43" fmla="*/ 148796 w 326702"/>
              <a:gd name="connsiteY43" fmla="*/ 183346 h 345194"/>
              <a:gd name="connsiteX44" fmla="*/ 98198 w 326702"/>
              <a:gd name="connsiteY44" fmla="*/ 147394 h 345194"/>
              <a:gd name="connsiteX45" fmla="*/ 93451 w 326702"/>
              <a:gd name="connsiteY45" fmla="*/ 129232 h 345194"/>
              <a:gd name="connsiteX46" fmla="*/ 54846 w 326702"/>
              <a:gd name="connsiteY46" fmla="*/ 98098 h 345194"/>
              <a:gd name="connsiteX47" fmla="*/ 42478 w 326702"/>
              <a:gd name="connsiteY47" fmla="*/ 58068 h 345194"/>
              <a:gd name="connsiteX48" fmla="*/ 6622 w 326702"/>
              <a:gd name="connsiteY48" fmla="*/ 65728 h 34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6702" h="345194">
                <a:moveTo>
                  <a:pt x="6622" y="65728"/>
                </a:moveTo>
                <a:lnTo>
                  <a:pt x="2249" y="43489"/>
                </a:lnTo>
                <a:lnTo>
                  <a:pt x="4997" y="32864"/>
                </a:lnTo>
                <a:lnTo>
                  <a:pt x="0" y="8896"/>
                </a:lnTo>
                <a:lnTo>
                  <a:pt x="14867" y="14085"/>
                </a:lnTo>
                <a:lnTo>
                  <a:pt x="18490" y="8031"/>
                </a:lnTo>
                <a:lnTo>
                  <a:pt x="36856" y="17791"/>
                </a:lnTo>
                <a:lnTo>
                  <a:pt x="42353" y="8401"/>
                </a:lnTo>
                <a:lnTo>
                  <a:pt x="62217" y="7536"/>
                </a:lnTo>
                <a:lnTo>
                  <a:pt x="69213" y="0"/>
                </a:lnTo>
                <a:lnTo>
                  <a:pt x="83331" y="20386"/>
                </a:lnTo>
                <a:lnTo>
                  <a:pt x="107193" y="19397"/>
                </a:lnTo>
                <a:lnTo>
                  <a:pt x="136678" y="43613"/>
                </a:lnTo>
                <a:lnTo>
                  <a:pt x="166537" y="45589"/>
                </a:lnTo>
                <a:lnTo>
                  <a:pt x="170785" y="34964"/>
                </a:lnTo>
                <a:lnTo>
                  <a:pt x="179280" y="34594"/>
                </a:lnTo>
                <a:lnTo>
                  <a:pt x="209015" y="61527"/>
                </a:lnTo>
                <a:lnTo>
                  <a:pt x="232627" y="72276"/>
                </a:lnTo>
                <a:lnTo>
                  <a:pt x="239998" y="104028"/>
                </a:lnTo>
                <a:lnTo>
                  <a:pt x="238999" y="125772"/>
                </a:lnTo>
                <a:lnTo>
                  <a:pt x="259863" y="135286"/>
                </a:lnTo>
                <a:lnTo>
                  <a:pt x="263611" y="144923"/>
                </a:lnTo>
                <a:lnTo>
                  <a:pt x="286974" y="164320"/>
                </a:lnTo>
                <a:lnTo>
                  <a:pt x="314084" y="178898"/>
                </a:lnTo>
                <a:lnTo>
                  <a:pt x="318082" y="195083"/>
                </a:lnTo>
                <a:lnTo>
                  <a:pt x="314834" y="210280"/>
                </a:lnTo>
                <a:lnTo>
                  <a:pt x="326703" y="225476"/>
                </a:lnTo>
                <a:lnTo>
                  <a:pt x="323829" y="235360"/>
                </a:lnTo>
                <a:lnTo>
                  <a:pt x="296718" y="237213"/>
                </a:lnTo>
                <a:lnTo>
                  <a:pt x="281726" y="226094"/>
                </a:lnTo>
                <a:lnTo>
                  <a:pt x="258239" y="234866"/>
                </a:lnTo>
                <a:lnTo>
                  <a:pt x="240373" y="236349"/>
                </a:lnTo>
                <a:lnTo>
                  <a:pt x="239249" y="269089"/>
                </a:lnTo>
                <a:lnTo>
                  <a:pt x="240873" y="291328"/>
                </a:lnTo>
                <a:lnTo>
                  <a:pt x="231503" y="290463"/>
                </a:lnTo>
                <a:lnTo>
                  <a:pt x="215636" y="322585"/>
                </a:lnTo>
                <a:lnTo>
                  <a:pt x="215761" y="338894"/>
                </a:lnTo>
                <a:lnTo>
                  <a:pt x="200394" y="334940"/>
                </a:lnTo>
                <a:lnTo>
                  <a:pt x="187651" y="345195"/>
                </a:lnTo>
                <a:lnTo>
                  <a:pt x="186277" y="343095"/>
                </a:lnTo>
                <a:lnTo>
                  <a:pt x="173284" y="318755"/>
                </a:lnTo>
                <a:lnTo>
                  <a:pt x="173533" y="233383"/>
                </a:lnTo>
                <a:lnTo>
                  <a:pt x="156417" y="207932"/>
                </a:lnTo>
                <a:lnTo>
                  <a:pt x="148796" y="183346"/>
                </a:lnTo>
                <a:lnTo>
                  <a:pt x="98198" y="147394"/>
                </a:lnTo>
                <a:lnTo>
                  <a:pt x="93451" y="129232"/>
                </a:lnTo>
                <a:lnTo>
                  <a:pt x="54846" y="98098"/>
                </a:lnTo>
                <a:lnTo>
                  <a:pt x="42478" y="58068"/>
                </a:lnTo>
                <a:lnTo>
                  <a:pt x="6622" y="65728"/>
                </a:lnTo>
                <a:close/>
              </a:path>
            </a:pathLst>
          </a:custGeom>
          <a:solidFill>
            <a:schemeClr val="bg2"/>
          </a:solidFill>
          <a:ln w="7169" cap="flat">
            <a:solidFill>
              <a:schemeClr val="accent4"/>
            </a:solidFill>
            <a:prstDash val="solid"/>
            <a:miter/>
          </a:ln>
        </p:spPr>
        <p:txBody>
          <a:bodyPr rtlCol="0" anchor="ctr"/>
          <a:lstStyle/>
          <a:p>
            <a:endParaRPr lang="en-GB"/>
          </a:p>
        </p:txBody>
      </p:sp>
      <p:sp>
        <p:nvSpPr>
          <p:cNvPr id="25" name="Graphic 144">
            <a:extLst>
              <a:ext uri="{FF2B5EF4-FFF2-40B4-BE49-F238E27FC236}">
                <a16:creationId xmlns:a16="http://schemas.microsoft.com/office/drawing/2014/main" id="{FFD5B231-5D7B-44A7-6B3E-99FE7FDC7C6C}"/>
              </a:ext>
            </a:extLst>
          </p:cNvPr>
          <p:cNvSpPr/>
          <p:nvPr/>
        </p:nvSpPr>
        <p:spPr>
          <a:xfrm rot="1141104">
            <a:off x="7600286" y="3395406"/>
            <a:ext cx="522973" cy="351125"/>
          </a:xfrm>
          <a:custGeom>
            <a:avLst/>
            <a:gdLst>
              <a:gd name="connsiteX0" fmla="*/ 348316 w 522973"/>
              <a:gd name="connsiteY0" fmla="*/ 296146 h 351125"/>
              <a:gd name="connsiteX1" fmla="*/ 365807 w 522973"/>
              <a:gd name="connsiteY1" fmla="*/ 276749 h 351125"/>
              <a:gd name="connsiteX2" fmla="*/ 381424 w 522973"/>
              <a:gd name="connsiteY2" fmla="*/ 271560 h 351125"/>
              <a:gd name="connsiteX3" fmla="*/ 389294 w 522973"/>
              <a:gd name="connsiteY3" fmla="*/ 255499 h 351125"/>
              <a:gd name="connsiteX4" fmla="*/ 413907 w 522973"/>
              <a:gd name="connsiteY4" fmla="*/ 256363 h 351125"/>
              <a:gd name="connsiteX5" fmla="*/ 429648 w 522973"/>
              <a:gd name="connsiteY5" fmla="*/ 240055 h 351125"/>
              <a:gd name="connsiteX6" fmla="*/ 428274 w 522973"/>
              <a:gd name="connsiteY6" fmla="*/ 222388 h 351125"/>
              <a:gd name="connsiteX7" fmla="*/ 458633 w 522973"/>
              <a:gd name="connsiteY7" fmla="*/ 173339 h 351125"/>
              <a:gd name="connsiteX8" fmla="*/ 475374 w 522973"/>
              <a:gd name="connsiteY8" fmla="*/ 116877 h 351125"/>
              <a:gd name="connsiteX9" fmla="*/ 492990 w 522973"/>
              <a:gd name="connsiteY9" fmla="*/ 80801 h 351125"/>
              <a:gd name="connsiteX10" fmla="*/ 514603 w 522973"/>
              <a:gd name="connsiteY10" fmla="*/ 75982 h 351125"/>
              <a:gd name="connsiteX11" fmla="*/ 522974 w 522973"/>
              <a:gd name="connsiteY11" fmla="*/ 55350 h 351125"/>
              <a:gd name="connsiteX12" fmla="*/ 513479 w 522973"/>
              <a:gd name="connsiteY12" fmla="*/ 33482 h 351125"/>
              <a:gd name="connsiteX13" fmla="*/ 489617 w 522973"/>
              <a:gd name="connsiteY13" fmla="*/ 19397 h 351125"/>
              <a:gd name="connsiteX14" fmla="*/ 467003 w 522973"/>
              <a:gd name="connsiteY14" fmla="*/ 0 h 351125"/>
              <a:gd name="connsiteX15" fmla="*/ 447014 w 522973"/>
              <a:gd name="connsiteY15" fmla="*/ 13961 h 351125"/>
              <a:gd name="connsiteX16" fmla="*/ 418279 w 522973"/>
              <a:gd name="connsiteY16" fmla="*/ 8648 h 351125"/>
              <a:gd name="connsiteX17" fmla="*/ 381424 w 522973"/>
              <a:gd name="connsiteY17" fmla="*/ 12849 h 351125"/>
              <a:gd name="connsiteX18" fmla="*/ 360060 w 522973"/>
              <a:gd name="connsiteY18" fmla="*/ 7907 h 351125"/>
              <a:gd name="connsiteX19" fmla="*/ 329701 w 522973"/>
              <a:gd name="connsiteY19" fmla="*/ 11861 h 351125"/>
              <a:gd name="connsiteX20" fmla="*/ 314834 w 522973"/>
              <a:gd name="connsiteY20" fmla="*/ 36694 h 351125"/>
              <a:gd name="connsiteX21" fmla="*/ 298967 w 522973"/>
              <a:gd name="connsiteY21" fmla="*/ 50408 h 351125"/>
              <a:gd name="connsiteX22" fmla="*/ 297718 w 522973"/>
              <a:gd name="connsiteY22" fmla="*/ 67458 h 351125"/>
              <a:gd name="connsiteX23" fmla="*/ 270732 w 522973"/>
              <a:gd name="connsiteY23" fmla="*/ 41883 h 351125"/>
              <a:gd name="connsiteX24" fmla="*/ 242122 w 522973"/>
              <a:gd name="connsiteY24" fmla="*/ 67952 h 351125"/>
              <a:gd name="connsiteX25" fmla="*/ 216636 w 522973"/>
              <a:gd name="connsiteY25" fmla="*/ 77465 h 351125"/>
              <a:gd name="connsiteX26" fmla="*/ 214762 w 522973"/>
              <a:gd name="connsiteY26" fmla="*/ 94638 h 351125"/>
              <a:gd name="connsiteX27" fmla="*/ 166037 w 522973"/>
              <a:gd name="connsiteY27" fmla="*/ 101310 h 351125"/>
              <a:gd name="connsiteX28" fmla="*/ 135429 w 522973"/>
              <a:gd name="connsiteY28" fmla="*/ 113047 h 351125"/>
              <a:gd name="connsiteX29" fmla="*/ 102821 w 522973"/>
              <a:gd name="connsiteY29" fmla="*/ 108599 h 351125"/>
              <a:gd name="connsiteX30" fmla="*/ 39979 w 522973"/>
              <a:gd name="connsiteY30" fmla="*/ 76106 h 351125"/>
              <a:gd name="connsiteX31" fmla="*/ 42353 w 522973"/>
              <a:gd name="connsiteY31" fmla="*/ 88214 h 351125"/>
              <a:gd name="connsiteX32" fmla="*/ 45726 w 522973"/>
              <a:gd name="connsiteY32" fmla="*/ 106375 h 351125"/>
              <a:gd name="connsiteX33" fmla="*/ 43227 w 522973"/>
              <a:gd name="connsiteY33" fmla="*/ 124784 h 351125"/>
              <a:gd name="connsiteX34" fmla="*/ 3498 w 522973"/>
              <a:gd name="connsiteY34" fmla="*/ 125896 h 351125"/>
              <a:gd name="connsiteX35" fmla="*/ 0 w 522973"/>
              <a:gd name="connsiteY35" fmla="*/ 133927 h 351125"/>
              <a:gd name="connsiteX36" fmla="*/ 17241 w 522973"/>
              <a:gd name="connsiteY36" fmla="*/ 152088 h 351125"/>
              <a:gd name="connsiteX37" fmla="*/ 10245 w 522973"/>
              <a:gd name="connsiteY37" fmla="*/ 173339 h 351125"/>
              <a:gd name="connsiteX38" fmla="*/ 8995 w 522973"/>
              <a:gd name="connsiteY38" fmla="*/ 190512 h 351125"/>
              <a:gd name="connsiteX39" fmla="*/ 19615 w 522973"/>
              <a:gd name="connsiteY39" fmla="*/ 207067 h 351125"/>
              <a:gd name="connsiteX40" fmla="*/ 6122 w 522973"/>
              <a:gd name="connsiteY40" fmla="*/ 225476 h 351125"/>
              <a:gd name="connsiteX41" fmla="*/ 2124 w 522973"/>
              <a:gd name="connsiteY41" fmla="*/ 226959 h 351125"/>
              <a:gd name="connsiteX42" fmla="*/ 26236 w 522973"/>
              <a:gd name="connsiteY42" fmla="*/ 252163 h 351125"/>
              <a:gd name="connsiteX43" fmla="*/ 30984 w 522973"/>
              <a:gd name="connsiteY43" fmla="*/ 281814 h 351125"/>
              <a:gd name="connsiteX44" fmla="*/ 47600 w 522973"/>
              <a:gd name="connsiteY44" fmla="*/ 284409 h 351125"/>
              <a:gd name="connsiteX45" fmla="*/ 86829 w 522973"/>
              <a:gd name="connsiteY45" fmla="*/ 318138 h 351125"/>
              <a:gd name="connsiteX46" fmla="*/ 106194 w 522973"/>
              <a:gd name="connsiteY46" fmla="*/ 324562 h 351125"/>
              <a:gd name="connsiteX47" fmla="*/ 121311 w 522973"/>
              <a:gd name="connsiteY47" fmla="*/ 335064 h 351125"/>
              <a:gd name="connsiteX48" fmla="*/ 169161 w 522973"/>
              <a:gd name="connsiteY48" fmla="*/ 340871 h 351125"/>
              <a:gd name="connsiteX49" fmla="*/ 203393 w 522973"/>
              <a:gd name="connsiteY49" fmla="*/ 351125 h 351125"/>
              <a:gd name="connsiteX50" fmla="*/ 217135 w 522973"/>
              <a:gd name="connsiteY50" fmla="*/ 332222 h 351125"/>
              <a:gd name="connsiteX51" fmla="*/ 227380 w 522973"/>
              <a:gd name="connsiteY51" fmla="*/ 337288 h 351125"/>
              <a:gd name="connsiteX52" fmla="*/ 239499 w 522973"/>
              <a:gd name="connsiteY52" fmla="*/ 322833 h 351125"/>
              <a:gd name="connsiteX53" fmla="*/ 259988 w 522973"/>
              <a:gd name="connsiteY53" fmla="*/ 311219 h 351125"/>
              <a:gd name="connsiteX54" fmla="*/ 275480 w 522973"/>
              <a:gd name="connsiteY54" fmla="*/ 312702 h 351125"/>
              <a:gd name="connsiteX55" fmla="*/ 280602 w 522973"/>
              <a:gd name="connsiteY55" fmla="*/ 303930 h 351125"/>
              <a:gd name="connsiteX56" fmla="*/ 301716 w 522973"/>
              <a:gd name="connsiteY56" fmla="*/ 284780 h 351125"/>
              <a:gd name="connsiteX57" fmla="*/ 315833 w 522973"/>
              <a:gd name="connsiteY57" fmla="*/ 288857 h 351125"/>
              <a:gd name="connsiteX58" fmla="*/ 335198 w 522973"/>
              <a:gd name="connsiteY58" fmla="*/ 292316 h 351125"/>
              <a:gd name="connsiteX59" fmla="*/ 348316 w 522973"/>
              <a:gd name="connsiteY59" fmla="*/ 296146 h 35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22973" h="351125">
                <a:moveTo>
                  <a:pt x="348316" y="296146"/>
                </a:moveTo>
                <a:lnTo>
                  <a:pt x="365807" y="276749"/>
                </a:lnTo>
                <a:lnTo>
                  <a:pt x="381424" y="271560"/>
                </a:lnTo>
                <a:lnTo>
                  <a:pt x="389294" y="255499"/>
                </a:lnTo>
                <a:lnTo>
                  <a:pt x="413907" y="256363"/>
                </a:lnTo>
                <a:lnTo>
                  <a:pt x="429648" y="240055"/>
                </a:lnTo>
                <a:lnTo>
                  <a:pt x="428274" y="222388"/>
                </a:lnTo>
                <a:lnTo>
                  <a:pt x="458633" y="173339"/>
                </a:lnTo>
                <a:lnTo>
                  <a:pt x="475374" y="116877"/>
                </a:lnTo>
                <a:lnTo>
                  <a:pt x="492990" y="80801"/>
                </a:lnTo>
                <a:lnTo>
                  <a:pt x="514603" y="75982"/>
                </a:lnTo>
                <a:lnTo>
                  <a:pt x="522974" y="55350"/>
                </a:lnTo>
                <a:lnTo>
                  <a:pt x="513479" y="33482"/>
                </a:lnTo>
                <a:lnTo>
                  <a:pt x="489617" y="19397"/>
                </a:lnTo>
                <a:lnTo>
                  <a:pt x="467003" y="0"/>
                </a:lnTo>
                <a:lnTo>
                  <a:pt x="447014" y="13961"/>
                </a:lnTo>
                <a:lnTo>
                  <a:pt x="418279" y="8648"/>
                </a:lnTo>
                <a:lnTo>
                  <a:pt x="381424" y="12849"/>
                </a:lnTo>
                <a:lnTo>
                  <a:pt x="360060" y="7907"/>
                </a:lnTo>
                <a:lnTo>
                  <a:pt x="329701" y="11861"/>
                </a:lnTo>
                <a:lnTo>
                  <a:pt x="314834" y="36694"/>
                </a:lnTo>
                <a:lnTo>
                  <a:pt x="298967" y="50408"/>
                </a:lnTo>
                <a:lnTo>
                  <a:pt x="297718" y="67458"/>
                </a:lnTo>
                <a:lnTo>
                  <a:pt x="270732" y="41883"/>
                </a:lnTo>
                <a:lnTo>
                  <a:pt x="242122" y="67952"/>
                </a:lnTo>
                <a:lnTo>
                  <a:pt x="216636" y="77465"/>
                </a:lnTo>
                <a:lnTo>
                  <a:pt x="214762" y="94638"/>
                </a:lnTo>
                <a:lnTo>
                  <a:pt x="166037" y="101310"/>
                </a:lnTo>
                <a:lnTo>
                  <a:pt x="135429" y="113047"/>
                </a:lnTo>
                <a:lnTo>
                  <a:pt x="102821" y="108599"/>
                </a:lnTo>
                <a:lnTo>
                  <a:pt x="39979" y="76106"/>
                </a:lnTo>
                <a:lnTo>
                  <a:pt x="42353" y="88214"/>
                </a:lnTo>
                <a:lnTo>
                  <a:pt x="45726" y="106375"/>
                </a:lnTo>
                <a:lnTo>
                  <a:pt x="43227" y="124784"/>
                </a:lnTo>
                <a:lnTo>
                  <a:pt x="3498" y="125896"/>
                </a:lnTo>
                <a:lnTo>
                  <a:pt x="0" y="133927"/>
                </a:lnTo>
                <a:lnTo>
                  <a:pt x="17241" y="152088"/>
                </a:lnTo>
                <a:lnTo>
                  <a:pt x="10245" y="173339"/>
                </a:lnTo>
                <a:lnTo>
                  <a:pt x="8995" y="190512"/>
                </a:lnTo>
                <a:lnTo>
                  <a:pt x="19615" y="207067"/>
                </a:lnTo>
                <a:lnTo>
                  <a:pt x="6122" y="225476"/>
                </a:lnTo>
                <a:lnTo>
                  <a:pt x="2124" y="226959"/>
                </a:lnTo>
                <a:lnTo>
                  <a:pt x="26236" y="252163"/>
                </a:lnTo>
                <a:lnTo>
                  <a:pt x="30984" y="281814"/>
                </a:lnTo>
                <a:lnTo>
                  <a:pt x="47600" y="284409"/>
                </a:lnTo>
                <a:lnTo>
                  <a:pt x="86829" y="318138"/>
                </a:lnTo>
                <a:lnTo>
                  <a:pt x="106194" y="324562"/>
                </a:lnTo>
                <a:lnTo>
                  <a:pt x="121311" y="335064"/>
                </a:lnTo>
                <a:lnTo>
                  <a:pt x="169161" y="340871"/>
                </a:lnTo>
                <a:lnTo>
                  <a:pt x="203393" y="351125"/>
                </a:lnTo>
                <a:lnTo>
                  <a:pt x="217135" y="332222"/>
                </a:lnTo>
                <a:lnTo>
                  <a:pt x="227380" y="337288"/>
                </a:lnTo>
                <a:lnTo>
                  <a:pt x="239499" y="322833"/>
                </a:lnTo>
                <a:lnTo>
                  <a:pt x="259988" y="311219"/>
                </a:lnTo>
                <a:lnTo>
                  <a:pt x="275480" y="312702"/>
                </a:lnTo>
                <a:lnTo>
                  <a:pt x="280602" y="303930"/>
                </a:lnTo>
                <a:lnTo>
                  <a:pt x="301716" y="284780"/>
                </a:lnTo>
                <a:lnTo>
                  <a:pt x="315833" y="288857"/>
                </a:lnTo>
                <a:lnTo>
                  <a:pt x="335198" y="292316"/>
                </a:lnTo>
                <a:lnTo>
                  <a:pt x="348316" y="296146"/>
                </a:lnTo>
                <a:close/>
              </a:path>
            </a:pathLst>
          </a:custGeom>
          <a:solidFill>
            <a:schemeClr val="bg2"/>
          </a:solidFill>
          <a:ln w="7128" cap="flat">
            <a:solidFill>
              <a:schemeClr val="accent4"/>
            </a:solidFill>
            <a:prstDash val="solid"/>
            <a:miter/>
          </a:ln>
        </p:spPr>
        <p:txBody>
          <a:bodyPr rtlCol="0" anchor="ctr"/>
          <a:lstStyle/>
          <a:p>
            <a:endParaRPr lang="en-GB"/>
          </a:p>
        </p:txBody>
      </p:sp>
      <p:sp>
        <p:nvSpPr>
          <p:cNvPr id="28" name="Graphic 3">
            <a:extLst>
              <a:ext uri="{FF2B5EF4-FFF2-40B4-BE49-F238E27FC236}">
                <a16:creationId xmlns:a16="http://schemas.microsoft.com/office/drawing/2014/main" id="{BFEFC8F8-4148-6B83-31E7-1A0084DBAF21}"/>
              </a:ext>
            </a:extLst>
          </p:cNvPr>
          <p:cNvSpPr/>
          <p:nvPr/>
        </p:nvSpPr>
        <p:spPr>
          <a:xfrm rot="1141104">
            <a:off x="7806424" y="4140351"/>
            <a:ext cx="229004" cy="188906"/>
          </a:xfrm>
          <a:custGeom>
            <a:avLst/>
            <a:gdLst>
              <a:gd name="connsiteX0" fmla="*/ 156043 w 229004"/>
              <a:gd name="connsiteY0" fmla="*/ 0 h 188906"/>
              <a:gd name="connsiteX1" fmla="*/ 194273 w 229004"/>
              <a:gd name="connsiteY1" fmla="*/ 27304 h 188906"/>
              <a:gd name="connsiteX2" fmla="*/ 220634 w 229004"/>
              <a:gd name="connsiteY2" fmla="*/ 68693 h 188906"/>
              <a:gd name="connsiteX3" fmla="*/ 224882 w 229004"/>
              <a:gd name="connsiteY3" fmla="*/ 90067 h 188906"/>
              <a:gd name="connsiteX4" fmla="*/ 229004 w 229004"/>
              <a:gd name="connsiteY4" fmla="*/ 108105 h 188906"/>
              <a:gd name="connsiteX5" fmla="*/ 218135 w 229004"/>
              <a:gd name="connsiteY5" fmla="*/ 118607 h 188906"/>
              <a:gd name="connsiteX6" fmla="*/ 201644 w 229004"/>
              <a:gd name="connsiteY6" fmla="*/ 119966 h 188906"/>
              <a:gd name="connsiteX7" fmla="*/ 181030 w 229004"/>
              <a:gd name="connsiteY7" fmla="*/ 133927 h 188906"/>
              <a:gd name="connsiteX8" fmla="*/ 135429 w 229004"/>
              <a:gd name="connsiteY8" fmla="*/ 133927 h 188906"/>
              <a:gd name="connsiteX9" fmla="*/ 116689 w 229004"/>
              <a:gd name="connsiteY9" fmla="*/ 145170 h 188906"/>
              <a:gd name="connsiteX10" fmla="*/ 115689 w 229004"/>
              <a:gd name="connsiteY10" fmla="*/ 153077 h 188906"/>
              <a:gd name="connsiteX11" fmla="*/ 90327 w 229004"/>
              <a:gd name="connsiteY11" fmla="*/ 163331 h 188906"/>
              <a:gd name="connsiteX12" fmla="*/ 54846 w 229004"/>
              <a:gd name="connsiteY12" fmla="*/ 187053 h 188906"/>
              <a:gd name="connsiteX13" fmla="*/ 54721 w 229004"/>
              <a:gd name="connsiteY13" fmla="*/ 188906 h 188906"/>
              <a:gd name="connsiteX14" fmla="*/ 34607 w 229004"/>
              <a:gd name="connsiteY14" fmla="*/ 176057 h 188906"/>
              <a:gd name="connsiteX15" fmla="*/ 24112 w 229004"/>
              <a:gd name="connsiteY15" fmla="*/ 155054 h 188906"/>
              <a:gd name="connsiteX16" fmla="*/ 8496 w 229004"/>
              <a:gd name="connsiteY16" fmla="*/ 130467 h 188906"/>
              <a:gd name="connsiteX17" fmla="*/ 0 w 229004"/>
              <a:gd name="connsiteY17" fmla="*/ 96986 h 188906"/>
              <a:gd name="connsiteX18" fmla="*/ 3123 w 229004"/>
              <a:gd name="connsiteY18" fmla="*/ 65604 h 188906"/>
              <a:gd name="connsiteX19" fmla="*/ 4748 w 229004"/>
              <a:gd name="connsiteY19" fmla="*/ 68570 h 188906"/>
              <a:gd name="connsiteX20" fmla="*/ 11744 w 229004"/>
              <a:gd name="connsiteY20" fmla="*/ 60662 h 188906"/>
              <a:gd name="connsiteX21" fmla="*/ 10120 w 229004"/>
              <a:gd name="connsiteY21" fmla="*/ 46331 h 188906"/>
              <a:gd name="connsiteX22" fmla="*/ 30984 w 229004"/>
              <a:gd name="connsiteY22" fmla="*/ 33482 h 188906"/>
              <a:gd name="connsiteX23" fmla="*/ 49974 w 229004"/>
              <a:gd name="connsiteY23" fmla="*/ 27551 h 188906"/>
              <a:gd name="connsiteX24" fmla="*/ 64716 w 229004"/>
              <a:gd name="connsiteY24" fmla="*/ 15691 h 188906"/>
              <a:gd name="connsiteX25" fmla="*/ 100072 w 229004"/>
              <a:gd name="connsiteY25" fmla="*/ 5683 h 188906"/>
              <a:gd name="connsiteX26" fmla="*/ 117313 w 229004"/>
              <a:gd name="connsiteY26" fmla="*/ 7660 h 188906"/>
              <a:gd name="connsiteX27" fmla="*/ 142800 w 229004"/>
              <a:gd name="connsiteY27" fmla="*/ 618 h 188906"/>
              <a:gd name="connsiteX28" fmla="*/ 156043 w 229004"/>
              <a:gd name="connsiteY28" fmla="*/ 0 h 18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9004" h="188906">
                <a:moveTo>
                  <a:pt x="156043" y="0"/>
                </a:moveTo>
                <a:lnTo>
                  <a:pt x="194273" y="27304"/>
                </a:lnTo>
                <a:lnTo>
                  <a:pt x="220634" y="68693"/>
                </a:lnTo>
                <a:lnTo>
                  <a:pt x="224882" y="90067"/>
                </a:lnTo>
                <a:lnTo>
                  <a:pt x="229004" y="108105"/>
                </a:lnTo>
                <a:lnTo>
                  <a:pt x="218135" y="118607"/>
                </a:lnTo>
                <a:lnTo>
                  <a:pt x="201644" y="119966"/>
                </a:lnTo>
                <a:lnTo>
                  <a:pt x="181030" y="133927"/>
                </a:lnTo>
                <a:lnTo>
                  <a:pt x="135429" y="133927"/>
                </a:lnTo>
                <a:lnTo>
                  <a:pt x="116689" y="145170"/>
                </a:lnTo>
                <a:lnTo>
                  <a:pt x="115689" y="153077"/>
                </a:lnTo>
                <a:lnTo>
                  <a:pt x="90327" y="163331"/>
                </a:lnTo>
                <a:lnTo>
                  <a:pt x="54846" y="187053"/>
                </a:lnTo>
                <a:lnTo>
                  <a:pt x="54721" y="188906"/>
                </a:lnTo>
                <a:lnTo>
                  <a:pt x="34607" y="176057"/>
                </a:lnTo>
                <a:lnTo>
                  <a:pt x="24112" y="155054"/>
                </a:lnTo>
                <a:lnTo>
                  <a:pt x="8496" y="130467"/>
                </a:lnTo>
                <a:lnTo>
                  <a:pt x="0" y="96986"/>
                </a:lnTo>
                <a:lnTo>
                  <a:pt x="3123" y="65604"/>
                </a:lnTo>
                <a:lnTo>
                  <a:pt x="4748" y="68570"/>
                </a:lnTo>
                <a:lnTo>
                  <a:pt x="11744" y="60662"/>
                </a:lnTo>
                <a:lnTo>
                  <a:pt x="10120" y="46331"/>
                </a:lnTo>
                <a:lnTo>
                  <a:pt x="30984" y="33482"/>
                </a:lnTo>
                <a:lnTo>
                  <a:pt x="49974" y="27551"/>
                </a:lnTo>
                <a:lnTo>
                  <a:pt x="64716" y="15691"/>
                </a:lnTo>
                <a:lnTo>
                  <a:pt x="100072" y="5683"/>
                </a:lnTo>
                <a:lnTo>
                  <a:pt x="117313" y="7660"/>
                </a:lnTo>
                <a:lnTo>
                  <a:pt x="142800" y="618"/>
                </a:lnTo>
                <a:lnTo>
                  <a:pt x="156043" y="0"/>
                </a:lnTo>
                <a:close/>
              </a:path>
            </a:pathLst>
          </a:custGeom>
          <a:solidFill>
            <a:schemeClr val="bg2"/>
          </a:solidFill>
          <a:ln w="6927" cap="flat">
            <a:solidFill>
              <a:schemeClr val="accent4"/>
            </a:solidFill>
            <a:prstDash val="solid"/>
            <a:miter/>
          </a:ln>
        </p:spPr>
        <p:txBody>
          <a:bodyPr rtlCol="0" anchor="ctr"/>
          <a:lstStyle/>
          <a:p>
            <a:endParaRPr lang="en-GB"/>
          </a:p>
        </p:txBody>
      </p:sp>
      <p:sp>
        <p:nvSpPr>
          <p:cNvPr id="29" name="Graphic 141">
            <a:extLst>
              <a:ext uri="{FF2B5EF4-FFF2-40B4-BE49-F238E27FC236}">
                <a16:creationId xmlns:a16="http://schemas.microsoft.com/office/drawing/2014/main" id="{A50D1295-D6AB-3841-38E5-3056460CE2C0}"/>
              </a:ext>
            </a:extLst>
          </p:cNvPr>
          <p:cNvSpPr/>
          <p:nvPr/>
        </p:nvSpPr>
        <p:spPr>
          <a:xfrm rot="1141104">
            <a:off x="7972597" y="4014749"/>
            <a:ext cx="531469" cy="345565"/>
          </a:xfrm>
          <a:custGeom>
            <a:avLst/>
            <a:gdLst>
              <a:gd name="connsiteX0" fmla="*/ 8246 w 531469"/>
              <a:gd name="connsiteY0" fmla="*/ 18038 h 345565"/>
              <a:gd name="connsiteX1" fmla="*/ 33108 w 531469"/>
              <a:gd name="connsiteY1" fmla="*/ 19274 h 345565"/>
              <a:gd name="connsiteX2" fmla="*/ 45476 w 531469"/>
              <a:gd name="connsiteY2" fmla="*/ 28540 h 345565"/>
              <a:gd name="connsiteX3" fmla="*/ 44726 w 531469"/>
              <a:gd name="connsiteY3" fmla="*/ 42377 h 345565"/>
              <a:gd name="connsiteX4" fmla="*/ 38480 w 531469"/>
              <a:gd name="connsiteY4" fmla="*/ 52385 h 345565"/>
              <a:gd name="connsiteX5" fmla="*/ 49224 w 531469"/>
              <a:gd name="connsiteY5" fmla="*/ 68322 h 345565"/>
              <a:gd name="connsiteX6" fmla="*/ 71087 w 531469"/>
              <a:gd name="connsiteY6" fmla="*/ 53002 h 345565"/>
              <a:gd name="connsiteX7" fmla="*/ 95574 w 531469"/>
              <a:gd name="connsiteY7" fmla="*/ 53249 h 345565"/>
              <a:gd name="connsiteX8" fmla="*/ 105944 w 531469"/>
              <a:gd name="connsiteY8" fmla="*/ 63257 h 345565"/>
              <a:gd name="connsiteX9" fmla="*/ 115064 w 531469"/>
              <a:gd name="connsiteY9" fmla="*/ 60292 h 345565"/>
              <a:gd name="connsiteX10" fmla="*/ 147297 w 531469"/>
              <a:gd name="connsiteY10" fmla="*/ 70793 h 345565"/>
              <a:gd name="connsiteX11" fmla="*/ 173158 w 531469"/>
              <a:gd name="connsiteY11" fmla="*/ 57203 h 345565"/>
              <a:gd name="connsiteX12" fmla="*/ 191274 w 531469"/>
              <a:gd name="connsiteY12" fmla="*/ 61651 h 345565"/>
              <a:gd name="connsiteX13" fmla="*/ 206141 w 531469"/>
              <a:gd name="connsiteY13" fmla="*/ 54485 h 345565"/>
              <a:gd name="connsiteX14" fmla="*/ 225006 w 531469"/>
              <a:gd name="connsiteY14" fmla="*/ 60168 h 345565"/>
              <a:gd name="connsiteX15" fmla="*/ 240873 w 531469"/>
              <a:gd name="connsiteY15" fmla="*/ 59550 h 345565"/>
              <a:gd name="connsiteX16" fmla="*/ 275354 w 531469"/>
              <a:gd name="connsiteY16" fmla="*/ 62021 h 345565"/>
              <a:gd name="connsiteX17" fmla="*/ 286224 w 531469"/>
              <a:gd name="connsiteY17" fmla="*/ 53620 h 345565"/>
              <a:gd name="connsiteX18" fmla="*/ 309087 w 531469"/>
              <a:gd name="connsiteY18" fmla="*/ 45466 h 345565"/>
              <a:gd name="connsiteX19" fmla="*/ 316458 w 531469"/>
              <a:gd name="connsiteY19" fmla="*/ 32123 h 345565"/>
              <a:gd name="connsiteX20" fmla="*/ 369555 w 531469"/>
              <a:gd name="connsiteY20" fmla="*/ 4942 h 345565"/>
              <a:gd name="connsiteX21" fmla="*/ 393167 w 531469"/>
              <a:gd name="connsiteY21" fmla="*/ 0 h 345565"/>
              <a:gd name="connsiteX22" fmla="*/ 421777 w 531469"/>
              <a:gd name="connsiteY22" fmla="*/ 1483 h 345565"/>
              <a:gd name="connsiteX23" fmla="*/ 452261 w 531469"/>
              <a:gd name="connsiteY23" fmla="*/ 12355 h 345565"/>
              <a:gd name="connsiteX24" fmla="*/ 462256 w 531469"/>
              <a:gd name="connsiteY24" fmla="*/ 22239 h 345565"/>
              <a:gd name="connsiteX25" fmla="*/ 479621 w 531469"/>
              <a:gd name="connsiteY25" fmla="*/ 14826 h 345565"/>
              <a:gd name="connsiteX26" fmla="*/ 503859 w 531469"/>
              <a:gd name="connsiteY26" fmla="*/ 24957 h 345565"/>
              <a:gd name="connsiteX27" fmla="*/ 508231 w 531469"/>
              <a:gd name="connsiteY27" fmla="*/ 33976 h 345565"/>
              <a:gd name="connsiteX28" fmla="*/ 530095 w 531469"/>
              <a:gd name="connsiteY28" fmla="*/ 34099 h 345565"/>
              <a:gd name="connsiteX29" fmla="*/ 531469 w 531469"/>
              <a:gd name="connsiteY29" fmla="*/ 38300 h 345565"/>
              <a:gd name="connsiteX30" fmla="*/ 529595 w 531469"/>
              <a:gd name="connsiteY30" fmla="*/ 72770 h 345565"/>
              <a:gd name="connsiteX31" fmla="*/ 518226 w 531469"/>
              <a:gd name="connsiteY31" fmla="*/ 84260 h 345565"/>
              <a:gd name="connsiteX32" fmla="*/ 501485 w 531469"/>
              <a:gd name="connsiteY32" fmla="*/ 82901 h 345565"/>
              <a:gd name="connsiteX33" fmla="*/ 477498 w 531469"/>
              <a:gd name="connsiteY33" fmla="*/ 105881 h 345565"/>
              <a:gd name="connsiteX34" fmla="*/ 483369 w 531469"/>
              <a:gd name="connsiteY34" fmla="*/ 145540 h 345565"/>
              <a:gd name="connsiteX35" fmla="*/ 477872 w 531469"/>
              <a:gd name="connsiteY35" fmla="*/ 163702 h 345565"/>
              <a:gd name="connsiteX36" fmla="*/ 453011 w 531469"/>
              <a:gd name="connsiteY36" fmla="*/ 183964 h 345565"/>
              <a:gd name="connsiteX37" fmla="*/ 456883 w 531469"/>
              <a:gd name="connsiteY37" fmla="*/ 193354 h 345565"/>
              <a:gd name="connsiteX38" fmla="*/ 472250 w 531469"/>
              <a:gd name="connsiteY38" fmla="*/ 194836 h 345565"/>
              <a:gd name="connsiteX39" fmla="*/ 491490 w 531469"/>
              <a:gd name="connsiteY39" fmla="*/ 220164 h 345565"/>
              <a:gd name="connsiteX40" fmla="*/ 506357 w 531469"/>
              <a:gd name="connsiteY40" fmla="*/ 241537 h 345565"/>
              <a:gd name="connsiteX41" fmla="*/ 506357 w 531469"/>
              <a:gd name="connsiteY41" fmla="*/ 242773 h 345565"/>
              <a:gd name="connsiteX42" fmla="*/ 485868 w 531469"/>
              <a:gd name="connsiteY42" fmla="*/ 238572 h 345565"/>
              <a:gd name="connsiteX43" fmla="*/ 473000 w 531469"/>
              <a:gd name="connsiteY43" fmla="*/ 249692 h 345565"/>
              <a:gd name="connsiteX44" fmla="*/ 447014 w 531469"/>
              <a:gd name="connsiteY44" fmla="*/ 231036 h 345565"/>
              <a:gd name="connsiteX45" fmla="*/ 420528 w 531469"/>
              <a:gd name="connsiteY45" fmla="*/ 232271 h 345565"/>
              <a:gd name="connsiteX46" fmla="*/ 410533 w 531469"/>
              <a:gd name="connsiteY46" fmla="*/ 244379 h 345565"/>
              <a:gd name="connsiteX47" fmla="*/ 396041 w 531469"/>
              <a:gd name="connsiteY47" fmla="*/ 246356 h 345565"/>
              <a:gd name="connsiteX48" fmla="*/ 382173 w 531469"/>
              <a:gd name="connsiteY48" fmla="*/ 262664 h 345565"/>
              <a:gd name="connsiteX49" fmla="*/ 382048 w 531469"/>
              <a:gd name="connsiteY49" fmla="*/ 263776 h 345565"/>
              <a:gd name="connsiteX50" fmla="*/ 370929 w 531469"/>
              <a:gd name="connsiteY50" fmla="*/ 264147 h 345565"/>
              <a:gd name="connsiteX51" fmla="*/ 349815 w 531469"/>
              <a:gd name="connsiteY51" fmla="*/ 281444 h 345565"/>
              <a:gd name="connsiteX52" fmla="*/ 349440 w 531469"/>
              <a:gd name="connsiteY52" fmla="*/ 302447 h 345565"/>
              <a:gd name="connsiteX53" fmla="*/ 357311 w 531469"/>
              <a:gd name="connsiteY53" fmla="*/ 317890 h 345565"/>
              <a:gd name="connsiteX54" fmla="*/ 345942 w 531469"/>
              <a:gd name="connsiteY54" fmla="*/ 328145 h 345565"/>
              <a:gd name="connsiteX55" fmla="*/ 306713 w 531469"/>
              <a:gd name="connsiteY55" fmla="*/ 327157 h 345565"/>
              <a:gd name="connsiteX56" fmla="*/ 289347 w 531469"/>
              <a:gd name="connsiteY56" fmla="*/ 336423 h 345565"/>
              <a:gd name="connsiteX57" fmla="*/ 273106 w 531469"/>
              <a:gd name="connsiteY57" fmla="*/ 328021 h 345565"/>
              <a:gd name="connsiteX58" fmla="*/ 255240 w 531469"/>
              <a:gd name="connsiteY58" fmla="*/ 328763 h 345565"/>
              <a:gd name="connsiteX59" fmla="*/ 243121 w 531469"/>
              <a:gd name="connsiteY59" fmla="*/ 339141 h 345565"/>
              <a:gd name="connsiteX60" fmla="*/ 225881 w 531469"/>
              <a:gd name="connsiteY60" fmla="*/ 338523 h 345565"/>
              <a:gd name="connsiteX61" fmla="*/ 222507 w 531469"/>
              <a:gd name="connsiteY61" fmla="*/ 323574 h 345565"/>
              <a:gd name="connsiteX62" fmla="*/ 198770 w 531469"/>
              <a:gd name="connsiteY62" fmla="*/ 325303 h 345565"/>
              <a:gd name="connsiteX63" fmla="*/ 176157 w 531469"/>
              <a:gd name="connsiteY63" fmla="*/ 322338 h 345565"/>
              <a:gd name="connsiteX64" fmla="*/ 160915 w 531469"/>
              <a:gd name="connsiteY64" fmla="*/ 338029 h 345565"/>
              <a:gd name="connsiteX65" fmla="*/ 138052 w 531469"/>
              <a:gd name="connsiteY65" fmla="*/ 344824 h 345565"/>
              <a:gd name="connsiteX66" fmla="*/ 107568 w 531469"/>
              <a:gd name="connsiteY66" fmla="*/ 345565 h 345565"/>
              <a:gd name="connsiteX67" fmla="*/ 98073 w 531469"/>
              <a:gd name="connsiteY67" fmla="*/ 341365 h 345565"/>
              <a:gd name="connsiteX68" fmla="*/ 97573 w 531469"/>
              <a:gd name="connsiteY68" fmla="*/ 341859 h 345565"/>
              <a:gd name="connsiteX69" fmla="*/ 93451 w 531469"/>
              <a:gd name="connsiteY69" fmla="*/ 323821 h 345565"/>
              <a:gd name="connsiteX70" fmla="*/ 89203 w 531469"/>
              <a:gd name="connsiteY70" fmla="*/ 302447 h 345565"/>
              <a:gd name="connsiteX71" fmla="*/ 62842 w 531469"/>
              <a:gd name="connsiteY71" fmla="*/ 260935 h 345565"/>
              <a:gd name="connsiteX72" fmla="*/ 24612 w 531469"/>
              <a:gd name="connsiteY72" fmla="*/ 233754 h 345565"/>
              <a:gd name="connsiteX73" fmla="*/ 25861 w 531469"/>
              <a:gd name="connsiteY73" fmla="*/ 233754 h 345565"/>
              <a:gd name="connsiteX74" fmla="*/ 31109 w 531469"/>
              <a:gd name="connsiteY74" fmla="*/ 217075 h 345565"/>
              <a:gd name="connsiteX75" fmla="*/ 18490 w 531469"/>
              <a:gd name="connsiteY75" fmla="*/ 199284 h 345565"/>
              <a:gd name="connsiteX76" fmla="*/ 15742 w 531469"/>
              <a:gd name="connsiteY76" fmla="*/ 184334 h 345565"/>
              <a:gd name="connsiteX77" fmla="*/ 46975 w 531469"/>
              <a:gd name="connsiteY77" fmla="*/ 153571 h 345565"/>
              <a:gd name="connsiteX78" fmla="*/ 52097 w 531469"/>
              <a:gd name="connsiteY78" fmla="*/ 135039 h 345565"/>
              <a:gd name="connsiteX79" fmla="*/ 38480 w 531469"/>
              <a:gd name="connsiteY79" fmla="*/ 112059 h 345565"/>
              <a:gd name="connsiteX80" fmla="*/ 10869 w 531469"/>
              <a:gd name="connsiteY80" fmla="*/ 86360 h 345565"/>
              <a:gd name="connsiteX81" fmla="*/ 0 w 531469"/>
              <a:gd name="connsiteY81" fmla="*/ 50161 h 345565"/>
              <a:gd name="connsiteX82" fmla="*/ 13993 w 531469"/>
              <a:gd name="connsiteY82" fmla="*/ 35088 h 345565"/>
              <a:gd name="connsiteX83" fmla="*/ 8246 w 531469"/>
              <a:gd name="connsiteY83" fmla="*/ 18038 h 34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31469" h="345565">
                <a:moveTo>
                  <a:pt x="8246" y="18038"/>
                </a:moveTo>
                <a:lnTo>
                  <a:pt x="33108" y="19274"/>
                </a:lnTo>
                <a:lnTo>
                  <a:pt x="45476" y="28540"/>
                </a:lnTo>
                <a:lnTo>
                  <a:pt x="44726" y="42377"/>
                </a:lnTo>
                <a:lnTo>
                  <a:pt x="38480" y="52385"/>
                </a:lnTo>
                <a:lnTo>
                  <a:pt x="49224" y="68322"/>
                </a:lnTo>
                <a:lnTo>
                  <a:pt x="71087" y="53002"/>
                </a:lnTo>
                <a:lnTo>
                  <a:pt x="95574" y="53249"/>
                </a:lnTo>
                <a:lnTo>
                  <a:pt x="105944" y="63257"/>
                </a:lnTo>
                <a:lnTo>
                  <a:pt x="115064" y="60292"/>
                </a:lnTo>
                <a:lnTo>
                  <a:pt x="147297" y="70793"/>
                </a:lnTo>
                <a:lnTo>
                  <a:pt x="173158" y="57203"/>
                </a:lnTo>
                <a:lnTo>
                  <a:pt x="191274" y="61651"/>
                </a:lnTo>
                <a:lnTo>
                  <a:pt x="206141" y="54485"/>
                </a:lnTo>
                <a:lnTo>
                  <a:pt x="225006" y="60168"/>
                </a:lnTo>
                <a:lnTo>
                  <a:pt x="240873" y="59550"/>
                </a:lnTo>
                <a:lnTo>
                  <a:pt x="275354" y="62021"/>
                </a:lnTo>
                <a:lnTo>
                  <a:pt x="286224" y="53620"/>
                </a:lnTo>
                <a:lnTo>
                  <a:pt x="309087" y="45466"/>
                </a:lnTo>
                <a:lnTo>
                  <a:pt x="316458" y="32123"/>
                </a:lnTo>
                <a:lnTo>
                  <a:pt x="369555" y="4942"/>
                </a:lnTo>
                <a:lnTo>
                  <a:pt x="393167" y="0"/>
                </a:lnTo>
                <a:lnTo>
                  <a:pt x="421777" y="1483"/>
                </a:lnTo>
                <a:lnTo>
                  <a:pt x="452261" y="12355"/>
                </a:lnTo>
                <a:lnTo>
                  <a:pt x="462256" y="22239"/>
                </a:lnTo>
                <a:lnTo>
                  <a:pt x="479621" y="14826"/>
                </a:lnTo>
                <a:lnTo>
                  <a:pt x="503859" y="24957"/>
                </a:lnTo>
                <a:lnTo>
                  <a:pt x="508231" y="33976"/>
                </a:lnTo>
                <a:lnTo>
                  <a:pt x="530095" y="34099"/>
                </a:lnTo>
                <a:lnTo>
                  <a:pt x="531469" y="38300"/>
                </a:lnTo>
                <a:lnTo>
                  <a:pt x="529595" y="72770"/>
                </a:lnTo>
                <a:lnTo>
                  <a:pt x="518226" y="84260"/>
                </a:lnTo>
                <a:lnTo>
                  <a:pt x="501485" y="82901"/>
                </a:lnTo>
                <a:lnTo>
                  <a:pt x="477498" y="105881"/>
                </a:lnTo>
                <a:lnTo>
                  <a:pt x="483369" y="145540"/>
                </a:lnTo>
                <a:lnTo>
                  <a:pt x="477872" y="163702"/>
                </a:lnTo>
                <a:lnTo>
                  <a:pt x="453011" y="183964"/>
                </a:lnTo>
                <a:lnTo>
                  <a:pt x="456883" y="193354"/>
                </a:lnTo>
                <a:lnTo>
                  <a:pt x="472250" y="194836"/>
                </a:lnTo>
                <a:lnTo>
                  <a:pt x="491490" y="220164"/>
                </a:lnTo>
                <a:lnTo>
                  <a:pt x="506357" y="241537"/>
                </a:lnTo>
                <a:lnTo>
                  <a:pt x="506357" y="242773"/>
                </a:lnTo>
                <a:lnTo>
                  <a:pt x="485868" y="238572"/>
                </a:lnTo>
                <a:lnTo>
                  <a:pt x="473000" y="249692"/>
                </a:lnTo>
                <a:lnTo>
                  <a:pt x="447014" y="231036"/>
                </a:lnTo>
                <a:lnTo>
                  <a:pt x="420528" y="232271"/>
                </a:lnTo>
                <a:lnTo>
                  <a:pt x="410533" y="244379"/>
                </a:lnTo>
                <a:lnTo>
                  <a:pt x="396041" y="246356"/>
                </a:lnTo>
                <a:lnTo>
                  <a:pt x="382173" y="262664"/>
                </a:lnTo>
                <a:lnTo>
                  <a:pt x="382048" y="263776"/>
                </a:lnTo>
                <a:lnTo>
                  <a:pt x="370929" y="264147"/>
                </a:lnTo>
                <a:lnTo>
                  <a:pt x="349815" y="281444"/>
                </a:lnTo>
                <a:lnTo>
                  <a:pt x="349440" y="302447"/>
                </a:lnTo>
                <a:lnTo>
                  <a:pt x="357311" y="317890"/>
                </a:lnTo>
                <a:lnTo>
                  <a:pt x="345942" y="328145"/>
                </a:lnTo>
                <a:lnTo>
                  <a:pt x="306713" y="327157"/>
                </a:lnTo>
                <a:lnTo>
                  <a:pt x="289347" y="336423"/>
                </a:lnTo>
                <a:lnTo>
                  <a:pt x="273106" y="328021"/>
                </a:lnTo>
                <a:lnTo>
                  <a:pt x="255240" y="328763"/>
                </a:lnTo>
                <a:lnTo>
                  <a:pt x="243121" y="339141"/>
                </a:lnTo>
                <a:lnTo>
                  <a:pt x="225881" y="338523"/>
                </a:lnTo>
                <a:lnTo>
                  <a:pt x="222507" y="323574"/>
                </a:lnTo>
                <a:lnTo>
                  <a:pt x="198770" y="325303"/>
                </a:lnTo>
                <a:lnTo>
                  <a:pt x="176157" y="322338"/>
                </a:lnTo>
                <a:lnTo>
                  <a:pt x="160915" y="338029"/>
                </a:lnTo>
                <a:lnTo>
                  <a:pt x="138052" y="344824"/>
                </a:lnTo>
                <a:lnTo>
                  <a:pt x="107568" y="345565"/>
                </a:lnTo>
                <a:lnTo>
                  <a:pt x="98073" y="341365"/>
                </a:lnTo>
                <a:lnTo>
                  <a:pt x="97573" y="341859"/>
                </a:lnTo>
                <a:lnTo>
                  <a:pt x="93451" y="323821"/>
                </a:lnTo>
                <a:lnTo>
                  <a:pt x="89203" y="302447"/>
                </a:lnTo>
                <a:lnTo>
                  <a:pt x="62842" y="260935"/>
                </a:lnTo>
                <a:lnTo>
                  <a:pt x="24612" y="233754"/>
                </a:lnTo>
                <a:lnTo>
                  <a:pt x="25861" y="233754"/>
                </a:lnTo>
                <a:lnTo>
                  <a:pt x="31109" y="217075"/>
                </a:lnTo>
                <a:lnTo>
                  <a:pt x="18490" y="199284"/>
                </a:lnTo>
                <a:lnTo>
                  <a:pt x="15742" y="184334"/>
                </a:lnTo>
                <a:lnTo>
                  <a:pt x="46975" y="153571"/>
                </a:lnTo>
                <a:lnTo>
                  <a:pt x="52097" y="135039"/>
                </a:lnTo>
                <a:lnTo>
                  <a:pt x="38480" y="112059"/>
                </a:lnTo>
                <a:lnTo>
                  <a:pt x="10869" y="86360"/>
                </a:lnTo>
                <a:lnTo>
                  <a:pt x="0" y="50161"/>
                </a:lnTo>
                <a:lnTo>
                  <a:pt x="13993" y="35088"/>
                </a:lnTo>
                <a:lnTo>
                  <a:pt x="8246" y="18038"/>
                </a:lnTo>
                <a:close/>
              </a:path>
            </a:pathLst>
          </a:custGeom>
          <a:solidFill>
            <a:schemeClr val="bg2"/>
          </a:solidFill>
          <a:ln w="7112" cap="flat">
            <a:solidFill>
              <a:schemeClr val="accent4"/>
            </a:solidFill>
            <a:prstDash val="solid"/>
            <a:miter/>
          </a:ln>
        </p:spPr>
        <p:txBody>
          <a:bodyPr rtlCol="0" anchor="ctr"/>
          <a:lstStyle/>
          <a:p>
            <a:endParaRPr lang="en-GB"/>
          </a:p>
        </p:txBody>
      </p:sp>
      <p:sp>
        <p:nvSpPr>
          <p:cNvPr id="30" name="Graphic 143">
            <a:extLst>
              <a:ext uri="{FF2B5EF4-FFF2-40B4-BE49-F238E27FC236}">
                <a16:creationId xmlns:a16="http://schemas.microsoft.com/office/drawing/2014/main" id="{2E4CD32D-D55E-8CDD-6B98-13713751A430}"/>
              </a:ext>
            </a:extLst>
          </p:cNvPr>
          <p:cNvSpPr/>
          <p:nvPr/>
        </p:nvSpPr>
        <p:spPr>
          <a:xfrm rot="1141104">
            <a:off x="7685498" y="3310368"/>
            <a:ext cx="457633" cy="207931"/>
          </a:xfrm>
          <a:custGeom>
            <a:avLst/>
            <a:gdLst>
              <a:gd name="connsiteX0" fmla="*/ 7121 w 457633"/>
              <a:gd name="connsiteY0" fmla="*/ 170991 h 207931"/>
              <a:gd name="connsiteX1" fmla="*/ 69963 w 457633"/>
              <a:gd name="connsiteY1" fmla="*/ 203360 h 207931"/>
              <a:gd name="connsiteX2" fmla="*/ 102571 w 457633"/>
              <a:gd name="connsiteY2" fmla="*/ 207932 h 207931"/>
              <a:gd name="connsiteX3" fmla="*/ 133180 w 457633"/>
              <a:gd name="connsiteY3" fmla="*/ 196071 h 207931"/>
              <a:gd name="connsiteX4" fmla="*/ 181904 w 457633"/>
              <a:gd name="connsiteY4" fmla="*/ 189399 h 207931"/>
              <a:gd name="connsiteX5" fmla="*/ 183778 w 457633"/>
              <a:gd name="connsiteY5" fmla="*/ 172350 h 207931"/>
              <a:gd name="connsiteX6" fmla="*/ 209265 w 457633"/>
              <a:gd name="connsiteY6" fmla="*/ 162713 h 207931"/>
              <a:gd name="connsiteX7" fmla="*/ 237874 w 457633"/>
              <a:gd name="connsiteY7" fmla="*/ 136644 h 207931"/>
              <a:gd name="connsiteX8" fmla="*/ 264860 w 457633"/>
              <a:gd name="connsiteY8" fmla="*/ 162342 h 207931"/>
              <a:gd name="connsiteX9" fmla="*/ 266110 w 457633"/>
              <a:gd name="connsiteY9" fmla="*/ 145293 h 207931"/>
              <a:gd name="connsiteX10" fmla="*/ 281976 w 457633"/>
              <a:gd name="connsiteY10" fmla="*/ 131455 h 207931"/>
              <a:gd name="connsiteX11" fmla="*/ 296843 w 457633"/>
              <a:gd name="connsiteY11" fmla="*/ 106622 h 207931"/>
              <a:gd name="connsiteX12" fmla="*/ 327077 w 457633"/>
              <a:gd name="connsiteY12" fmla="*/ 102669 h 207931"/>
              <a:gd name="connsiteX13" fmla="*/ 348441 w 457633"/>
              <a:gd name="connsiteY13" fmla="*/ 107734 h 207931"/>
              <a:gd name="connsiteX14" fmla="*/ 385422 w 457633"/>
              <a:gd name="connsiteY14" fmla="*/ 103533 h 207931"/>
              <a:gd name="connsiteX15" fmla="*/ 414156 w 457633"/>
              <a:gd name="connsiteY15" fmla="*/ 108846 h 207931"/>
              <a:gd name="connsiteX16" fmla="*/ 437894 w 457633"/>
              <a:gd name="connsiteY16" fmla="*/ 92043 h 207931"/>
              <a:gd name="connsiteX17" fmla="*/ 440517 w 457633"/>
              <a:gd name="connsiteY17" fmla="*/ 61156 h 207931"/>
              <a:gd name="connsiteX18" fmla="*/ 457633 w 457633"/>
              <a:gd name="connsiteY18" fmla="*/ 20633 h 207931"/>
              <a:gd name="connsiteX19" fmla="*/ 455385 w 457633"/>
              <a:gd name="connsiteY19" fmla="*/ 20633 h 207931"/>
              <a:gd name="connsiteX20" fmla="*/ 416155 w 457633"/>
              <a:gd name="connsiteY20" fmla="*/ 0 h 207931"/>
              <a:gd name="connsiteX21" fmla="*/ 381674 w 457633"/>
              <a:gd name="connsiteY21" fmla="*/ 247 h 207931"/>
              <a:gd name="connsiteX22" fmla="*/ 370305 w 457633"/>
              <a:gd name="connsiteY22" fmla="*/ 5930 h 207931"/>
              <a:gd name="connsiteX23" fmla="*/ 355812 w 457633"/>
              <a:gd name="connsiteY23" fmla="*/ 0 h 207931"/>
              <a:gd name="connsiteX24" fmla="*/ 340945 w 457633"/>
              <a:gd name="connsiteY24" fmla="*/ 2595 h 207931"/>
              <a:gd name="connsiteX25" fmla="*/ 329826 w 457633"/>
              <a:gd name="connsiteY25" fmla="*/ 14826 h 207931"/>
              <a:gd name="connsiteX26" fmla="*/ 316583 w 457633"/>
              <a:gd name="connsiteY26" fmla="*/ 6548 h 207931"/>
              <a:gd name="connsiteX27" fmla="*/ 294719 w 457633"/>
              <a:gd name="connsiteY27" fmla="*/ 7536 h 207931"/>
              <a:gd name="connsiteX28" fmla="*/ 280477 w 457633"/>
              <a:gd name="connsiteY28" fmla="*/ 6425 h 207931"/>
              <a:gd name="connsiteX29" fmla="*/ 266110 w 457633"/>
              <a:gd name="connsiteY29" fmla="*/ 11984 h 207931"/>
              <a:gd name="connsiteX30" fmla="*/ 255865 w 457633"/>
              <a:gd name="connsiteY30" fmla="*/ 28910 h 207931"/>
              <a:gd name="connsiteX31" fmla="*/ 238624 w 457633"/>
              <a:gd name="connsiteY31" fmla="*/ 30269 h 207931"/>
              <a:gd name="connsiteX32" fmla="*/ 233627 w 457633"/>
              <a:gd name="connsiteY32" fmla="*/ 27798 h 207931"/>
              <a:gd name="connsiteX33" fmla="*/ 233877 w 457633"/>
              <a:gd name="connsiteY33" fmla="*/ 28787 h 207931"/>
              <a:gd name="connsiteX34" fmla="*/ 191274 w 457633"/>
              <a:gd name="connsiteY34" fmla="*/ 26563 h 207931"/>
              <a:gd name="connsiteX35" fmla="*/ 172284 w 457633"/>
              <a:gd name="connsiteY35" fmla="*/ 45095 h 207931"/>
              <a:gd name="connsiteX36" fmla="*/ 149296 w 457633"/>
              <a:gd name="connsiteY36" fmla="*/ 48060 h 207931"/>
              <a:gd name="connsiteX37" fmla="*/ 124559 w 457633"/>
              <a:gd name="connsiteY37" fmla="*/ 74623 h 207931"/>
              <a:gd name="connsiteX38" fmla="*/ 91077 w 457633"/>
              <a:gd name="connsiteY38" fmla="*/ 80677 h 207931"/>
              <a:gd name="connsiteX39" fmla="*/ 56595 w 457633"/>
              <a:gd name="connsiteY39" fmla="*/ 94638 h 207931"/>
              <a:gd name="connsiteX40" fmla="*/ 47725 w 457633"/>
              <a:gd name="connsiteY40" fmla="*/ 87719 h 207931"/>
              <a:gd name="connsiteX41" fmla="*/ 26486 w 457633"/>
              <a:gd name="connsiteY41" fmla="*/ 89325 h 207931"/>
              <a:gd name="connsiteX42" fmla="*/ 5372 w 457633"/>
              <a:gd name="connsiteY42" fmla="*/ 104645 h 207931"/>
              <a:gd name="connsiteX43" fmla="*/ 750 w 457633"/>
              <a:gd name="connsiteY43" fmla="*/ 103781 h 207931"/>
              <a:gd name="connsiteX44" fmla="*/ 0 w 457633"/>
              <a:gd name="connsiteY44" fmla="*/ 132814 h 207931"/>
              <a:gd name="connsiteX45" fmla="*/ 7121 w 457633"/>
              <a:gd name="connsiteY45" fmla="*/ 170991 h 20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57633" h="207931">
                <a:moveTo>
                  <a:pt x="7121" y="170991"/>
                </a:moveTo>
                <a:lnTo>
                  <a:pt x="69963" y="203360"/>
                </a:lnTo>
                <a:lnTo>
                  <a:pt x="102571" y="207932"/>
                </a:lnTo>
                <a:lnTo>
                  <a:pt x="133180" y="196071"/>
                </a:lnTo>
                <a:lnTo>
                  <a:pt x="181904" y="189399"/>
                </a:lnTo>
                <a:lnTo>
                  <a:pt x="183778" y="172350"/>
                </a:lnTo>
                <a:lnTo>
                  <a:pt x="209265" y="162713"/>
                </a:lnTo>
                <a:lnTo>
                  <a:pt x="237874" y="136644"/>
                </a:lnTo>
                <a:lnTo>
                  <a:pt x="264860" y="162342"/>
                </a:lnTo>
                <a:lnTo>
                  <a:pt x="266110" y="145293"/>
                </a:lnTo>
                <a:lnTo>
                  <a:pt x="281976" y="131455"/>
                </a:lnTo>
                <a:lnTo>
                  <a:pt x="296843" y="106622"/>
                </a:lnTo>
                <a:lnTo>
                  <a:pt x="327077" y="102669"/>
                </a:lnTo>
                <a:lnTo>
                  <a:pt x="348441" y="107734"/>
                </a:lnTo>
                <a:lnTo>
                  <a:pt x="385422" y="103533"/>
                </a:lnTo>
                <a:lnTo>
                  <a:pt x="414156" y="108846"/>
                </a:lnTo>
                <a:lnTo>
                  <a:pt x="437894" y="92043"/>
                </a:lnTo>
                <a:lnTo>
                  <a:pt x="440517" y="61156"/>
                </a:lnTo>
                <a:lnTo>
                  <a:pt x="457633" y="20633"/>
                </a:lnTo>
                <a:lnTo>
                  <a:pt x="455385" y="20633"/>
                </a:lnTo>
                <a:lnTo>
                  <a:pt x="416155" y="0"/>
                </a:lnTo>
                <a:lnTo>
                  <a:pt x="381674" y="247"/>
                </a:lnTo>
                <a:lnTo>
                  <a:pt x="370305" y="5930"/>
                </a:lnTo>
                <a:lnTo>
                  <a:pt x="355812" y="0"/>
                </a:lnTo>
                <a:lnTo>
                  <a:pt x="340945" y="2595"/>
                </a:lnTo>
                <a:lnTo>
                  <a:pt x="329826" y="14826"/>
                </a:lnTo>
                <a:lnTo>
                  <a:pt x="316583" y="6548"/>
                </a:lnTo>
                <a:lnTo>
                  <a:pt x="294719" y="7536"/>
                </a:lnTo>
                <a:lnTo>
                  <a:pt x="280477" y="6425"/>
                </a:lnTo>
                <a:lnTo>
                  <a:pt x="266110" y="11984"/>
                </a:lnTo>
                <a:lnTo>
                  <a:pt x="255865" y="28910"/>
                </a:lnTo>
                <a:lnTo>
                  <a:pt x="238624" y="30269"/>
                </a:lnTo>
                <a:lnTo>
                  <a:pt x="233627" y="27798"/>
                </a:lnTo>
                <a:lnTo>
                  <a:pt x="233877" y="28787"/>
                </a:lnTo>
                <a:lnTo>
                  <a:pt x="191274" y="26563"/>
                </a:lnTo>
                <a:lnTo>
                  <a:pt x="172284" y="45095"/>
                </a:lnTo>
                <a:lnTo>
                  <a:pt x="149296" y="48060"/>
                </a:lnTo>
                <a:lnTo>
                  <a:pt x="124559" y="74623"/>
                </a:lnTo>
                <a:lnTo>
                  <a:pt x="91077" y="80677"/>
                </a:lnTo>
                <a:lnTo>
                  <a:pt x="56595" y="94638"/>
                </a:lnTo>
                <a:lnTo>
                  <a:pt x="47725" y="87719"/>
                </a:lnTo>
                <a:lnTo>
                  <a:pt x="26486" y="89325"/>
                </a:lnTo>
                <a:lnTo>
                  <a:pt x="5372" y="104645"/>
                </a:lnTo>
                <a:lnTo>
                  <a:pt x="750" y="103781"/>
                </a:lnTo>
                <a:lnTo>
                  <a:pt x="0" y="132814"/>
                </a:lnTo>
                <a:lnTo>
                  <a:pt x="7121" y="170991"/>
                </a:lnTo>
                <a:close/>
              </a:path>
            </a:pathLst>
          </a:custGeom>
          <a:solidFill>
            <a:schemeClr val="bg2"/>
          </a:solidFill>
          <a:ln w="7088" cap="flat">
            <a:solidFill>
              <a:schemeClr val="accent4"/>
            </a:solidFill>
            <a:prstDash val="solid"/>
            <a:miter/>
          </a:ln>
        </p:spPr>
        <p:txBody>
          <a:bodyPr rtlCol="0" anchor="ctr"/>
          <a:lstStyle/>
          <a:p>
            <a:endParaRPr lang="en-GB"/>
          </a:p>
        </p:txBody>
      </p:sp>
      <p:sp>
        <p:nvSpPr>
          <p:cNvPr id="47" name="Graphic 117">
            <a:extLst>
              <a:ext uri="{FF2B5EF4-FFF2-40B4-BE49-F238E27FC236}">
                <a16:creationId xmlns:a16="http://schemas.microsoft.com/office/drawing/2014/main" id="{3E878941-C758-6F30-6DF9-3A333BA9F0DE}"/>
              </a:ext>
            </a:extLst>
          </p:cNvPr>
          <p:cNvSpPr/>
          <p:nvPr/>
        </p:nvSpPr>
        <p:spPr>
          <a:xfrm rot="1141104">
            <a:off x="9441505" y="4548042"/>
            <a:ext cx="596053" cy="241435"/>
          </a:xfrm>
          <a:custGeom>
            <a:avLst/>
            <a:gdLst>
              <a:gd name="connsiteX0" fmla="*/ 6181 w 596053"/>
              <a:gd name="connsiteY0" fmla="*/ 10890 h 241435"/>
              <a:gd name="connsiteX1" fmla="*/ 5315 w 596053"/>
              <a:gd name="connsiteY1" fmla="*/ 3678 h 241435"/>
              <a:gd name="connsiteX2" fmla="*/ 15699 w 596053"/>
              <a:gd name="connsiteY2" fmla="*/ 10 h 241435"/>
              <a:gd name="connsiteX3" fmla="*/ 20643 w 596053"/>
              <a:gd name="connsiteY3" fmla="*/ 499 h 241435"/>
              <a:gd name="connsiteX4" fmla="*/ 34240 w 596053"/>
              <a:gd name="connsiteY4" fmla="*/ 4533 h 241435"/>
              <a:gd name="connsiteX5" fmla="*/ 43264 w 596053"/>
              <a:gd name="connsiteY5" fmla="*/ 5878 h 241435"/>
              <a:gd name="connsiteX6" fmla="*/ 47961 w 596053"/>
              <a:gd name="connsiteY6" fmla="*/ 744 h 241435"/>
              <a:gd name="connsiteX7" fmla="*/ 55378 w 596053"/>
              <a:gd name="connsiteY7" fmla="*/ 3800 h 241435"/>
              <a:gd name="connsiteX8" fmla="*/ 64154 w 596053"/>
              <a:gd name="connsiteY8" fmla="*/ 6978 h 241435"/>
              <a:gd name="connsiteX9" fmla="*/ 78246 w 596053"/>
              <a:gd name="connsiteY9" fmla="*/ 14068 h 241435"/>
              <a:gd name="connsiteX10" fmla="*/ 88258 w 596053"/>
              <a:gd name="connsiteY10" fmla="*/ 13579 h 241435"/>
              <a:gd name="connsiteX11" fmla="*/ 91225 w 596053"/>
              <a:gd name="connsiteY11" fmla="*/ 13701 h 241435"/>
              <a:gd name="connsiteX12" fmla="*/ 99013 w 596053"/>
              <a:gd name="connsiteY12" fmla="*/ 17002 h 241435"/>
              <a:gd name="connsiteX13" fmla="*/ 100249 w 596053"/>
              <a:gd name="connsiteY13" fmla="*/ 17369 h 241435"/>
              <a:gd name="connsiteX14" fmla="*/ 107295 w 596053"/>
              <a:gd name="connsiteY14" fmla="*/ 15046 h 241435"/>
              <a:gd name="connsiteX15" fmla="*/ 111745 w 596053"/>
              <a:gd name="connsiteY15" fmla="*/ 20914 h 241435"/>
              <a:gd name="connsiteX16" fmla="*/ 117554 w 596053"/>
              <a:gd name="connsiteY16" fmla="*/ 21769 h 241435"/>
              <a:gd name="connsiteX17" fmla="*/ 122746 w 596053"/>
              <a:gd name="connsiteY17" fmla="*/ 26414 h 241435"/>
              <a:gd name="connsiteX18" fmla="*/ 130410 w 596053"/>
              <a:gd name="connsiteY18" fmla="*/ 23603 h 241435"/>
              <a:gd name="connsiteX19" fmla="*/ 139804 w 596053"/>
              <a:gd name="connsiteY19" fmla="*/ 26903 h 241435"/>
              <a:gd name="connsiteX20" fmla="*/ 147468 w 596053"/>
              <a:gd name="connsiteY20" fmla="*/ 24092 h 241435"/>
              <a:gd name="connsiteX21" fmla="*/ 155132 w 596053"/>
              <a:gd name="connsiteY21" fmla="*/ 26048 h 241435"/>
              <a:gd name="connsiteX22" fmla="*/ 159211 w 596053"/>
              <a:gd name="connsiteY22" fmla="*/ 25681 h 241435"/>
              <a:gd name="connsiteX23" fmla="*/ 166999 w 596053"/>
              <a:gd name="connsiteY23" fmla="*/ 21647 h 241435"/>
              <a:gd name="connsiteX24" fmla="*/ 180720 w 596053"/>
              <a:gd name="connsiteY24" fmla="*/ 17857 h 241435"/>
              <a:gd name="connsiteX25" fmla="*/ 198643 w 596053"/>
              <a:gd name="connsiteY25" fmla="*/ 26170 h 241435"/>
              <a:gd name="connsiteX26" fmla="*/ 213477 w 596053"/>
              <a:gd name="connsiteY26" fmla="*/ 19324 h 241435"/>
              <a:gd name="connsiteX27" fmla="*/ 227815 w 596053"/>
              <a:gd name="connsiteY27" fmla="*/ 24581 h 241435"/>
              <a:gd name="connsiteX28" fmla="*/ 235603 w 596053"/>
              <a:gd name="connsiteY28" fmla="*/ 34604 h 241435"/>
              <a:gd name="connsiteX29" fmla="*/ 249942 w 596053"/>
              <a:gd name="connsiteY29" fmla="*/ 40472 h 241435"/>
              <a:gd name="connsiteX30" fmla="*/ 274170 w 596053"/>
              <a:gd name="connsiteY30" fmla="*/ 45851 h 241435"/>
              <a:gd name="connsiteX31" fmla="*/ 284677 w 596053"/>
              <a:gd name="connsiteY31" fmla="*/ 50618 h 241435"/>
              <a:gd name="connsiteX32" fmla="*/ 296296 w 596053"/>
              <a:gd name="connsiteY32" fmla="*/ 52329 h 241435"/>
              <a:gd name="connsiteX33" fmla="*/ 295802 w 596053"/>
              <a:gd name="connsiteY33" fmla="*/ 56119 h 241435"/>
              <a:gd name="connsiteX34" fmla="*/ 290981 w 596053"/>
              <a:gd name="connsiteY34" fmla="*/ 62475 h 241435"/>
              <a:gd name="connsiteX35" fmla="*/ 294195 w 596053"/>
              <a:gd name="connsiteY35" fmla="*/ 66754 h 241435"/>
              <a:gd name="connsiteX36" fmla="*/ 299386 w 596053"/>
              <a:gd name="connsiteY36" fmla="*/ 67487 h 241435"/>
              <a:gd name="connsiteX37" fmla="*/ 306803 w 596053"/>
              <a:gd name="connsiteY37" fmla="*/ 70543 h 241435"/>
              <a:gd name="connsiteX38" fmla="*/ 312242 w 596053"/>
              <a:gd name="connsiteY38" fmla="*/ 69321 h 241435"/>
              <a:gd name="connsiteX39" fmla="*/ 315209 w 596053"/>
              <a:gd name="connsiteY39" fmla="*/ 62720 h 241435"/>
              <a:gd name="connsiteX40" fmla="*/ 325221 w 596053"/>
              <a:gd name="connsiteY40" fmla="*/ 62231 h 241435"/>
              <a:gd name="connsiteX41" fmla="*/ 329918 w 596053"/>
              <a:gd name="connsiteY41" fmla="*/ 57097 h 241435"/>
              <a:gd name="connsiteX42" fmla="*/ 330660 w 596053"/>
              <a:gd name="connsiteY42" fmla="*/ 52085 h 241435"/>
              <a:gd name="connsiteX43" fmla="*/ 340302 w 596053"/>
              <a:gd name="connsiteY43" fmla="*/ 49640 h 241435"/>
              <a:gd name="connsiteX44" fmla="*/ 352045 w 596053"/>
              <a:gd name="connsiteY44" fmla="*/ 46217 h 241435"/>
              <a:gd name="connsiteX45" fmla="*/ 370463 w 596053"/>
              <a:gd name="connsiteY45" fmla="*/ 50740 h 241435"/>
              <a:gd name="connsiteX46" fmla="*/ 371946 w 596053"/>
              <a:gd name="connsiteY46" fmla="*/ 54163 h 241435"/>
              <a:gd name="connsiteX47" fmla="*/ 374295 w 596053"/>
              <a:gd name="connsiteY47" fmla="*/ 38394 h 241435"/>
              <a:gd name="connsiteX48" fmla="*/ 385420 w 596053"/>
              <a:gd name="connsiteY48" fmla="*/ 43895 h 241435"/>
              <a:gd name="connsiteX49" fmla="*/ 400253 w 596053"/>
              <a:gd name="connsiteY49" fmla="*/ 45973 h 241435"/>
              <a:gd name="connsiteX50" fmla="*/ 401984 w 596053"/>
              <a:gd name="connsiteY50" fmla="*/ 45728 h 241435"/>
              <a:gd name="connsiteX51" fmla="*/ 401984 w 596053"/>
              <a:gd name="connsiteY51" fmla="*/ 48051 h 241435"/>
              <a:gd name="connsiteX52" fmla="*/ 418053 w 596053"/>
              <a:gd name="connsiteY52" fmla="*/ 55508 h 241435"/>
              <a:gd name="connsiteX53" fmla="*/ 422132 w 596053"/>
              <a:gd name="connsiteY53" fmla="*/ 56974 h 241435"/>
              <a:gd name="connsiteX54" fmla="*/ 427077 w 596053"/>
              <a:gd name="connsiteY54" fmla="*/ 56730 h 241435"/>
              <a:gd name="connsiteX55" fmla="*/ 435730 w 596053"/>
              <a:gd name="connsiteY55" fmla="*/ 57463 h 241435"/>
              <a:gd name="connsiteX56" fmla="*/ 443764 w 596053"/>
              <a:gd name="connsiteY56" fmla="*/ 59175 h 241435"/>
              <a:gd name="connsiteX57" fmla="*/ 440056 w 596053"/>
              <a:gd name="connsiteY57" fmla="*/ 84356 h 241435"/>
              <a:gd name="connsiteX58" fmla="*/ 447349 w 596053"/>
              <a:gd name="connsiteY58" fmla="*/ 88635 h 241435"/>
              <a:gd name="connsiteX59" fmla="*/ 459710 w 596053"/>
              <a:gd name="connsiteY59" fmla="*/ 94258 h 241435"/>
              <a:gd name="connsiteX60" fmla="*/ 466385 w 596053"/>
              <a:gd name="connsiteY60" fmla="*/ 102326 h 241435"/>
              <a:gd name="connsiteX61" fmla="*/ 474791 w 596053"/>
              <a:gd name="connsiteY61" fmla="*/ 103548 h 241435"/>
              <a:gd name="connsiteX62" fmla="*/ 485421 w 596053"/>
              <a:gd name="connsiteY62" fmla="*/ 107093 h 241435"/>
              <a:gd name="connsiteX63" fmla="*/ 494074 w 596053"/>
              <a:gd name="connsiteY63" fmla="*/ 104037 h 241435"/>
              <a:gd name="connsiteX64" fmla="*/ 495681 w 596053"/>
              <a:gd name="connsiteY64" fmla="*/ 104648 h 241435"/>
              <a:gd name="connsiteX65" fmla="*/ 505817 w 596053"/>
              <a:gd name="connsiteY65" fmla="*/ 111860 h 241435"/>
              <a:gd name="connsiteX66" fmla="*/ 518055 w 596053"/>
              <a:gd name="connsiteY66" fmla="*/ 122618 h 241435"/>
              <a:gd name="connsiteX67" fmla="*/ 520527 w 596053"/>
              <a:gd name="connsiteY67" fmla="*/ 132641 h 241435"/>
              <a:gd name="connsiteX68" fmla="*/ 521516 w 596053"/>
              <a:gd name="connsiteY68" fmla="*/ 134719 h 241435"/>
              <a:gd name="connsiteX69" fmla="*/ 524977 w 596053"/>
              <a:gd name="connsiteY69" fmla="*/ 137775 h 241435"/>
              <a:gd name="connsiteX70" fmla="*/ 535484 w 596053"/>
              <a:gd name="connsiteY70" fmla="*/ 147066 h 241435"/>
              <a:gd name="connsiteX71" fmla="*/ 546114 w 596053"/>
              <a:gd name="connsiteY71" fmla="*/ 160145 h 241435"/>
              <a:gd name="connsiteX72" fmla="*/ 558723 w 596053"/>
              <a:gd name="connsiteY72" fmla="*/ 171269 h 241435"/>
              <a:gd name="connsiteX73" fmla="*/ 582580 w 596053"/>
              <a:gd name="connsiteY73" fmla="*/ 184227 h 241435"/>
              <a:gd name="connsiteX74" fmla="*/ 596053 w 596053"/>
              <a:gd name="connsiteY74" fmla="*/ 201340 h 241435"/>
              <a:gd name="connsiteX75" fmla="*/ 592716 w 596053"/>
              <a:gd name="connsiteY75" fmla="*/ 233612 h 241435"/>
              <a:gd name="connsiteX76" fmla="*/ 559588 w 596053"/>
              <a:gd name="connsiteY76" fmla="*/ 219188 h 241435"/>
              <a:gd name="connsiteX77" fmla="*/ 524977 w 596053"/>
              <a:gd name="connsiteY77" fmla="*/ 219188 h 241435"/>
              <a:gd name="connsiteX78" fmla="*/ 472689 w 596053"/>
              <a:gd name="connsiteY78" fmla="*/ 192784 h 241435"/>
              <a:gd name="connsiteX79" fmla="*/ 439191 w 596053"/>
              <a:gd name="connsiteY79" fmla="*/ 207208 h 241435"/>
              <a:gd name="connsiteX80" fmla="*/ 438325 w 596053"/>
              <a:gd name="connsiteY80" fmla="*/ 221388 h 241435"/>
              <a:gd name="connsiteX81" fmla="*/ 433010 w 596053"/>
              <a:gd name="connsiteY81" fmla="*/ 217965 h 241435"/>
              <a:gd name="connsiteX82" fmla="*/ 381959 w 596053"/>
              <a:gd name="connsiteY82" fmla="*/ 221388 h 241435"/>
              <a:gd name="connsiteX83" fmla="*/ 370463 w 596053"/>
              <a:gd name="connsiteY83" fmla="*/ 219432 h 241435"/>
              <a:gd name="connsiteX84" fmla="*/ 329548 w 596053"/>
              <a:gd name="connsiteY84" fmla="*/ 230189 h 241435"/>
              <a:gd name="connsiteX85" fmla="*/ 301735 w 596053"/>
              <a:gd name="connsiteY85" fmla="*/ 241435 h 241435"/>
              <a:gd name="connsiteX86" fmla="*/ 283935 w 596053"/>
              <a:gd name="connsiteY86" fmla="*/ 236301 h 241435"/>
              <a:gd name="connsiteX87" fmla="*/ 244627 w 596053"/>
              <a:gd name="connsiteY87" fmla="*/ 206230 h 241435"/>
              <a:gd name="connsiteX88" fmla="*/ 229175 w 596053"/>
              <a:gd name="connsiteY88" fmla="*/ 203296 h 241435"/>
              <a:gd name="connsiteX89" fmla="*/ 217432 w 596053"/>
              <a:gd name="connsiteY89" fmla="*/ 214054 h 241435"/>
              <a:gd name="connsiteX90" fmla="*/ 205813 w 596053"/>
              <a:gd name="connsiteY90" fmla="*/ 216987 h 241435"/>
              <a:gd name="connsiteX91" fmla="*/ 181338 w 596053"/>
              <a:gd name="connsiteY91" fmla="*/ 209653 h 241435"/>
              <a:gd name="connsiteX92" fmla="*/ 174168 w 596053"/>
              <a:gd name="connsiteY92" fmla="*/ 219799 h 241435"/>
              <a:gd name="connsiteX93" fmla="*/ 163908 w 596053"/>
              <a:gd name="connsiteY93" fmla="*/ 217598 h 241435"/>
              <a:gd name="connsiteX94" fmla="*/ 158593 w 596053"/>
              <a:gd name="connsiteY94" fmla="*/ 201340 h 241435"/>
              <a:gd name="connsiteX95" fmla="*/ 147097 w 596053"/>
              <a:gd name="connsiteY95" fmla="*/ 200118 h 241435"/>
              <a:gd name="connsiteX96" fmla="*/ 149570 w 596053"/>
              <a:gd name="connsiteY96" fmla="*/ 196329 h 241435"/>
              <a:gd name="connsiteX97" fmla="*/ 144749 w 596053"/>
              <a:gd name="connsiteY97" fmla="*/ 180926 h 241435"/>
              <a:gd name="connsiteX98" fmla="*/ 150558 w 596053"/>
              <a:gd name="connsiteY98" fmla="*/ 170414 h 241435"/>
              <a:gd name="connsiteX99" fmla="*/ 133500 w 596053"/>
              <a:gd name="connsiteY99" fmla="*/ 142543 h 241435"/>
              <a:gd name="connsiteX100" fmla="*/ 127072 w 596053"/>
              <a:gd name="connsiteY100" fmla="*/ 105382 h 241435"/>
              <a:gd name="connsiteX101" fmla="*/ 94933 w 596053"/>
              <a:gd name="connsiteY101" fmla="*/ 63209 h 241435"/>
              <a:gd name="connsiteX102" fmla="*/ 72807 w 596053"/>
              <a:gd name="connsiteY102" fmla="*/ 61375 h 241435"/>
              <a:gd name="connsiteX103" fmla="*/ 71076 w 596053"/>
              <a:gd name="connsiteY103" fmla="*/ 50496 h 241435"/>
              <a:gd name="connsiteX104" fmla="*/ 46849 w 596053"/>
              <a:gd name="connsiteY104" fmla="*/ 31182 h 241435"/>
              <a:gd name="connsiteX105" fmla="*/ 38072 w 596053"/>
              <a:gd name="connsiteY105" fmla="*/ 37294 h 241435"/>
              <a:gd name="connsiteX106" fmla="*/ 28307 w 596053"/>
              <a:gd name="connsiteY106" fmla="*/ 33382 h 241435"/>
              <a:gd name="connsiteX107" fmla="*/ 10383 w 596053"/>
              <a:gd name="connsiteY107" fmla="*/ 31426 h 241435"/>
              <a:gd name="connsiteX108" fmla="*/ 0 w 596053"/>
              <a:gd name="connsiteY108" fmla="*/ 17735 h 241435"/>
              <a:gd name="connsiteX109" fmla="*/ 6181 w 596053"/>
              <a:gd name="connsiteY109" fmla="*/ 10890 h 2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596053" h="241435">
                <a:moveTo>
                  <a:pt x="6181" y="10890"/>
                </a:moveTo>
                <a:cubicBezTo>
                  <a:pt x="5068" y="5633"/>
                  <a:pt x="3708" y="5389"/>
                  <a:pt x="5315" y="3678"/>
                </a:cubicBezTo>
                <a:cubicBezTo>
                  <a:pt x="7169" y="3922"/>
                  <a:pt x="13844" y="-234"/>
                  <a:pt x="15699" y="10"/>
                </a:cubicBezTo>
                <a:cubicBezTo>
                  <a:pt x="17306" y="10"/>
                  <a:pt x="19036" y="255"/>
                  <a:pt x="20643" y="499"/>
                </a:cubicBezTo>
                <a:cubicBezTo>
                  <a:pt x="25464" y="1233"/>
                  <a:pt x="30038" y="2577"/>
                  <a:pt x="34240" y="4533"/>
                </a:cubicBezTo>
                <a:lnTo>
                  <a:pt x="43264" y="5878"/>
                </a:lnTo>
                <a:lnTo>
                  <a:pt x="47961" y="744"/>
                </a:lnTo>
                <a:lnTo>
                  <a:pt x="55378" y="3800"/>
                </a:lnTo>
                <a:lnTo>
                  <a:pt x="64154" y="6978"/>
                </a:lnTo>
                <a:lnTo>
                  <a:pt x="78246" y="14068"/>
                </a:lnTo>
                <a:cubicBezTo>
                  <a:pt x="81583" y="14068"/>
                  <a:pt x="84921" y="13824"/>
                  <a:pt x="88258" y="13579"/>
                </a:cubicBezTo>
                <a:cubicBezTo>
                  <a:pt x="89247" y="13579"/>
                  <a:pt x="90236" y="13579"/>
                  <a:pt x="91225" y="13701"/>
                </a:cubicBezTo>
                <a:cubicBezTo>
                  <a:pt x="94068" y="14068"/>
                  <a:pt x="96788" y="15290"/>
                  <a:pt x="99013" y="17002"/>
                </a:cubicBezTo>
                <a:cubicBezTo>
                  <a:pt x="99383" y="17246"/>
                  <a:pt x="99754" y="17246"/>
                  <a:pt x="100249" y="17369"/>
                </a:cubicBezTo>
                <a:cubicBezTo>
                  <a:pt x="102968" y="17735"/>
                  <a:pt x="105317" y="16391"/>
                  <a:pt x="107295" y="15046"/>
                </a:cubicBezTo>
                <a:lnTo>
                  <a:pt x="111745" y="20914"/>
                </a:lnTo>
                <a:lnTo>
                  <a:pt x="117554" y="21769"/>
                </a:lnTo>
                <a:cubicBezTo>
                  <a:pt x="118543" y="23847"/>
                  <a:pt x="120274" y="25314"/>
                  <a:pt x="122746" y="26414"/>
                </a:cubicBezTo>
                <a:cubicBezTo>
                  <a:pt x="125465" y="26170"/>
                  <a:pt x="128185" y="25192"/>
                  <a:pt x="130410" y="23603"/>
                </a:cubicBezTo>
                <a:cubicBezTo>
                  <a:pt x="134365" y="24214"/>
                  <a:pt x="135972" y="26292"/>
                  <a:pt x="139804" y="26903"/>
                </a:cubicBezTo>
                <a:cubicBezTo>
                  <a:pt x="142400" y="27270"/>
                  <a:pt x="145738" y="26537"/>
                  <a:pt x="147468" y="24092"/>
                </a:cubicBezTo>
                <a:cubicBezTo>
                  <a:pt x="150064" y="24458"/>
                  <a:pt x="152536" y="25681"/>
                  <a:pt x="155132" y="26048"/>
                </a:cubicBezTo>
                <a:cubicBezTo>
                  <a:pt x="156492" y="26292"/>
                  <a:pt x="157728" y="26170"/>
                  <a:pt x="159211" y="25681"/>
                </a:cubicBezTo>
                <a:cubicBezTo>
                  <a:pt x="161189" y="25925"/>
                  <a:pt x="165021" y="21402"/>
                  <a:pt x="166999" y="21647"/>
                </a:cubicBezTo>
                <a:cubicBezTo>
                  <a:pt x="171943" y="19813"/>
                  <a:pt x="176640" y="19202"/>
                  <a:pt x="180720" y="17857"/>
                </a:cubicBezTo>
                <a:cubicBezTo>
                  <a:pt x="187024" y="19936"/>
                  <a:pt x="193081" y="22869"/>
                  <a:pt x="198643" y="26170"/>
                </a:cubicBezTo>
                <a:lnTo>
                  <a:pt x="213477" y="19324"/>
                </a:lnTo>
                <a:lnTo>
                  <a:pt x="227815" y="24581"/>
                </a:lnTo>
                <a:lnTo>
                  <a:pt x="235603" y="34604"/>
                </a:lnTo>
                <a:lnTo>
                  <a:pt x="249942" y="40472"/>
                </a:lnTo>
                <a:lnTo>
                  <a:pt x="274170" y="45851"/>
                </a:lnTo>
                <a:lnTo>
                  <a:pt x="284677" y="50618"/>
                </a:lnTo>
                <a:lnTo>
                  <a:pt x="296296" y="52329"/>
                </a:lnTo>
                <a:lnTo>
                  <a:pt x="295802" y="56119"/>
                </a:lnTo>
                <a:lnTo>
                  <a:pt x="290981" y="62475"/>
                </a:lnTo>
                <a:lnTo>
                  <a:pt x="294195" y="66754"/>
                </a:lnTo>
                <a:lnTo>
                  <a:pt x="299386" y="67487"/>
                </a:lnTo>
                <a:lnTo>
                  <a:pt x="306803" y="70543"/>
                </a:lnTo>
                <a:cubicBezTo>
                  <a:pt x="308781" y="70788"/>
                  <a:pt x="310759" y="70543"/>
                  <a:pt x="312242" y="69321"/>
                </a:cubicBezTo>
                <a:cubicBezTo>
                  <a:pt x="312489" y="67487"/>
                  <a:pt x="315085" y="63942"/>
                  <a:pt x="315209" y="62720"/>
                </a:cubicBezTo>
                <a:cubicBezTo>
                  <a:pt x="318546" y="62598"/>
                  <a:pt x="321884" y="62475"/>
                  <a:pt x="325221" y="62231"/>
                </a:cubicBezTo>
                <a:lnTo>
                  <a:pt x="329918" y="57097"/>
                </a:lnTo>
                <a:lnTo>
                  <a:pt x="330660" y="52085"/>
                </a:lnTo>
                <a:lnTo>
                  <a:pt x="340302" y="49640"/>
                </a:lnTo>
                <a:lnTo>
                  <a:pt x="352045" y="46217"/>
                </a:lnTo>
                <a:lnTo>
                  <a:pt x="370463" y="50740"/>
                </a:lnTo>
                <a:lnTo>
                  <a:pt x="371946" y="54163"/>
                </a:lnTo>
                <a:lnTo>
                  <a:pt x="374295" y="38394"/>
                </a:lnTo>
                <a:lnTo>
                  <a:pt x="385420" y="43895"/>
                </a:lnTo>
                <a:lnTo>
                  <a:pt x="400253" y="45973"/>
                </a:lnTo>
                <a:cubicBezTo>
                  <a:pt x="401242" y="46095"/>
                  <a:pt x="401736" y="45728"/>
                  <a:pt x="401984" y="45728"/>
                </a:cubicBezTo>
                <a:cubicBezTo>
                  <a:pt x="402231" y="45728"/>
                  <a:pt x="402107" y="46217"/>
                  <a:pt x="401984" y="48051"/>
                </a:cubicBezTo>
                <a:cubicBezTo>
                  <a:pt x="403343" y="51474"/>
                  <a:pt x="418053" y="55508"/>
                  <a:pt x="418053" y="55508"/>
                </a:cubicBezTo>
                <a:cubicBezTo>
                  <a:pt x="419289" y="56241"/>
                  <a:pt x="420649" y="56730"/>
                  <a:pt x="422132" y="56974"/>
                </a:cubicBezTo>
                <a:cubicBezTo>
                  <a:pt x="423616" y="57219"/>
                  <a:pt x="425346" y="57097"/>
                  <a:pt x="427077" y="56730"/>
                </a:cubicBezTo>
                <a:cubicBezTo>
                  <a:pt x="429920" y="56730"/>
                  <a:pt x="432887" y="57097"/>
                  <a:pt x="435730" y="57463"/>
                </a:cubicBezTo>
                <a:cubicBezTo>
                  <a:pt x="438573" y="57830"/>
                  <a:pt x="441292" y="58441"/>
                  <a:pt x="443764" y="59175"/>
                </a:cubicBezTo>
                <a:lnTo>
                  <a:pt x="440056" y="84356"/>
                </a:lnTo>
                <a:lnTo>
                  <a:pt x="447349" y="88635"/>
                </a:lnTo>
                <a:lnTo>
                  <a:pt x="459710" y="94258"/>
                </a:lnTo>
                <a:lnTo>
                  <a:pt x="466385" y="102326"/>
                </a:lnTo>
                <a:lnTo>
                  <a:pt x="474791" y="103548"/>
                </a:lnTo>
                <a:lnTo>
                  <a:pt x="485421" y="107093"/>
                </a:lnTo>
                <a:cubicBezTo>
                  <a:pt x="485421" y="107093"/>
                  <a:pt x="490366" y="103548"/>
                  <a:pt x="494074" y="104037"/>
                </a:cubicBezTo>
                <a:cubicBezTo>
                  <a:pt x="494692" y="104037"/>
                  <a:pt x="495187" y="104282"/>
                  <a:pt x="495681" y="104648"/>
                </a:cubicBezTo>
                <a:lnTo>
                  <a:pt x="505817" y="111860"/>
                </a:lnTo>
                <a:cubicBezTo>
                  <a:pt x="510638" y="114427"/>
                  <a:pt x="514841" y="118217"/>
                  <a:pt x="518055" y="122618"/>
                </a:cubicBezTo>
                <a:cubicBezTo>
                  <a:pt x="517560" y="125796"/>
                  <a:pt x="518302" y="129708"/>
                  <a:pt x="520527" y="132641"/>
                </a:cubicBezTo>
                <a:cubicBezTo>
                  <a:pt x="520403" y="133864"/>
                  <a:pt x="520898" y="134597"/>
                  <a:pt x="521516" y="134719"/>
                </a:cubicBezTo>
                <a:cubicBezTo>
                  <a:pt x="522628" y="136186"/>
                  <a:pt x="523864" y="136920"/>
                  <a:pt x="524977" y="137775"/>
                </a:cubicBezTo>
                <a:cubicBezTo>
                  <a:pt x="528562" y="140831"/>
                  <a:pt x="531528" y="143276"/>
                  <a:pt x="535484" y="147066"/>
                </a:cubicBezTo>
                <a:cubicBezTo>
                  <a:pt x="539563" y="150855"/>
                  <a:pt x="542901" y="155256"/>
                  <a:pt x="546114" y="160145"/>
                </a:cubicBezTo>
                <a:cubicBezTo>
                  <a:pt x="547103" y="162224"/>
                  <a:pt x="556251" y="170414"/>
                  <a:pt x="558723" y="171269"/>
                </a:cubicBezTo>
                <a:lnTo>
                  <a:pt x="582580" y="184227"/>
                </a:lnTo>
                <a:lnTo>
                  <a:pt x="596053" y="201340"/>
                </a:lnTo>
                <a:lnTo>
                  <a:pt x="592716" y="233612"/>
                </a:lnTo>
                <a:lnTo>
                  <a:pt x="559588" y="219188"/>
                </a:lnTo>
                <a:lnTo>
                  <a:pt x="524977" y="219188"/>
                </a:lnTo>
                <a:cubicBezTo>
                  <a:pt x="524977" y="219188"/>
                  <a:pt x="472689" y="192784"/>
                  <a:pt x="472689" y="192784"/>
                </a:cubicBezTo>
                <a:lnTo>
                  <a:pt x="439191" y="207208"/>
                </a:lnTo>
                <a:lnTo>
                  <a:pt x="438325" y="221388"/>
                </a:lnTo>
                <a:lnTo>
                  <a:pt x="433010" y="217965"/>
                </a:lnTo>
                <a:lnTo>
                  <a:pt x="381959" y="221388"/>
                </a:lnTo>
                <a:lnTo>
                  <a:pt x="370463" y="219432"/>
                </a:lnTo>
                <a:lnTo>
                  <a:pt x="329548" y="230189"/>
                </a:lnTo>
                <a:lnTo>
                  <a:pt x="301735" y="241435"/>
                </a:lnTo>
                <a:lnTo>
                  <a:pt x="283935" y="236301"/>
                </a:lnTo>
                <a:lnTo>
                  <a:pt x="244627" y="206230"/>
                </a:lnTo>
                <a:lnTo>
                  <a:pt x="229175" y="203296"/>
                </a:lnTo>
                <a:lnTo>
                  <a:pt x="217432" y="214054"/>
                </a:lnTo>
                <a:lnTo>
                  <a:pt x="205813" y="216987"/>
                </a:lnTo>
                <a:lnTo>
                  <a:pt x="181338" y="209653"/>
                </a:lnTo>
                <a:lnTo>
                  <a:pt x="174168" y="219799"/>
                </a:lnTo>
                <a:lnTo>
                  <a:pt x="163908" y="217598"/>
                </a:lnTo>
                <a:lnTo>
                  <a:pt x="158593" y="201340"/>
                </a:lnTo>
                <a:lnTo>
                  <a:pt x="147097" y="200118"/>
                </a:lnTo>
                <a:lnTo>
                  <a:pt x="149570" y="196329"/>
                </a:lnTo>
                <a:lnTo>
                  <a:pt x="144749" y="180926"/>
                </a:lnTo>
                <a:lnTo>
                  <a:pt x="150558" y="170414"/>
                </a:lnTo>
                <a:lnTo>
                  <a:pt x="133500" y="142543"/>
                </a:lnTo>
                <a:lnTo>
                  <a:pt x="127072" y="105382"/>
                </a:lnTo>
                <a:lnTo>
                  <a:pt x="94933" y="63209"/>
                </a:lnTo>
                <a:lnTo>
                  <a:pt x="72807" y="61375"/>
                </a:lnTo>
                <a:lnTo>
                  <a:pt x="71076" y="50496"/>
                </a:lnTo>
                <a:lnTo>
                  <a:pt x="46849" y="31182"/>
                </a:lnTo>
                <a:lnTo>
                  <a:pt x="38072" y="37294"/>
                </a:lnTo>
                <a:lnTo>
                  <a:pt x="28307" y="33382"/>
                </a:lnTo>
                <a:lnTo>
                  <a:pt x="10383" y="31426"/>
                </a:lnTo>
                <a:lnTo>
                  <a:pt x="0" y="17735"/>
                </a:lnTo>
                <a:lnTo>
                  <a:pt x="6181" y="10890"/>
                </a:lnTo>
                <a:close/>
              </a:path>
            </a:pathLst>
          </a:custGeom>
          <a:solidFill>
            <a:schemeClr val="bg2"/>
          </a:solidFill>
          <a:ln w="7018" cap="flat">
            <a:solidFill>
              <a:schemeClr val="accent4"/>
            </a:solidFill>
            <a:prstDash val="solid"/>
            <a:miter/>
          </a:ln>
        </p:spPr>
        <p:txBody>
          <a:bodyPr rtlCol="0" anchor="ctr"/>
          <a:lstStyle/>
          <a:p>
            <a:endParaRPr lang="en-GB"/>
          </a:p>
        </p:txBody>
      </p:sp>
      <p:sp>
        <p:nvSpPr>
          <p:cNvPr id="48" name="Graphic 158">
            <a:extLst>
              <a:ext uri="{FF2B5EF4-FFF2-40B4-BE49-F238E27FC236}">
                <a16:creationId xmlns:a16="http://schemas.microsoft.com/office/drawing/2014/main" id="{48BCF8C4-A5BE-3189-438A-073BCB1CA4D4}"/>
              </a:ext>
            </a:extLst>
          </p:cNvPr>
          <p:cNvSpPr/>
          <p:nvPr/>
        </p:nvSpPr>
        <p:spPr>
          <a:xfrm rot="1141104">
            <a:off x="9652115" y="4809076"/>
            <a:ext cx="337572" cy="268100"/>
          </a:xfrm>
          <a:custGeom>
            <a:avLst/>
            <a:gdLst>
              <a:gd name="connsiteX0" fmla="*/ 0 w 337572"/>
              <a:gd name="connsiteY0" fmla="*/ 23227 h 268100"/>
              <a:gd name="connsiteX1" fmla="*/ 27985 w 337572"/>
              <a:gd name="connsiteY1" fmla="*/ 12231 h 268100"/>
              <a:gd name="connsiteX2" fmla="*/ 68714 w 337572"/>
              <a:gd name="connsiteY2" fmla="*/ 1359 h 268100"/>
              <a:gd name="connsiteX3" fmla="*/ 80708 w 337572"/>
              <a:gd name="connsiteY3" fmla="*/ 3459 h 268100"/>
              <a:gd name="connsiteX4" fmla="*/ 132305 w 337572"/>
              <a:gd name="connsiteY4" fmla="*/ 0 h 268100"/>
              <a:gd name="connsiteX5" fmla="*/ 155668 w 337572"/>
              <a:gd name="connsiteY5" fmla="*/ 19891 h 268100"/>
              <a:gd name="connsiteX6" fmla="*/ 189026 w 337572"/>
              <a:gd name="connsiteY6" fmla="*/ 22486 h 268100"/>
              <a:gd name="connsiteX7" fmla="*/ 208265 w 337572"/>
              <a:gd name="connsiteY7" fmla="*/ 40030 h 268100"/>
              <a:gd name="connsiteX8" fmla="*/ 202643 w 337572"/>
              <a:gd name="connsiteY8" fmla="*/ 61280 h 268100"/>
              <a:gd name="connsiteX9" fmla="*/ 204767 w 337572"/>
              <a:gd name="connsiteY9" fmla="*/ 79565 h 268100"/>
              <a:gd name="connsiteX10" fmla="*/ 243122 w 337572"/>
              <a:gd name="connsiteY10" fmla="*/ 107982 h 268100"/>
              <a:gd name="connsiteX11" fmla="*/ 245246 w 337572"/>
              <a:gd name="connsiteY11" fmla="*/ 126267 h 268100"/>
              <a:gd name="connsiteX12" fmla="*/ 233877 w 337572"/>
              <a:gd name="connsiteY12" fmla="*/ 139857 h 268100"/>
              <a:gd name="connsiteX13" fmla="*/ 246995 w 337572"/>
              <a:gd name="connsiteY13" fmla="*/ 166914 h 268100"/>
              <a:gd name="connsiteX14" fmla="*/ 288973 w 337572"/>
              <a:gd name="connsiteY14" fmla="*/ 187423 h 268100"/>
              <a:gd name="connsiteX15" fmla="*/ 315584 w 337572"/>
              <a:gd name="connsiteY15" fmla="*/ 187547 h 268100"/>
              <a:gd name="connsiteX16" fmla="*/ 337572 w 337572"/>
              <a:gd name="connsiteY16" fmla="*/ 206326 h 268100"/>
              <a:gd name="connsiteX17" fmla="*/ 315334 w 337572"/>
              <a:gd name="connsiteY17" fmla="*/ 212504 h 268100"/>
              <a:gd name="connsiteX18" fmla="*/ 329577 w 337572"/>
              <a:gd name="connsiteY18" fmla="*/ 235484 h 268100"/>
              <a:gd name="connsiteX19" fmla="*/ 323330 w 337572"/>
              <a:gd name="connsiteY19" fmla="*/ 243638 h 268100"/>
              <a:gd name="connsiteX20" fmla="*/ 324204 w 337572"/>
              <a:gd name="connsiteY20" fmla="*/ 263282 h 268100"/>
              <a:gd name="connsiteX21" fmla="*/ 303216 w 337572"/>
              <a:gd name="connsiteY21" fmla="*/ 268101 h 268100"/>
              <a:gd name="connsiteX22" fmla="*/ 259364 w 337572"/>
              <a:gd name="connsiteY22" fmla="*/ 208303 h 268100"/>
              <a:gd name="connsiteX23" fmla="*/ 236626 w 337572"/>
              <a:gd name="connsiteY23" fmla="*/ 202743 h 268100"/>
              <a:gd name="connsiteX24" fmla="*/ 220759 w 337572"/>
              <a:gd name="connsiteY24" fmla="*/ 174574 h 268100"/>
              <a:gd name="connsiteX25" fmla="*/ 204892 w 337572"/>
              <a:gd name="connsiteY25" fmla="*/ 175192 h 268100"/>
              <a:gd name="connsiteX26" fmla="*/ 194773 w 337572"/>
              <a:gd name="connsiteY26" fmla="*/ 184829 h 268100"/>
              <a:gd name="connsiteX27" fmla="*/ 169911 w 337572"/>
              <a:gd name="connsiteY27" fmla="*/ 163578 h 268100"/>
              <a:gd name="connsiteX28" fmla="*/ 155668 w 337572"/>
              <a:gd name="connsiteY28" fmla="*/ 172103 h 268100"/>
              <a:gd name="connsiteX29" fmla="*/ 139677 w 337572"/>
              <a:gd name="connsiteY29" fmla="*/ 173339 h 268100"/>
              <a:gd name="connsiteX30" fmla="*/ 132430 w 337572"/>
              <a:gd name="connsiteY30" fmla="*/ 162714 h 268100"/>
              <a:gd name="connsiteX31" fmla="*/ 115939 w 337572"/>
              <a:gd name="connsiteY31" fmla="*/ 147641 h 268100"/>
              <a:gd name="connsiteX32" fmla="*/ 98073 w 337572"/>
              <a:gd name="connsiteY32" fmla="*/ 149741 h 268100"/>
              <a:gd name="connsiteX33" fmla="*/ 69588 w 337572"/>
              <a:gd name="connsiteY33" fmla="*/ 149617 h 268100"/>
              <a:gd name="connsiteX34" fmla="*/ 42478 w 337572"/>
              <a:gd name="connsiteY34" fmla="*/ 135162 h 268100"/>
              <a:gd name="connsiteX35" fmla="*/ 39604 w 337572"/>
              <a:gd name="connsiteY35" fmla="*/ 99210 h 268100"/>
              <a:gd name="connsiteX36" fmla="*/ 44352 w 337572"/>
              <a:gd name="connsiteY36" fmla="*/ 70793 h 268100"/>
              <a:gd name="connsiteX37" fmla="*/ 33607 w 337572"/>
              <a:gd name="connsiteY37" fmla="*/ 52261 h 268100"/>
              <a:gd name="connsiteX38" fmla="*/ 16866 w 337572"/>
              <a:gd name="connsiteY38" fmla="*/ 49049 h 268100"/>
              <a:gd name="connsiteX39" fmla="*/ 15117 w 337572"/>
              <a:gd name="connsiteY39" fmla="*/ 38053 h 268100"/>
              <a:gd name="connsiteX40" fmla="*/ 0 w 337572"/>
              <a:gd name="connsiteY40" fmla="*/ 23227 h 26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7572" h="268100">
                <a:moveTo>
                  <a:pt x="0" y="23227"/>
                </a:moveTo>
                <a:lnTo>
                  <a:pt x="27985" y="12231"/>
                </a:lnTo>
                <a:lnTo>
                  <a:pt x="68714" y="1359"/>
                </a:lnTo>
                <a:lnTo>
                  <a:pt x="80708" y="3459"/>
                </a:lnTo>
                <a:lnTo>
                  <a:pt x="132305" y="0"/>
                </a:lnTo>
                <a:lnTo>
                  <a:pt x="155668" y="19891"/>
                </a:lnTo>
                <a:lnTo>
                  <a:pt x="189026" y="22486"/>
                </a:lnTo>
                <a:lnTo>
                  <a:pt x="208265" y="40030"/>
                </a:lnTo>
                <a:lnTo>
                  <a:pt x="202643" y="61280"/>
                </a:lnTo>
                <a:lnTo>
                  <a:pt x="204767" y="79565"/>
                </a:lnTo>
                <a:lnTo>
                  <a:pt x="243122" y="107982"/>
                </a:lnTo>
                <a:lnTo>
                  <a:pt x="245246" y="126267"/>
                </a:lnTo>
                <a:lnTo>
                  <a:pt x="233877" y="139857"/>
                </a:lnTo>
                <a:lnTo>
                  <a:pt x="246995" y="166914"/>
                </a:lnTo>
                <a:lnTo>
                  <a:pt x="288973" y="187423"/>
                </a:lnTo>
                <a:lnTo>
                  <a:pt x="315584" y="187547"/>
                </a:lnTo>
                <a:lnTo>
                  <a:pt x="337572" y="206326"/>
                </a:lnTo>
                <a:lnTo>
                  <a:pt x="315334" y="212504"/>
                </a:lnTo>
                <a:lnTo>
                  <a:pt x="329577" y="235484"/>
                </a:lnTo>
                <a:lnTo>
                  <a:pt x="323330" y="243638"/>
                </a:lnTo>
                <a:lnTo>
                  <a:pt x="324204" y="263282"/>
                </a:lnTo>
                <a:lnTo>
                  <a:pt x="303216" y="268101"/>
                </a:lnTo>
                <a:lnTo>
                  <a:pt x="259364" y="208303"/>
                </a:lnTo>
                <a:lnTo>
                  <a:pt x="236626" y="202743"/>
                </a:lnTo>
                <a:lnTo>
                  <a:pt x="220759" y="174574"/>
                </a:lnTo>
                <a:lnTo>
                  <a:pt x="204892" y="175192"/>
                </a:lnTo>
                <a:lnTo>
                  <a:pt x="194773" y="184829"/>
                </a:lnTo>
                <a:lnTo>
                  <a:pt x="169911" y="163578"/>
                </a:lnTo>
                <a:lnTo>
                  <a:pt x="155668" y="172103"/>
                </a:lnTo>
                <a:lnTo>
                  <a:pt x="139677" y="173339"/>
                </a:lnTo>
                <a:lnTo>
                  <a:pt x="132430" y="162714"/>
                </a:lnTo>
                <a:lnTo>
                  <a:pt x="115939" y="147641"/>
                </a:lnTo>
                <a:lnTo>
                  <a:pt x="98073" y="149741"/>
                </a:lnTo>
                <a:lnTo>
                  <a:pt x="69588" y="149617"/>
                </a:lnTo>
                <a:lnTo>
                  <a:pt x="42478" y="135162"/>
                </a:lnTo>
                <a:lnTo>
                  <a:pt x="39604" y="99210"/>
                </a:lnTo>
                <a:lnTo>
                  <a:pt x="44352" y="70793"/>
                </a:lnTo>
                <a:lnTo>
                  <a:pt x="33607" y="52261"/>
                </a:lnTo>
                <a:lnTo>
                  <a:pt x="16866" y="49049"/>
                </a:lnTo>
                <a:lnTo>
                  <a:pt x="15117" y="38053"/>
                </a:lnTo>
                <a:lnTo>
                  <a:pt x="0" y="23227"/>
                </a:lnTo>
                <a:close/>
              </a:path>
            </a:pathLst>
          </a:custGeom>
          <a:solidFill>
            <a:schemeClr val="bg2"/>
          </a:solidFill>
          <a:ln w="7144" cap="flat">
            <a:solidFill>
              <a:schemeClr val="accent4"/>
            </a:solidFill>
            <a:prstDash val="solid"/>
            <a:miter/>
          </a:ln>
        </p:spPr>
        <p:txBody>
          <a:bodyPr rtlCol="0" anchor="ctr"/>
          <a:lstStyle/>
          <a:p>
            <a:endParaRPr lang="en-GB"/>
          </a:p>
        </p:txBody>
      </p:sp>
      <p:sp>
        <p:nvSpPr>
          <p:cNvPr id="38" name="Graphic 161">
            <a:extLst>
              <a:ext uri="{FF2B5EF4-FFF2-40B4-BE49-F238E27FC236}">
                <a16:creationId xmlns:a16="http://schemas.microsoft.com/office/drawing/2014/main" id="{184FE409-B9DB-7243-6CD3-43C5C7E38E5E}"/>
              </a:ext>
            </a:extLst>
          </p:cNvPr>
          <p:cNvSpPr/>
          <p:nvPr/>
        </p:nvSpPr>
        <p:spPr>
          <a:xfrm rot="1141104">
            <a:off x="10691333" y="4782822"/>
            <a:ext cx="1497209" cy="872748"/>
          </a:xfrm>
          <a:custGeom>
            <a:avLst/>
            <a:gdLst>
              <a:gd name="connsiteX0" fmla="*/ 1206488 w 1497209"/>
              <a:gd name="connsiteY0" fmla="*/ 868795 h 872748"/>
              <a:gd name="connsiteX1" fmla="*/ 1210735 w 1497209"/>
              <a:gd name="connsiteY1" fmla="*/ 811345 h 872748"/>
              <a:gd name="connsiteX2" fmla="*/ 1227976 w 1497209"/>
              <a:gd name="connsiteY2" fmla="*/ 766002 h 872748"/>
              <a:gd name="connsiteX3" fmla="*/ 1235972 w 1497209"/>
              <a:gd name="connsiteY3" fmla="*/ 755253 h 872748"/>
              <a:gd name="connsiteX4" fmla="*/ 1232349 w 1497209"/>
              <a:gd name="connsiteY4" fmla="*/ 730544 h 872748"/>
              <a:gd name="connsiteX5" fmla="*/ 1213484 w 1497209"/>
              <a:gd name="connsiteY5" fmla="*/ 723501 h 872748"/>
              <a:gd name="connsiteX6" fmla="*/ 1202490 w 1497209"/>
              <a:gd name="connsiteY6" fmla="*/ 698421 h 872748"/>
              <a:gd name="connsiteX7" fmla="*/ 1210236 w 1497209"/>
              <a:gd name="connsiteY7" fmla="*/ 679642 h 872748"/>
              <a:gd name="connsiteX8" fmla="*/ 1204739 w 1497209"/>
              <a:gd name="connsiteY8" fmla="*/ 659627 h 872748"/>
              <a:gd name="connsiteX9" fmla="*/ 1179002 w 1497209"/>
              <a:gd name="connsiteY9" fmla="*/ 661356 h 872748"/>
              <a:gd name="connsiteX10" fmla="*/ 1163510 w 1497209"/>
              <a:gd name="connsiteY10" fmla="*/ 670623 h 872748"/>
              <a:gd name="connsiteX11" fmla="*/ 1138274 w 1497209"/>
              <a:gd name="connsiteY11" fmla="*/ 637511 h 872748"/>
              <a:gd name="connsiteX12" fmla="*/ 1136275 w 1497209"/>
              <a:gd name="connsiteY12" fmla="*/ 609466 h 872748"/>
              <a:gd name="connsiteX13" fmla="*/ 1154140 w 1497209"/>
              <a:gd name="connsiteY13" fmla="*/ 594393 h 872748"/>
              <a:gd name="connsiteX14" fmla="*/ 1195493 w 1497209"/>
              <a:gd name="connsiteY14" fmla="*/ 598470 h 872748"/>
              <a:gd name="connsiteX15" fmla="*/ 1211735 w 1497209"/>
              <a:gd name="connsiteY15" fmla="*/ 593157 h 872748"/>
              <a:gd name="connsiteX16" fmla="*/ 1213484 w 1497209"/>
              <a:gd name="connsiteY16" fmla="*/ 572154 h 872748"/>
              <a:gd name="connsiteX17" fmla="*/ 1248715 w 1497209"/>
              <a:gd name="connsiteY17" fmla="*/ 558193 h 872748"/>
              <a:gd name="connsiteX18" fmla="*/ 1242094 w 1497209"/>
              <a:gd name="connsiteY18" fmla="*/ 544109 h 872748"/>
              <a:gd name="connsiteX19" fmla="*/ 1233848 w 1497209"/>
              <a:gd name="connsiteY19" fmla="*/ 537190 h 872748"/>
              <a:gd name="connsiteX20" fmla="*/ 1273077 w 1497209"/>
              <a:gd name="connsiteY20" fmla="*/ 526441 h 872748"/>
              <a:gd name="connsiteX21" fmla="*/ 1303561 w 1497209"/>
              <a:gd name="connsiteY21" fmla="*/ 511986 h 872748"/>
              <a:gd name="connsiteX22" fmla="*/ 1303436 w 1497209"/>
              <a:gd name="connsiteY22" fmla="*/ 493701 h 872748"/>
              <a:gd name="connsiteX23" fmla="*/ 1274452 w 1497209"/>
              <a:gd name="connsiteY23" fmla="*/ 481222 h 872748"/>
              <a:gd name="connsiteX24" fmla="*/ 1274827 w 1497209"/>
              <a:gd name="connsiteY24" fmla="*/ 459478 h 872748"/>
              <a:gd name="connsiteX25" fmla="*/ 1297565 w 1497209"/>
              <a:gd name="connsiteY25" fmla="*/ 450088 h 872748"/>
              <a:gd name="connsiteX26" fmla="*/ 1321177 w 1497209"/>
              <a:gd name="connsiteY26" fmla="*/ 431309 h 872748"/>
              <a:gd name="connsiteX27" fmla="*/ 1339792 w 1497209"/>
              <a:gd name="connsiteY27" fmla="*/ 431926 h 872748"/>
              <a:gd name="connsiteX28" fmla="*/ 1367653 w 1497209"/>
              <a:gd name="connsiteY28" fmla="*/ 401163 h 872748"/>
              <a:gd name="connsiteX29" fmla="*/ 1388392 w 1497209"/>
              <a:gd name="connsiteY29" fmla="*/ 420683 h 872748"/>
              <a:gd name="connsiteX30" fmla="*/ 1396138 w 1497209"/>
              <a:gd name="connsiteY30" fmla="*/ 433409 h 872748"/>
              <a:gd name="connsiteX31" fmla="*/ 1440864 w 1497209"/>
              <a:gd name="connsiteY31" fmla="*/ 424266 h 872748"/>
              <a:gd name="connsiteX32" fmla="*/ 1472597 w 1497209"/>
              <a:gd name="connsiteY32" fmla="*/ 424884 h 872748"/>
              <a:gd name="connsiteX33" fmla="*/ 1497209 w 1497209"/>
              <a:gd name="connsiteY33" fmla="*/ 395109 h 872748"/>
              <a:gd name="connsiteX34" fmla="*/ 1491712 w 1497209"/>
              <a:gd name="connsiteY34" fmla="*/ 376947 h 872748"/>
              <a:gd name="connsiteX35" fmla="*/ 1445237 w 1497209"/>
              <a:gd name="connsiteY35" fmla="*/ 344207 h 872748"/>
              <a:gd name="connsiteX36" fmla="*/ 1433243 w 1497209"/>
              <a:gd name="connsiteY36" fmla="*/ 342106 h 872748"/>
              <a:gd name="connsiteX37" fmla="*/ 1431744 w 1497209"/>
              <a:gd name="connsiteY37" fmla="*/ 367681 h 872748"/>
              <a:gd name="connsiteX38" fmla="*/ 1416627 w 1497209"/>
              <a:gd name="connsiteY38" fmla="*/ 385349 h 872748"/>
              <a:gd name="connsiteX39" fmla="*/ 1399886 w 1497209"/>
              <a:gd name="connsiteY39" fmla="*/ 380159 h 872748"/>
              <a:gd name="connsiteX40" fmla="*/ 1382645 w 1497209"/>
              <a:gd name="connsiteY40" fmla="*/ 365210 h 872748"/>
              <a:gd name="connsiteX41" fmla="*/ 1341167 w 1497209"/>
              <a:gd name="connsiteY41" fmla="*/ 355203 h 872748"/>
              <a:gd name="connsiteX42" fmla="*/ 1323551 w 1497209"/>
              <a:gd name="connsiteY42" fmla="*/ 345442 h 872748"/>
              <a:gd name="connsiteX43" fmla="*/ 1336419 w 1497209"/>
              <a:gd name="connsiteY43" fmla="*/ 321968 h 872748"/>
              <a:gd name="connsiteX44" fmla="*/ 1363530 w 1497209"/>
              <a:gd name="connsiteY44" fmla="*/ 276255 h 872748"/>
              <a:gd name="connsiteX45" fmla="*/ 1361406 w 1497209"/>
              <a:gd name="connsiteY45" fmla="*/ 257476 h 872748"/>
              <a:gd name="connsiteX46" fmla="*/ 1346039 w 1497209"/>
              <a:gd name="connsiteY46" fmla="*/ 256117 h 872748"/>
              <a:gd name="connsiteX47" fmla="*/ 1328673 w 1497209"/>
              <a:gd name="connsiteY47" fmla="*/ 280456 h 872748"/>
              <a:gd name="connsiteX48" fmla="*/ 1313056 w 1497209"/>
              <a:gd name="connsiteY48" fmla="*/ 287621 h 872748"/>
              <a:gd name="connsiteX49" fmla="*/ 1279199 w 1497209"/>
              <a:gd name="connsiteY49" fmla="*/ 331605 h 872748"/>
              <a:gd name="connsiteX50" fmla="*/ 1267705 w 1497209"/>
              <a:gd name="connsiteY50" fmla="*/ 357056 h 872748"/>
              <a:gd name="connsiteX51" fmla="*/ 1257711 w 1497209"/>
              <a:gd name="connsiteY51" fmla="*/ 369905 h 872748"/>
              <a:gd name="connsiteX52" fmla="*/ 1240595 w 1497209"/>
              <a:gd name="connsiteY52" fmla="*/ 404622 h 872748"/>
              <a:gd name="connsiteX53" fmla="*/ 1205113 w 1497209"/>
              <a:gd name="connsiteY53" fmla="*/ 440204 h 872748"/>
              <a:gd name="connsiteX54" fmla="*/ 1195493 w 1497209"/>
              <a:gd name="connsiteY54" fmla="*/ 433780 h 872748"/>
              <a:gd name="connsiteX55" fmla="*/ 1153016 w 1497209"/>
              <a:gd name="connsiteY55" fmla="*/ 415247 h 872748"/>
              <a:gd name="connsiteX56" fmla="*/ 1121907 w 1497209"/>
              <a:gd name="connsiteY56" fmla="*/ 412282 h 872748"/>
              <a:gd name="connsiteX57" fmla="*/ 1095047 w 1497209"/>
              <a:gd name="connsiteY57" fmla="*/ 419077 h 872748"/>
              <a:gd name="connsiteX58" fmla="*/ 1054568 w 1497209"/>
              <a:gd name="connsiteY58" fmla="*/ 442428 h 872748"/>
              <a:gd name="connsiteX59" fmla="*/ 1035703 w 1497209"/>
              <a:gd name="connsiteY59" fmla="*/ 441563 h 872748"/>
              <a:gd name="connsiteX60" fmla="*/ 992726 w 1497209"/>
              <a:gd name="connsiteY60" fmla="*/ 338647 h 872748"/>
              <a:gd name="connsiteX61" fmla="*/ 927510 w 1497209"/>
              <a:gd name="connsiteY61" fmla="*/ 332840 h 872748"/>
              <a:gd name="connsiteX62" fmla="*/ 918640 w 1497209"/>
              <a:gd name="connsiteY62" fmla="*/ 204844 h 872748"/>
              <a:gd name="connsiteX63" fmla="*/ 887406 w 1497209"/>
              <a:gd name="connsiteY63" fmla="*/ 216087 h 872748"/>
              <a:gd name="connsiteX64" fmla="*/ 861920 w 1497209"/>
              <a:gd name="connsiteY64" fmla="*/ 162096 h 872748"/>
              <a:gd name="connsiteX65" fmla="*/ 813445 w 1497209"/>
              <a:gd name="connsiteY65" fmla="*/ 129479 h 872748"/>
              <a:gd name="connsiteX66" fmla="*/ 662775 w 1497209"/>
              <a:gd name="connsiteY66" fmla="*/ 136274 h 872748"/>
              <a:gd name="connsiteX67" fmla="*/ 526972 w 1497209"/>
              <a:gd name="connsiteY67" fmla="*/ 156536 h 872748"/>
              <a:gd name="connsiteX68" fmla="*/ 448138 w 1497209"/>
              <a:gd name="connsiteY68" fmla="*/ 114035 h 872748"/>
              <a:gd name="connsiteX69" fmla="*/ 390294 w 1497209"/>
              <a:gd name="connsiteY69" fmla="*/ 95503 h 872748"/>
              <a:gd name="connsiteX70" fmla="*/ 240248 w 1497209"/>
              <a:gd name="connsiteY70" fmla="*/ 0 h 872748"/>
              <a:gd name="connsiteX71" fmla="*/ 0 w 1497209"/>
              <a:gd name="connsiteY71" fmla="*/ 55720 h 872748"/>
              <a:gd name="connsiteX72" fmla="*/ 93076 w 1497209"/>
              <a:gd name="connsiteY72" fmla="*/ 484558 h 872748"/>
              <a:gd name="connsiteX73" fmla="*/ 135179 w 1497209"/>
              <a:gd name="connsiteY73" fmla="*/ 478875 h 872748"/>
              <a:gd name="connsiteX74" fmla="*/ 173783 w 1497209"/>
              <a:gd name="connsiteY74" fmla="*/ 483693 h 872748"/>
              <a:gd name="connsiteX75" fmla="*/ 182154 w 1497209"/>
              <a:gd name="connsiteY75" fmla="*/ 462443 h 872748"/>
              <a:gd name="connsiteX76" fmla="*/ 165662 w 1497209"/>
              <a:gd name="connsiteY76" fmla="*/ 447370 h 872748"/>
              <a:gd name="connsiteX77" fmla="*/ 157542 w 1497209"/>
              <a:gd name="connsiteY77" fmla="*/ 415000 h 872748"/>
              <a:gd name="connsiteX78" fmla="*/ 175782 w 1497209"/>
              <a:gd name="connsiteY78" fmla="*/ 374847 h 872748"/>
              <a:gd name="connsiteX79" fmla="*/ 203393 w 1497209"/>
              <a:gd name="connsiteY79" fmla="*/ 371017 h 872748"/>
              <a:gd name="connsiteX80" fmla="*/ 217010 w 1497209"/>
              <a:gd name="connsiteY80" fmla="*/ 348160 h 872748"/>
              <a:gd name="connsiteX81" fmla="*/ 237624 w 1497209"/>
              <a:gd name="connsiteY81" fmla="*/ 335435 h 872748"/>
              <a:gd name="connsiteX82" fmla="*/ 260612 w 1497209"/>
              <a:gd name="connsiteY82" fmla="*/ 346307 h 872748"/>
              <a:gd name="connsiteX83" fmla="*/ 270982 w 1497209"/>
              <a:gd name="connsiteY83" fmla="*/ 339265 h 872748"/>
              <a:gd name="connsiteX84" fmla="*/ 254116 w 1497209"/>
              <a:gd name="connsiteY84" fmla="*/ 317644 h 872748"/>
              <a:gd name="connsiteX85" fmla="*/ 296718 w 1497209"/>
              <a:gd name="connsiteY85" fmla="*/ 319868 h 872748"/>
              <a:gd name="connsiteX86" fmla="*/ 360185 w 1497209"/>
              <a:gd name="connsiteY86" fmla="*/ 347295 h 872748"/>
              <a:gd name="connsiteX87" fmla="*/ 414531 w 1497209"/>
              <a:gd name="connsiteY87" fmla="*/ 376453 h 872748"/>
              <a:gd name="connsiteX88" fmla="*/ 422027 w 1497209"/>
              <a:gd name="connsiteY88" fmla="*/ 397086 h 872748"/>
              <a:gd name="connsiteX89" fmla="*/ 492490 w 1497209"/>
              <a:gd name="connsiteY89" fmla="*/ 430814 h 872748"/>
              <a:gd name="connsiteX90" fmla="*/ 547961 w 1497209"/>
              <a:gd name="connsiteY90" fmla="*/ 456018 h 872748"/>
              <a:gd name="connsiteX91" fmla="*/ 562203 w 1497209"/>
              <a:gd name="connsiteY91" fmla="*/ 446258 h 872748"/>
              <a:gd name="connsiteX92" fmla="*/ 580818 w 1497209"/>
              <a:gd name="connsiteY92" fmla="*/ 448111 h 872748"/>
              <a:gd name="connsiteX93" fmla="*/ 620422 w 1497209"/>
              <a:gd name="connsiteY93" fmla="*/ 473933 h 872748"/>
              <a:gd name="connsiteX94" fmla="*/ 638663 w 1497209"/>
              <a:gd name="connsiteY94" fmla="*/ 526935 h 872748"/>
              <a:gd name="connsiteX95" fmla="*/ 657653 w 1497209"/>
              <a:gd name="connsiteY95" fmla="*/ 539290 h 872748"/>
              <a:gd name="connsiteX96" fmla="*/ 665399 w 1497209"/>
              <a:gd name="connsiteY96" fmla="*/ 562517 h 872748"/>
              <a:gd name="connsiteX97" fmla="*/ 688137 w 1497209"/>
              <a:gd name="connsiteY97" fmla="*/ 599582 h 872748"/>
              <a:gd name="connsiteX98" fmla="*/ 720619 w 1497209"/>
              <a:gd name="connsiteY98" fmla="*/ 612678 h 872748"/>
              <a:gd name="connsiteX99" fmla="*/ 783086 w 1497209"/>
              <a:gd name="connsiteY99" fmla="*/ 648013 h 872748"/>
              <a:gd name="connsiteX100" fmla="*/ 846053 w 1497209"/>
              <a:gd name="connsiteY100" fmla="*/ 689896 h 872748"/>
              <a:gd name="connsiteX101" fmla="*/ 916141 w 1497209"/>
              <a:gd name="connsiteY101" fmla="*/ 717077 h 872748"/>
              <a:gd name="connsiteX102" fmla="*/ 980232 w 1497209"/>
              <a:gd name="connsiteY102" fmla="*/ 756365 h 872748"/>
              <a:gd name="connsiteX103" fmla="*/ 1029456 w 1497209"/>
              <a:gd name="connsiteY103" fmla="*/ 762172 h 872748"/>
              <a:gd name="connsiteX104" fmla="*/ 1040575 w 1497209"/>
              <a:gd name="connsiteY104" fmla="*/ 773415 h 872748"/>
              <a:gd name="connsiteX105" fmla="*/ 1055068 w 1497209"/>
              <a:gd name="connsiteY105" fmla="*/ 770203 h 872748"/>
              <a:gd name="connsiteX106" fmla="*/ 1090549 w 1497209"/>
              <a:gd name="connsiteY106" fmla="*/ 792318 h 872748"/>
              <a:gd name="connsiteX107" fmla="*/ 1090174 w 1497209"/>
              <a:gd name="connsiteY107" fmla="*/ 815916 h 872748"/>
              <a:gd name="connsiteX108" fmla="*/ 1097170 w 1497209"/>
              <a:gd name="connsiteY108" fmla="*/ 856440 h 872748"/>
              <a:gd name="connsiteX109" fmla="*/ 1122907 w 1497209"/>
              <a:gd name="connsiteY109" fmla="*/ 848409 h 872748"/>
              <a:gd name="connsiteX110" fmla="*/ 1143146 w 1497209"/>
              <a:gd name="connsiteY110" fmla="*/ 856811 h 872748"/>
              <a:gd name="connsiteX111" fmla="*/ 1155140 w 1497209"/>
              <a:gd name="connsiteY111" fmla="*/ 872625 h 872748"/>
              <a:gd name="connsiteX112" fmla="*/ 1167633 w 1497209"/>
              <a:gd name="connsiteY112" fmla="*/ 872748 h 872748"/>
              <a:gd name="connsiteX113" fmla="*/ 1182251 w 1497209"/>
              <a:gd name="connsiteY113" fmla="*/ 858417 h 872748"/>
              <a:gd name="connsiteX114" fmla="*/ 1198117 w 1497209"/>
              <a:gd name="connsiteY114" fmla="*/ 859034 h 872748"/>
              <a:gd name="connsiteX115" fmla="*/ 1206488 w 1497209"/>
              <a:gd name="connsiteY115" fmla="*/ 868795 h 8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497209" h="872748">
                <a:moveTo>
                  <a:pt x="1206488" y="868795"/>
                </a:moveTo>
                <a:lnTo>
                  <a:pt x="1210735" y="811345"/>
                </a:lnTo>
                <a:lnTo>
                  <a:pt x="1227976" y="766002"/>
                </a:lnTo>
                <a:lnTo>
                  <a:pt x="1235972" y="755253"/>
                </a:lnTo>
                <a:lnTo>
                  <a:pt x="1232349" y="730544"/>
                </a:lnTo>
                <a:lnTo>
                  <a:pt x="1213484" y="723501"/>
                </a:lnTo>
                <a:lnTo>
                  <a:pt x="1202490" y="698421"/>
                </a:lnTo>
                <a:lnTo>
                  <a:pt x="1210236" y="679642"/>
                </a:lnTo>
                <a:lnTo>
                  <a:pt x="1204739" y="659627"/>
                </a:lnTo>
                <a:lnTo>
                  <a:pt x="1179002" y="661356"/>
                </a:lnTo>
                <a:lnTo>
                  <a:pt x="1163510" y="670623"/>
                </a:lnTo>
                <a:lnTo>
                  <a:pt x="1138274" y="637511"/>
                </a:lnTo>
                <a:lnTo>
                  <a:pt x="1136275" y="609466"/>
                </a:lnTo>
                <a:lnTo>
                  <a:pt x="1154140" y="594393"/>
                </a:lnTo>
                <a:lnTo>
                  <a:pt x="1195493" y="598470"/>
                </a:lnTo>
                <a:lnTo>
                  <a:pt x="1211735" y="593157"/>
                </a:lnTo>
                <a:lnTo>
                  <a:pt x="1213484" y="572154"/>
                </a:lnTo>
                <a:lnTo>
                  <a:pt x="1248715" y="558193"/>
                </a:lnTo>
                <a:lnTo>
                  <a:pt x="1242094" y="544109"/>
                </a:lnTo>
                <a:lnTo>
                  <a:pt x="1233848" y="537190"/>
                </a:lnTo>
                <a:lnTo>
                  <a:pt x="1273077" y="526441"/>
                </a:lnTo>
                <a:lnTo>
                  <a:pt x="1303561" y="511986"/>
                </a:lnTo>
                <a:lnTo>
                  <a:pt x="1303436" y="493701"/>
                </a:lnTo>
                <a:lnTo>
                  <a:pt x="1274452" y="481222"/>
                </a:lnTo>
                <a:lnTo>
                  <a:pt x="1274827" y="459478"/>
                </a:lnTo>
                <a:lnTo>
                  <a:pt x="1297565" y="450088"/>
                </a:lnTo>
                <a:lnTo>
                  <a:pt x="1321177" y="431309"/>
                </a:lnTo>
                <a:lnTo>
                  <a:pt x="1339792" y="431926"/>
                </a:lnTo>
                <a:lnTo>
                  <a:pt x="1367653" y="401163"/>
                </a:lnTo>
                <a:lnTo>
                  <a:pt x="1388392" y="420683"/>
                </a:lnTo>
                <a:lnTo>
                  <a:pt x="1396138" y="433409"/>
                </a:lnTo>
                <a:lnTo>
                  <a:pt x="1440864" y="424266"/>
                </a:lnTo>
                <a:lnTo>
                  <a:pt x="1472597" y="424884"/>
                </a:lnTo>
                <a:lnTo>
                  <a:pt x="1497209" y="395109"/>
                </a:lnTo>
                <a:lnTo>
                  <a:pt x="1491712" y="376947"/>
                </a:lnTo>
                <a:lnTo>
                  <a:pt x="1445237" y="344207"/>
                </a:lnTo>
                <a:lnTo>
                  <a:pt x="1433243" y="342106"/>
                </a:lnTo>
                <a:lnTo>
                  <a:pt x="1431744" y="367681"/>
                </a:lnTo>
                <a:lnTo>
                  <a:pt x="1416627" y="385349"/>
                </a:lnTo>
                <a:lnTo>
                  <a:pt x="1399886" y="380159"/>
                </a:lnTo>
                <a:lnTo>
                  <a:pt x="1382645" y="365210"/>
                </a:lnTo>
                <a:lnTo>
                  <a:pt x="1341167" y="355203"/>
                </a:lnTo>
                <a:lnTo>
                  <a:pt x="1323551" y="345442"/>
                </a:lnTo>
                <a:lnTo>
                  <a:pt x="1336419" y="321968"/>
                </a:lnTo>
                <a:lnTo>
                  <a:pt x="1363530" y="276255"/>
                </a:lnTo>
                <a:lnTo>
                  <a:pt x="1361406" y="257476"/>
                </a:lnTo>
                <a:lnTo>
                  <a:pt x="1346039" y="256117"/>
                </a:lnTo>
                <a:lnTo>
                  <a:pt x="1328673" y="280456"/>
                </a:lnTo>
                <a:lnTo>
                  <a:pt x="1313056" y="287621"/>
                </a:lnTo>
                <a:lnTo>
                  <a:pt x="1279199" y="331605"/>
                </a:lnTo>
                <a:lnTo>
                  <a:pt x="1267705" y="357056"/>
                </a:lnTo>
                <a:lnTo>
                  <a:pt x="1257711" y="369905"/>
                </a:lnTo>
                <a:lnTo>
                  <a:pt x="1240595" y="404622"/>
                </a:lnTo>
                <a:lnTo>
                  <a:pt x="1205113" y="440204"/>
                </a:lnTo>
                <a:lnTo>
                  <a:pt x="1195493" y="433780"/>
                </a:lnTo>
                <a:lnTo>
                  <a:pt x="1153016" y="415247"/>
                </a:lnTo>
                <a:lnTo>
                  <a:pt x="1121907" y="412282"/>
                </a:lnTo>
                <a:lnTo>
                  <a:pt x="1095047" y="419077"/>
                </a:lnTo>
                <a:lnTo>
                  <a:pt x="1054568" y="442428"/>
                </a:lnTo>
                <a:lnTo>
                  <a:pt x="1035703" y="441563"/>
                </a:lnTo>
                <a:lnTo>
                  <a:pt x="992726" y="338647"/>
                </a:lnTo>
                <a:lnTo>
                  <a:pt x="927510" y="332840"/>
                </a:lnTo>
                <a:lnTo>
                  <a:pt x="918640" y="204844"/>
                </a:lnTo>
                <a:lnTo>
                  <a:pt x="887406" y="216087"/>
                </a:lnTo>
                <a:lnTo>
                  <a:pt x="861920" y="162096"/>
                </a:lnTo>
                <a:lnTo>
                  <a:pt x="813445" y="129479"/>
                </a:lnTo>
                <a:lnTo>
                  <a:pt x="662775" y="136274"/>
                </a:lnTo>
                <a:lnTo>
                  <a:pt x="526972" y="156536"/>
                </a:lnTo>
                <a:lnTo>
                  <a:pt x="448138" y="114035"/>
                </a:lnTo>
                <a:lnTo>
                  <a:pt x="390294" y="95503"/>
                </a:lnTo>
                <a:lnTo>
                  <a:pt x="240248" y="0"/>
                </a:lnTo>
                <a:lnTo>
                  <a:pt x="0" y="55720"/>
                </a:lnTo>
                <a:lnTo>
                  <a:pt x="93076" y="484558"/>
                </a:lnTo>
                <a:lnTo>
                  <a:pt x="135179" y="478875"/>
                </a:lnTo>
                <a:lnTo>
                  <a:pt x="173783" y="483693"/>
                </a:lnTo>
                <a:lnTo>
                  <a:pt x="182154" y="462443"/>
                </a:lnTo>
                <a:lnTo>
                  <a:pt x="165662" y="447370"/>
                </a:lnTo>
                <a:lnTo>
                  <a:pt x="157542" y="415000"/>
                </a:lnTo>
                <a:lnTo>
                  <a:pt x="175782" y="374847"/>
                </a:lnTo>
                <a:lnTo>
                  <a:pt x="203393" y="371017"/>
                </a:lnTo>
                <a:lnTo>
                  <a:pt x="217010" y="348160"/>
                </a:lnTo>
                <a:lnTo>
                  <a:pt x="237624" y="335435"/>
                </a:lnTo>
                <a:lnTo>
                  <a:pt x="260612" y="346307"/>
                </a:lnTo>
                <a:lnTo>
                  <a:pt x="270982" y="339265"/>
                </a:lnTo>
                <a:lnTo>
                  <a:pt x="254116" y="317644"/>
                </a:lnTo>
                <a:lnTo>
                  <a:pt x="296718" y="319868"/>
                </a:lnTo>
                <a:lnTo>
                  <a:pt x="360185" y="347295"/>
                </a:lnTo>
                <a:lnTo>
                  <a:pt x="414531" y="376453"/>
                </a:lnTo>
                <a:lnTo>
                  <a:pt x="422027" y="397086"/>
                </a:lnTo>
                <a:lnTo>
                  <a:pt x="492490" y="430814"/>
                </a:lnTo>
                <a:lnTo>
                  <a:pt x="547961" y="456018"/>
                </a:lnTo>
                <a:lnTo>
                  <a:pt x="562203" y="446258"/>
                </a:lnTo>
                <a:lnTo>
                  <a:pt x="580818" y="448111"/>
                </a:lnTo>
                <a:lnTo>
                  <a:pt x="620422" y="473933"/>
                </a:lnTo>
                <a:lnTo>
                  <a:pt x="638663" y="526935"/>
                </a:lnTo>
                <a:lnTo>
                  <a:pt x="657653" y="539290"/>
                </a:lnTo>
                <a:lnTo>
                  <a:pt x="665399" y="562517"/>
                </a:lnTo>
                <a:lnTo>
                  <a:pt x="688137" y="599582"/>
                </a:lnTo>
                <a:lnTo>
                  <a:pt x="720619" y="612678"/>
                </a:lnTo>
                <a:lnTo>
                  <a:pt x="783086" y="648013"/>
                </a:lnTo>
                <a:lnTo>
                  <a:pt x="846053" y="689896"/>
                </a:lnTo>
                <a:lnTo>
                  <a:pt x="916141" y="717077"/>
                </a:lnTo>
                <a:lnTo>
                  <a:pt x="980232" y="756365"/>
                </a:lnTo>
                <a:lnTo>
                  <a:pt x="1029456" y="762172"/>
                </a:lnTo>
                <a:lnTo>
                  <a:pt x="1040575" y="773415"/>
                </a:lnTo>
                <a:lnTo>
                  <a:pt x="1055068" y="770203"/>
                </a:lnTo>
                <a:lnTo>
                  <a:pt x="1090549" y="792318"/>
                </a:lnTo>
                <a:lnTo>
                  <a:pt x="1090174" y="815916"/>
                </a:lnTo>
                <a:lnTo>
                  <a:pt x="1097170" y="856440"/>
                </a:lnTo>
                <a:lnTo>
                  <a:pt x="1122907" y="848409"/>
                </a:lnTo>
                <a:lnTo>
                  <a:pt x="1143146" y="856811"/>
                </a:lnTo>
                <a:lnTo>
                  <a:pt x="1155140" y="872625"/>
                </a:lnTo>
                <a:lnTo>
                  <a:pt x="1167633" y="872748"/>
                </a:lnTo>
                <a:lnTo>
                  <a:pt x="1182251" y="858417"/>
                </a:lnTo>
                <a:lnTo>
                  <a:pt x="1198117" y="859034"/>
                </a:lnTo>
                <a:lnTo>
                  <a:pt x="1206488" y="868795"/>
                </a:lnTo>
                <a:close/>
              </a:path>
            </a:pathLst>
          </a:custGeom>
          <a:solidFill>
            <a:schemeClr val="bg2"/>
          </a:solidFill>
          <a:ln w="7071" cap="flat">
            <a:solidFill>
              <a:schemeClr val="accent4"/>
            </a:solidFill>
            <a:prstDash val="solid"/>
            <a:miter/>
          </a:ln>
        </p:spPr>
        <p:txBody>
          <a:bodyPr rtlCol="0" anchor="ctr"/>
          <a:lstStyle/>
          <a:p>
            <a:endParaRPr lang="en-GB"/>
          </a:p>
        </p:txBody>
      </p:sp>
      <p:sp>
        <p:nvSpPr>
          <p:cNvPr id="166" name="Rectangle 165">
            <a:extLst>
              <a:ext uri="{FF2B5EF4-FFF2-40B4-BE49-F238E27FC236}">
                <a16:creationId xmlns:a16="http://schemas.microsoft.com/office/drawing/2014/main" id="{34775492-AC63-FBAA-4723-B41E0C7D9237}"/>
              </a:ext>
            </a:extLst>
          </p:cNvPr>
          <p:cNvSpPr/>
          <p:nvPr userDrawn="1"/>
        </p:nvSpPr>
        <p:spPr>
          <a:xfrm>
            <a:off x="12189155" y="0"/>
            <a:ext cx="1874000" cy="6857999"/>
          </a:xfrm>
          <a:prstGeom prst="rect">
            <a:avLst/>
          </a:prstGeom>
          <a:solidFill>
            <a:srgbClr val="ECECEC"/>
          </a:solidFill>
          <a:ln w="31750">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pPr algn="l">
              <a:spcBef>
                <a:spcPts val="300"/>
              </a:spcBef>
              <a:spcAft>
                <a:spcPts val="300"/>
              </a:spcAft>
            </a:pPr>
            <a:endParaRPr lang="en-GB" sz="1400" err="1">
              <a:solidFill>
                <a:srgbClr val="000000"/>
              </a:solidFill>
            </a:endParaRPr>
          </a:p>
        </p:txBody>
      </p:sp>
      <p:sp>
        <p:nvSpPr>
          <p:cNvPr id="16" name="Graphic 137">
            <a:extLst>
              <a:ext uri="{FF2B5EF4-FFF2-40B4-BE49-F238E27FC236}">
                <a16:creationId xmlns:a16="http://schemas.microsoft.com/office/drawing/2014/main" id="{0602BE8C-4971-5262-8FA9-26D597BE5BD3}"/>
              </a:ext>
            </a:extLst>
          </p:cNvPr>
          <p:cNvSpPr/>
          <p:nvPr/>
        </p:nvSpPr>
        <p:spPr>
          <a:xfrm rot="1141104">
            <a:off x="7445361" y="3727601"/>
            <a:ext cx="348691" cy="291327"/>
          </a:xfrm>
          <a:custGeom>
            <a:avLst/>
            <a:gdLst>
              <a:gd name="connsiteX0" fmla="*/ 184653 w 348691"/>
              <a:gd name="connsiteY0" fmla="*/ 265136 h 291327"/>
              <a:gd name="connsiteX1" fmla="*/ 190525 w 348691"/>
              <a:gd name="connsiteY1" fmla="*/ 249198 h 291327"/>
              <a:gd name="connsiteX2" fmla="*/ 123310 w 348691"/>
              <a:gd name="connsiteY2" fmla="*/ 180628 h 291327"/>
              <a:gd name="connsiteX3" fmla="*/ 46476 w 348691"/>
              <a:gd name="connsiteY3" fmla="*/ 119719 h 291327"/>
              <a:gd name="connsiteX4" fmla="*/ 43352 w 348691"/>
              <a:gd name="connsiteY4" fmla="*/ 109341 h 291327"/>
              <a:gd name="connsiteX5" fmla="*/ 48974 w 348691"/>
              <a:gd name="connsiteY5" fmla="*/ 102545 h 291327"/>
              <a:gd name="connsiteX6" fmla="*/ 36481 w 348691"/>
              <a:gd name="connsiteY6" fmla="*/ 88090 h 291327"/>
              <a:gd name="connsiteX7" fmla="*/ 32483 w 348691"/>
              <a:gd name="connsiteY7" fmla="*/ 73141 h 291327"/>
              <a:gd name="connsiteX8" fmla="*/ 13118 w 348691"/>
              <a:gd name="connsiteY8" fmla="*/ 53002 h 291327"/>
              <a:gd name="connsiteX9" fmla="*/ 1124 w 348691"/>
              <a:gd name="connsiteY9" fmla="*/ 54238 h 291327"/>
              <a:gd name="connsiteX10" fmla="*/ 0 w 348691"/>
              <a:gd name="connsiteY10" fmla="*/ 41142 h 291327"/>
              <a:gd name="connsiteX11" fmla="*/ 6871 w 348691"/>
              <a:gd name="connsiteY11" fmla="*/ 33729 h 291327"/>
              <a:gd name="connsiteX12" fmla="*/ 5872 w 348691"/>
              <a:gd name="connsiteY12" fmla="*/ 10131 h 291327"/>
              <a:gd name="connsiteX13" fmla="*/ 12868 w 348691"/>
              <a:gd name="connsiteY13" fmla="*/ 1359 h 291327"/>
              <a:gd name="connsiteX14" fmla="*/ 35356 w 348691"/>
              <a:gd name="connsiteY14" fmla="*/ 16679 h 291327"/>
              <a:gd name="connsiteX15" fmla="*/ 43102 w 348691"/>
              <a:gd name="connsiteY15" fmla="*/ 28787 h 291327"/>
              <a:gd name="connsiteX16" fmla="*/ 54971 w 348691"/>
              <a:gd name="connsiteY16" fmla="*/ 25698 h 291327"/>
              <a:gd name="connsiteX17" fmla="*/ 54971 w 348691"/>
              <a:gd name="connsiteY17" fmla="*/ 13220 h 291327"/>
              <a:gd name="connsiteX18" fmla="*/ 71462 w 348691"/>
              <a:gd name="connsiteY18" fmla="*/ 10007 h 291327"/>
              <a:gd name="connsiteX19" fmla="*/ 82707 w 348691"/>
              <a:gd name="connsiteY19" fmla="*/ 10131 h 291327"/>
              <a:gd name="connsiteX20" fmla="*/ 91577 w 348691"/>
              <a:gd name="connsiteY20" fmla="*/ 0 h 291327"/>
              <a:gd name="connsiteX21" fmla="*/ 106444 w 348691"/>
              <a:gd name="connsiteY21" fmla="*/ 7784 h 291327"/>
              <a:gd name="connsiteX22" fmla="*/ 114065 w 348691"/>
              <a:gd name="connsiteY22" fmla="*/ 247 h 291327"/>
              <a:gd name="connsiteX23" fmla="*/ 128682 w 348691"/>
              <a:gd name="connsiteY23" fmla="*/ 2965 h 291327"/>
              <a:gd name="connsiteX24" fmla="*/ 137303 w 348691"/>
              <a:gd name="connsiteY24" fmla="*/ 17667 h 291327"/>
              <a:gd name="connsiteX25" fmla="*/ 148922 w 348691"/>
              <a:gd name="connsiteY25" fmla="*/ 8648 h 291327"/>
              <a:gd name="connsiteX26" fmla="*/ 169661 w 348691"/>
              <a:gd name="connsiteY26" fmla="*/ 14949 h 291327"/>
              <a:gd name="connsiteX27" fmla="*/ 184028 w 348691"/>
              <a:gd name="connsiteY27" fmla="*/ 8401 h 291327"/>
              <a:gd name="connsiteX28" fmla="*/ 188901 w 348691"/>
              <a:gd name="connsiteY28" fmla="*/ 14085 h 291327"/>
              <a:gd name="connsiteX29" fmla="*/ 211264 w 348691"/>
              <a:gd name="connsiteY29" fmla="*/ 10502 h 291327"/>
              <a:gd name="connsiteX30" fmla="*/ 230754 w 348691"/>
              <a:gd name="connsiteY30" fmla="*/ 16926 h 291327"/>
              <a:gd name="connsiteX31" fmla="*/ 242497 w 348691"/>
              <a:gd name="connsiteY31" fmla="*/ 14455 h 291327"/>
              <a:gd name="connsiteX32" fmla="*/ 261612 w 348691"/>
              <a:gd name="connsiteY32" fmla="*/ 28663 h 291327"/>
              <a:gd name="connsiteX33" fmla="*/ 287474 w 348691"/>
              <a:gd name="connsiteY33" fmla="*/ 28293 h 291327"/>
              <a:gd name="connsiteX34" fmla="*/ 295095 w 348691"/>
              <a:gd name="connsiteY34" fmla="*/ 37065 h 291327"/>
              <a:gd name="connsiteX35" fmla="*/ 302841 w 348691"/>
              <a:gd name="connsiteY35" fmla="*/ 30887 h 291327"/>
              <a:gd name="connsiteX36" fmla="*/ 314085 w 348691"/>
              <a:gd name="connsiteY36" fmla="*/ 31011 h 291327"/>
              <a:gd name="connsiteX37" fmla="*/ 312461 w 348691"/>
              <a:gd name="connsiteY37" fmla="*/ 54732 h 291327"/>
              <a:gd name="connsiteX38" fmla="*/ 295220 w 348691"/>
              <a:gd name="connsiteY38" fmla="*/ 82901 h 291327"/>
              <a:gd name="connsiteX39" fmla="*/ 296344 w 348691"/>
              <a:gd name="connsiteY39" fmla="*/ 95256 h 291327"/>
              <a:gd name="connsiteX40" fmla="*/ 323705 w 348691"/>
              <a:gd name="connsiteY40" fmla="*/ 115147 h 291327"/>
              <a:gd name="connsiteX41" fmla="*/ 337697 w 348691"/>
              <a:gd name="connsiteY41" fmla="*/ 115147 h 291327"/>
              <a:gd name="connsiteX42" fmla="*/ 348692 w 348691"/>
              <a:gd name="connsiteY42" fmla="*/ 125896 h 291327"/>
              <a:gd name="connsiteX43" fmla="*/ 342570 w 348691"/>
              <a:gd name="connsiteY43" fmla="*/ 136645 h 291327"/>
              <a:gd name="connsiteX44" fmla="*/ 326328 w 348691"/>
              <a:gd name="connsiteY44" fmla="*/ 128738 h 291327"/>
              <a:gd name="connsiteX45" fmla="*/ 317958 w 348691"/>
              <a:gd name="connsiteY45" fmla="*/ 135039 h 291327"/>
              <a:gd name="connsiteX46" fmla="*/ 318832 w 348691"/>
              <a:gd name="connsiteY46" fmla="*/ 154683 h 291327"/>
              <a:gd name="connsiteX47" fmla="*/ 340321 w 348691"/>
              <a:gd name="connsiteY47" fmla="*/ 177292 h 291327"/>
              <a:gd name="connsiteX48" fmla="*/ 332825 w 348691"/>
              <a:gd name="connsiteY48" fmla="*/ 185447 h 291327"/>
              <a:gd name="connsiteX49" fmla="*/ 317958 w 348691"/>
              <a:gd name="connsiteY49" fmla="*/ 181493 h 291327"/>
              <a:gd name="connsiteX50" fmla="*/ 298218 w 348691"/>
              <a:gd name="connsiteY50" fmla="*/ 169262 h 291327"/>
              <a:gd name="connsiteX51" fmla="*/ 287349 w 348691"/>
              <a:gd name="connsiteY51" fmla="*/ 177540 h 291327"/>
              <a:gd name="connsiteX52" fmla="*/ 288598 w 348691"/>
              <a:gd name="connsiteY52" fmla="*/ 191253 h 291327"/>
              <a:gd name="connsiteX53" fmla="*/ 305589 w 348691"/>
              <a:gd name="connsiteY53" fmla="*/ 201014 h 291327"/>
              <a:gd name="connsiteX54" fmla="*/ 312086 w 348691"/>
              <a:gd name="connsiteY54" fmla="*/ 213863 h 291327"/>
              <a:gd name="connsiteX55" fmla="*/ 298593 w 348691"/>
              <a:gd name="connsiteY55" fmla="*/ 221646 h 291327"/>
              <a:gd name="connsiteX56" fmla="*/ 285475 w 348691"/>
              <a:gd name="connsiteY56" fmla="*/ 223500 h 291327"/>
              <a:gd name="connsiteX57" fmla="*/ 278853 w 348691"/>
              <a:gd name="connsiteY57" fmla="*/ 242156 h 291327"/>
              <a:gd name="connsiteX58" fmla="*/ 279353 w 348691"/>
              <a:gd name="connsiteY58" fmla="*/ 266371 h 291327"/>
              <a:gd name="connsiteX59" fmla="*/ 269608 w 348691"/>
              <a:gd name="connsiteY59" fmla="*/ 286386 h 291327"/>
              <a:gd name="connsiteX60" fmla="*/ 261113 w 348691"/>
              <a:gd name="connsiteY60" fmla="*/ 291328 h 291327"/>
              <a:gd name="connsiteX61" fmla="*/ 240499 w 348691"/>
              <a:gd name="connsiteY61" fmla="*/ 266248 h 291327"/>
              <a:gd name="connsiteX62" fmla="*/ 231004 w 348691"/>
              <a:gd name="connsiteY62" fmla="*/ 271437 h 291327"/>
              <a:gd name="connsiteX63" fmla="*/ 196272 w 348691"/>
              <a:gd name="connsiteY63" fmla="*/ 267359 h 291327"/>
              <a:gd name="connsiteX64" fmla="*/ 184653 w 348691"/>
              <a:gd name="connsiteY64" fmla="*/ 265259 h 291327"/>
              <a:gd name="connsiteX65" fmla="*/ 184653 w 348691"/>
              <a:gd name="connsiteY65" fmla="*/ 265136 h 29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48691" h="291327">
                <a:moveTo>
                  <a:pt x="184653" y="265136"/>
                </a:moveTo>
                <a:lnTo>
                  <a:pt x="190525" y="249198"/>
                </a:lnTo>
                <a:lnTo>
                  <a:pt x="123310" y="180628"/>
                </a:lnTo>
                <a:lnTo>
                  <a:pt x="46476" y="119719"/>
                </a:lnTo>
                <a:lnTo>
                  <a:pt x="43352" y="109341"/>
                </a:lnTo>
                <a:lnTo>
                  <a:pt x="48974" y="102545"/>
                </a:lnTo>
                <a:lnTo>
                  <a:pt x="36481" y="88090"/>
                </a:lnTo>
                <a:lnTo>
                  <a:pt x="32483" y="73141"/>
                </a:lnTo>
                <a:lnTo>
                  <a:pt x="13118" y="53002"/>
                </a:lnTo>
                <a:lnTo>
                  <a:pt x="1124" y="54238"/>
                </a:lnTo>
                <a:lnTo>
                  <a:pt x="0" y="41142"/>
                </a:lnTo>
                <a:lnTo>
                  <a:pt x="6871" y="33729"/>
                </a:lnTo>
                <a:lnTo>
                  <a:pt x="5872" y="10131"/>
                </a:lnTo>
                <a:lnTo>
                  <a:pt x="12868" y="1359"/>
                </a:lnTo>
                <a:lnTo>
                  <a:pt x="35356" y="16679"/>
                </a:lnTo>
                <a:lnTo>
                  <a:pt x="43102" y="28787"/>
                </a:lnTo>
                <a:lnTo>
                  <a:pt x="54971" y="25698"/>
                </a:lnTo>
                <a:lnTo>
                  <a:pt x="54971" y="13220"/>
                </a:lnTo>
                <a:lnTo>
                  <a:pt x="71462" y="10007"/>
                </a:lnTo>
                <a:lnTo>
                  <a:pt x="82707" y="10131"/>
                </a:lnTo>
                <a:lnTo>
                  <a:pt x="91577" y="0"/>
                </a:lnTo>
                <a:lnTo>
                  <a:pt x="106444" y="7784"/>
                </a:lnTo>
                <a:lnTo>
                  <a:pt x="114065" y="247"/>
                </a:lnTo>
                <a:lnTo>
                  <a:pt x="128682" y="2965"/>
                </a:lnTo>
                <a:lnTo>
                  <a:pt x="137303" y="17667"/>
                </a:lnTo>
                <a:lnTo>
                  <a:pt x="148922" y="8648"/>
                </a:lnTo>
                <a:lnTo>
                  <a:pt x="169661" y="14949"/>
                </a:lnTo>
                <a:lnTo>
                  <a:pt x="184028" y="8401"/>
                </a:lnTo>
                <a:lnTo>
                  <a:pt x="188901" y="14085"/>
                </a:lnTo>
                <a:lnTo>
                  <a:pt x="211264" y="10502"/>
                </a:lnTo>
                <a:lnTo>
                  <a:pt x="230754" y="16926"/>
                </a:lnTo>
                <a:lnTo>
                  <a:pt x="242497" y="14455"/>
                </a:lnTo>
                <a:lnTo>
                  <a:pt x="261612" y="28663"/>
                </a:lnTo>
                <a:lnTo>
                  <a:pt x="287474" y="28293"/>
                </a:lnTo>
                <a:lnTo>
                  <a:pt x="295095" y="37065"/>
                </a:lnTo>
                <a:lnTo>
                  <a:pt x="302841" y="30887"/>
                </a:lnTo>
                <a:lnTo>
                  <a:pt x="314085" y="31011"/>
                </a:lnTo>
                <a:lnTo>
                  <a:pt x="312461" y="54732"/>
                </a:lnTo>
                <a:lnTo>
                  <a:pt x="295220" y="82901"/>
                </a:lnTo>
                <a:lnTo>
                  <a:pt x="296344" y="95256"/>
                </a:lnTo>
                <a:lnTo>
                  <a:pt x="323705" y="115147"/>
                </a:lnTo>
                <a:lnTo>
                  <a:pt x="337697" y="115147"/>
                </a:lnTo>
                <a:lnTo>
                  <a:pt x="348692" y="125896"/>
                </a:lnTo>
                <a:lnTo>
                  <a:pt x="342570" y="136645"/>
                </a:lnTo>
                <a:lnTo>
                  <a:pt x="326328" y="128738"/>
                </a:lnTo>
                <a:lnTo>
                  <a:pt x="317958" y="135039"/>
                </a:lnTo>
                <a:lnTo>
                  <a:pt x="318832" y="154683"/>
                </a:lnTo>
                <a:lnTo>
                  <a:pt x="340321" y="177292"/>
                </a:lnTo>
                <a:lnTo>
                  <a:pt x="332825" y="185447"/>
                </a:lnTo>
                <a:lnTo>
                  <a:pt x="317958" y="181493"/>
                </a:lnTo>
                <a:lnTo>
                  <a:pt x="298218" y="169262"/>
                </a:lnTo>
                <a:lnTo>
                  <a:pt x="287349" y="177540"/>
                </a:lnTo>
                <a:lnTo>
                  <a:pt x="288598" y="191253"/>
                </a:lnTo>
                <a:lnTo>
                  <a:pt x="305589" y="201014"/>
                </a:lnTo>
                <a:lnTo>
                  <a:pt x="312086" y="213863"/>
                </a:lnTo>
                <a:lnTo>
                  <a:pt x="298593" y="221646"/>
                </a:lnTo>
                <a:lnTo>
                  <a:pt x="285475" y="223500"/>
                </a:lnTo>
                <a:lnTo>
                  <a:pt x="278853" y="242156"/>
                </a:lnTo>
                <a:lnTo>
                  <a:pt x="279353" y="266371"/>
                </a:lnTo>
                <a:lnTo>
                  <a:pt x="269608" y="286386"/>
                </a:lnTo>
                <a:lnTo>
                  <a:pt x="261113" y="291328"/>
                </a:lnTo>
                <a:lnTo>
                  <a:pt x="240499" y="266248"/>
                </a:lnTo>
                <a:lnTo>
                  <a:pt x="231004" y="271437"/>
                </a:lnTo>
                <a:lnTo>
                  <a:pt x="196272" y="267359"/>
                </a:lnTo>
                <a:lnTo>
                  <a:pt x="184653" y="265259"/>
                </a:lnTo>
                <a:lnTo>
                  <a:pt x="184653" y="265136"/>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6" name="Graphic 6">
            <a:extLst>
              <a:ext uri="{FF2B5EF4-FFF2-40B4-BE49-F238E27FC236}">
                <a16:creationId xmlns:a16="http://schemas.microsoft.com/office/drawing/2014/main" id="{0F187886-6F26-03D4-7B35-C23C7203FDD0}"/>
              </a:ext>
            </a:extLst>
          </p:cNvPr>
          <p:cNvSpPr/>
          <p:nvPr/>
        </p:nvSpPr>
        <p:spPr>
          <a:xfrm rot="1141104">
            <a:off x="7707674" y="3712757"/>
            <a:ext cx="385047" cy="423400"/>
          </a:xfrm>
          <a:custGeom>
            <a:avLst/>
            <a:gdLst>
              <a:gd name="connsiteX0" fmla="*/ 301466 w 385047"/>
              <a:gd name="connsiteY0" fmla="*/ 420559 h 423400"/>
              <a:gd name="connsiteX1" fmla="*/ 318832 w 385047"/>
              <a:gd name="connsiteY1" fmla="*/ 422413 h 423400"/>
              <a:gd name="connsiteX2" fmla="*/ 344319 w 385047"/>
              <a:gd name="connsiteY2" fmla="*/ 415370 h 423400"/>
              <a:gd name="connsiteX3" fmla="*/ 358811 w 385047"/>
              <a:gd name="connsiteY3" fmla="*/ 414753 h 423400"/>
              <a:gd name="connsiteX4" fmla="*/ 364058 w 385047"/>
              <a:gd name="connsiteY4" fmla="*/ 398197 h 423400"/>
              <a:gd name="connsiteX5" fmla="*/ 351315 w 385047"/>
              <a:gd name="connsiteY5" fmla="*/ 380406 h 423400"/>
              <a:gd name="connsiteX6" fmla="*/ 348691 w 385047"/>
              <a:gd name="connsiteY6" fmla="*/ 365457 h 423400"/>
              <a:gd name="connsiteX7" fmla="*/ 379925 w 385047"/>
              <a:gd name="connsiteY7" fmla="*/ 334693 h 423400"/>
              <a:gd name="connsiteX8" fmla="*/ 385047 w 385047"/>
              <a:gd name="connsiteY8" fmla="*/ 316161 h 423400"/>
              <a:gd name="connsiteX9" fmla="*/ 371429 w 385047"/>
              <a:gd name="connsiteY9" fmla="*/ 293181 h 423400"/>
              <a:gd name="connsiteX10" fmla="*/ 343819 w 385047"/>
              <a:gd name="connsiteY10" fmla="*/ 267483 h 423400"/>
              <a:gd name="connsiteX11" fmla="*/ 332950 w 385047"/>
              <a:gd name="connsiteY11" fmla="*/ 231283 h 423400"/>
              <a:gd name="connsiteX12" fmla="*/ 346817 w 385047"/>
              <a:gd name="connsiteY12" fmla="*/ 216210 h 423400"/>
              <a:gd name="connsiteX13" fmla="*/ 334699 w 385047"/>
              <a:gd name="connsiteY13" fmla="*/ 180010 h 423400"/>
              <a:gd name="connsiteX14" fmla="*/ 331450 w 385047"/>
              <a:gd name="connsiteY14" fmla="*/ 166420 h 423400"/>
              <a:gd name="connsiteX15" fmla="*/ 345943 w 385047"/>
              <a:gd name="connsiteY15" fmla="*/ 148752 h 423400"/>
              <a:gd name="connsiteX16" fmla="*/ 313960 w 385047"/>
              <a:gd name="connsiteY16" fmla="*/ 143687 h 423400"/>
              <a:gd name="connsiteX17" fmla="*/ 299592 w 385047"/>
              <a:gd name="connsiteY17" fmla="*/ 164567 h 423400"/>
              <a:gd name="connsiteX18" fmla="*/ 284475 w 385047"/>
              <a:gd name="connsiteY18" fmla="*/ 152088 h 423400"/>
              <a:gd name="connsiteX19" fmla="*/ 265610 w 385047"/>
              <a:gd name="connsiteY19" fmla="*/ 160737 h 423400"/>
              <a:gd name="connsiteX20" fmla="*/ 256365 w 385047"/>
              <a:gd name="connsiteY20" fmla="*/ 146034 h 423400"/>
              <a:gd name="connsiteX21" fmla="*/ 225756 w 385047"/>
              <a:gd name="connsiteY21" fmla="*/ 137510 h 423400"/>
              <a:gd name="connsiteX22" fmla="*/ 221633 w 385047"/>
              <a:gd name="connsiteY22" fmla="*/ 128120 h 423400"/>
              <a:gd name="connsiteX23" fmla="*/ 231253 w 385047"/>
              <a:gd name="connsiteY23" fmla="*/ 105016 h 423400"/>
              <a:gd name="connsiteX24" fmla="*/ 206266 w 385047"/>
              <a:gd name="connsiteY24" fmla="*/ 88090 h 423400"/>
              <a:gd name="connsiteX25" fmla="*/ 181904 w 385047"/>
              <a:gd name="connsiteY25" fmla="*/ 76600 h 423400"/>
              <a:gd name="connsiteX26" fmla="*/ 175283 w 385047"/>
              <a:gd name="connsiteY26" fmla="*/ 60786 h 423400"/>
              <a:gd name="connsiteX27" fmla="*/ 144174 w 385047"/>
              <a:gd name="connsiteY27" fmla="*/ 27551 h 423400"/>
              <a:gd name="connsiteX28" fmla="*/ 138177 w 385047"/>
              <a:gd name="connsiteY28" fmla="*/ 16308 h 423400"/>
              <a:gd name="connsiteX29" fmla="*/ 107818 w 385047"/>
              <a:gd name="connsiteY29" fmla="*/ 7413 h 423400"/>
              <a:gd name="connsiteX30" fmla="*/ 88453 w 385047"/>
              <a:gd name="connsiteY30" fmla="*/ 3954 h 423400"/>
              <a:gd name="connsiteX31" fmla="*/ 74336 w 385047"/>
              <a:gd name="connsiteY31" fmla="*/ 0 h 423400"/>
              <a:gd name="connsiteX32" fmla="*/ 53347 w 385047"/>
              <a:gd name="connsiteY32" fmla="*/ 19026 h 423400"/>
              <a:gd name="connsiteX33" fmla="*/ 48225 w 385047"/>
              <a:gd name="connsiteY33" fmla="*/ 27922 h 423400"/>
              <a:gd name="connsiteX34" fmla="*/ 32733 w 385047"/>
              <a:gd name="connsiteY34" fmla="*/ 26439 h 423400"/>
              <a:gd name="connsiteX35" fmla="*/ 12119 w 385047"/>
              <a:gd name="connsiteY35" fmla="*/ 37929 h 423400"/>
              <a:gd name="connsiteX36" fmla="*/ 0 w 385047"/>
              <a:gd name="connsiteY36" fmla="*/ 52508 h 423400"/>
              <a:gd name="connsiteX37" fmla="*/ 1999 w 385047"/>
              <a:gd name="connsiteY37" fmla="*/ 53497 h 423400"/>
              <a:gd name="connsiteX38" fmla="*/ 14492 w 385047"/>
              <a:gd name="connsiteY38" fmla="*/ 79812 h 423400"/>
              <a:gd name="connsiteX39" fmla="*/ 20739 w 385047"/>
              <a:gd name="connsiteY39" fmla="*/ 103040 h 423400"/>
              <a:gd name="connsiteX40" fmla="*/ 30359 w 385047"/>
              <a:gd name="connsiteY40" fmla="*/ 110576 h 423400"/>
              <a:gd name="connsiteX41" fmla="*/ 47725 w 385047"/>
              <a:gd name="connsiteY41" fmla="*/ 113788 h 423400"/>
              <a:gd name="connsiteX42" fmla="*/ 47975 w 385047"/>
              <a:gd name="connsiteY42" fmla="*/ 120954 h 423400"/>
              <a:gd name="connsiteX43" fmla="*/ 39479 w 385047"/>
              <a:gd name="connsiteY43" fmla="*/ 121201 h 423400"/>
              <a:gd name="connsiteX44" fmla="*/ 21863 w 385047"/>
              <a:gd name="connsiteY44" fmla="*/ 128614 h 423400"/>
              <a:gd name="connsiteX45" fmla="*/ 24737 w 385047"/>
              <a:gd name="connsiteY45" fmla="*/ 143069 h 423400"/>
              <a:gd name="connsiteX46" fmla="*/ 29984 w 385047"/>
              <a:gd name="connsiteY46" fmla="*/ 149123 h 423400"/>
              <a:gd name="connsiteX47" fmla="*/ 37730 w 385047"/>
              <a:gd name="connsiteY47" fmla="*/ 142946 h 423400"/>
              <a:gd name="connsiteX48" fmla="*/ 48974 w 385047"/>
              <a:gd name="connsiteY48" fmla="*/ 143193 h 423400"/>
              <a:gd name="connsiteX49" fmla="*/ 47350 w 385047"/>
              <a:gd name="connsiteY49" fmla="*/ 166791 h 423400"/>
              <a:gd name="connsiteX50" fmla="*/ 30109 w 385047"/>
              <a:gd name="connsiteY50" fmla="*/ 194960 h 423400"/>
              <a:gd name="connsiteX51" fmla="*/ 31234 w 385047"/>
              <a:gd name="connsiteY51" fmla="*/ 207438 h 423400"/>
              <a:gd name="connsiteX52" fmla="*/ 58594 w 385047"/>
              <a:gd name="connsiteY52" fmla="*/ 227206 h 423400"/>
              <a:gd name="connsiteX53" fmla="*/ 72587 w 385047"/>
              <a:gd name="connsiteY53" fmla="*/ 227206 h 423400"/>
              <a:gd name="connsiteX54" fmla="*/ 83581 w 385047"/>
              <a:gd name="connsiteY54" fmla="*/ 237955 h 423400"/>
              <a:gd name="connsiteX55" fmla="*/ 77459 w 385047"/>
              <a:gd name="connsiteY55" fmla="*/ 248703 h 423400"/>
              <a:gd name="connsiteX56" fmla="*/ 61218 w 385047"/>
              <a:gd name="connsiteY56" fmla="*/ 240796 h 423400"/>
              <a:gd name="connsiteX57" fmla="*/ 52847 w 385047"/>
              <a:gd name="connsiteY57" fmla="*/ 247097 h 423400"/>
              <a:gd name="connsiteX58" fmla="*/ 53722 w 385047"/>
              <a:gd name="connsiteY58" fmla="*/ 266741 h 423400"/>
              <a:gd name="connsiteX59" fmla="*/ 75210 w 385047"/>
              <a:gd name="connsiteY59" fmla="*/ 289351 h 423400"/>
              <a:gd name="connsiteX60" fmla="*/ 69338 w 385047"/>
              <a:gd name="connsiteY60" fmla="*/ 295775 h 423400"/>
              <a:gd name="connsiteX61" fmla="*/ 89453 w 385047"/>
              <a:gd name="connsiteY61" fmla="*/ 313690 h 423400"/>
              <a:gd name="connsiteX62" fmla="*/ 90078 w 385047"/>
              <a:gd name="connsiteY62" fmla="*/ 328021 h 423400"/>
              <a:gd name="connsiteX63" fmla="*/ 99198 w 385047"/>
              <a:gd name="connsiteY63" fmla="*/ 337411 h 423400"/>
              <a:gd name="connsiteX64" fmla="*/ 119687 w 385047"/>
              <a:gd name="connsiteY64" fmla="*/ 336546 h 423400"/>
              <a:gd name="connsiteX65" fmla="*/ 134804 w 385047"/>
              <a:gd name="connsiteY65" fmla="*/ 349642 h 423400"/>
              <a:gd name="connsiteX66" fmla="*/ 158167 w 385047"/>
              <a:gd name="connsiteY66" fmla="*/ 352608 h 423400"/>
              <a:gd name="connsiteX67" fmla="*/ 175283 w 385047"/>
              <a:gd name="connsiteY67" fmla="*/ 370522 h 423400"/>
              <a:gd name="connsiteX68" fmla="*/ 182904 w 385047"/>
              <a:gd name="connsiteY68" fmla="*/ 362615 h 423400"/>
              <a:gd name="connsiteX69" fmla="*/ 181779 w 385047"/>
              <a:gd name="connsiteY69" fmla="*/ 355326 h 423400"/>
              <a:gd name="connsiteX70" fmla="*/ 194148 w 385047"/>
              <a:gd name="connsiteY70" fmla="*/ 344330 h 423400"/>
              <a:gd name="connsiteX71" fmla="*/ 197021 w 385047"/>
              <a:gd name="connsiteY71" fmla="*/ 332963 h 423400"/>
              <a:gd name="connsiteX72" fmla="*/ 192524 w 385047"/>
              <a:gd name="connsiteY72" fmla="*/ 323080 h 423400"/>
              <a:gd name="connsiteX73" fmla="*/ 210014 w 385047"/>
              <a:gd name="connsiteY73" fmla="*/ 315296 h 423400"/>
              <a:gd name="connsiteX74" fmla="*/ 215511 w 385047"/>
              <a:gd name="connsiteY74" fmla="*/ 323944 h 423400"/>
              <a:gd name="connsiteX75" fmla="*/ 234377 w 385047"/>
              <a:gd name="connsiteY75" fmla="*/ 330987 h 423400"/>
              <a:gd name="connsiteX76" fmla="*/ 247245 w 385047"/>
              <a:gd name="connsiteY76" fmla="*/ 340500 h 423400"/>
              <a:gd name="connsiteX77" fmla="*/ 249619 w 385047"/>
              <a:gd name="connsiteY77" fmla="*/ 353102 h 423400"/>
              <a:gd name="connsiteX78" fmla="*/ 268234 w 385047"/>
              <a:gd name="connsiteY78" fmla="*/ 358044 h 423400"/>
              <a:gd name="connsiteX79" fmla="*/ 267859 w 385047"/>
              <a:gd name="connsiteY79" fmla="*/ 366074 h 423400"/>
              <a:gd name="connsiteX80" fmla="*/ 283476 w 385047"/>
              <a:gd name="connsiteY80" fmla="*/ 369904 h 423400"/>
              <a:gd name="connsiteX81" fmla="*/ 285225 w 385047"/>
              <a:gd name="connsiteY81" fmla="*/ 374229 h 423400"/>
              <a:gd name="connsiteX82" fmla="*/ 303215 w 385047"/>
              <a:gd name="connsiteY82" fmla="*/ 373982 h 423400"/>
              <a:gd name="connsiteX83" fmla="*/ 298718 w 385047"/>
              <a:gd name="connsiteY83" fmla="*/ 380653 h 423400"/>
              <a:gd name="connsiteX84" fmla="*/ 296719 w 385047"/>
              <a:gd name="connsiteY84" fmla="*/ 393502 h 423400"/>
              <a:gd name="connsiteX85" fmla="*/ 289098 w 385047"/>
              <a:gd name="connsiteY85" fmla="*/ 400174 h 423400"/>
              <a:gd name="connsiteX86" fmla="*/ 292596 w 385047"/>
              <a:gd name="connsiteY86" fmla="*/ 408328 h 423400"/>
              <a:gd name="connsiteX87" fmla="*/ 284100 w 385047"/>
              <a:gd name="connsiteY87" fmla="*/ 415247 h 423400"/>
              <a:gd name="connsiteX88" fmla="*/ 291471 w 385047"/>
              <a:gd name="connsiteY88" fmla="*/ 423401 h 423400"/>
              <a:gd name="connsiteX89" fmla="*/ 301466 w 385047"/>
              <a:gd name="connsiteY89" fmla="*/ 420559 h 42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85047" h="423400">
                <a:moveTo>
                  <a:pt x="301466" y="420559"/>
                </a:moveTo>
                <a:lnTo>
                  <a:pt x="318832" y="422413"/>
                </a:lnTo>
                <a:lnTo>
                  <a:pt x="344319" y="415370"/>
                </a:lnTo>
                <a:lnTo>
                  <a:pt x="358811" y="414753"/>
                </a:lnTo>
                <a:lnTo>
                  <a:pt x="364058" y="398197"/>
                </a:lnTo>
                <a:lnTo>
                  <a:pt x="351315" y="380406"/>
                </a:lnTo>
                <a:lnTo>
                  <a:pt x="348691" y="365457"/>
                </a:lnTo>
                <a:lnTo>
                  <a:pt x="379925" y="334693"/>
                </a:lnTo>
                <a:lnTo>
                  <a:pt x="385047" y="316161"/>
                </a:lnTo>
                <a:lnTo>
                  <a:pt x="371429" y="293181"/>
                </a:lnTo>
                <a:lnTo>
                  <a:pt x="343819" y="267483"/>
                </a:lnTo>
                <a:lnTo>
                  <a:pt x="332950" y="231283"/>
                </a:lnTo>
                <a:lnTo>
                  <a:pt x="346817" y="216210"/>
                </a:lnTo>
                <a:lnTo>
                  <a:pt x="334699" y="180010"/>
                </a:lnTo>
                <a:lnTo>
                  <a:pt x="331450" y="166420"/>
                </a:lnTo>
                <a:lnTo>
                  <a:pt x="345943" y="148752"/>
                </a:lnTo>
                <a:lnTo>
                  <a:pt x="313960" y="143687"/>
                </a:lnTo>
                <a:lnTo>
                  <a:pt x="299592" y="164567"/>
                </a:lnTo>
                <a:lnTo>
                  <a:pt x="284475" y="152088"/>
                </a:lnTo>
                <a:lnTo>
                  <a:pt x="265610" y="160737"/>
                </a:lnTo>
                <a:lnTo>
                  <a:pt x="256365" y="146034"/>
                </a:lnTo>
                <a:lnTo>
                  <a:pt x="225756" y="137510"/>
                </a:lnTo>
                <a:lnTo>
                  <a:pt x="221633" y="128120"/>
                </a:lnTo>
                <a:lnTo>
                  <a:pt x="231253" y="105016"/>
                </a:lnTo>
                <a:lnTo>
                  <a:pt x="206266" y="88090"/>
                </a:lnTo>
                <a:lnTo>
                  <a:pt x="181904" y="76600"/>
                </a:lnTo>
                <a:lnTo>
                  <a:pt x="175283" y="60786"/>
                </a:lnTo>
                <a:lnTo>
                  <a:pt x="144174" y="27551"/>
                </a:lnTo>
                <a:lnTo>
                  <a:pt x="138177" y="16308"/>
                </a:lnTo>
                <a:lnTo>
                  <a:pt x="107818" y="7413"/>
                </a:lnTo>
                <a:lnTo>
                  <a:pt x="88453" y="3954"/>
                </a:lnTo>
                <a:lnTo>
                  <a:pt x="74336" y="0"/>
                </a:lnTo>
                <a:lnTo>
                  <a:pt x="53347" y="19026"/>
                </a:lnTo>
                <a:lnTo>
                  <a:pt x="48225" y="27922"/>
                </a:lnTo>
                <a:lnTo>
                  <a:pt x="32733" y="26439"/>
                </a:lnTo>
                <a:lnTo>
                  <a:pt x="12119" y="37929"/>
                </a:lnTo>
                <a:lnTo>
                  <a:pt x="0" y="52508"/>
                </a:lnTo>
                <a:lnTo>
                  <a:pt x="1999" y="53497"/>
                </a:lnTo>
                <a:lnTo>
                  <a:pt x="14492" y="79812"/>
                </a:lnTo>
                <a:lnTo>
                  <a:pt x="20739" y="103040"/>
                </a:lnTo>
                <a:lnTo>
                  <a:pt x="30359" y="110576"/>
                </a:lnTo>
                <a:lnTo>
                  <a:pt x="47725" y="113788"/>
                </a:lnTo>
                <a:lnTo>
                  <a:pt x="47975" y="120954"/>
                </a:lnTo>
                <a:lnTo>
                  <a:pt x="39479" y="121201"/>
                </a:lnTo>
                <a:lnTo>
                  <a:pt x="21863" y="128614"/>
                </a:lnTo>
                <a:lnTo>
                  <a:pt x="24737" y="143069"/>
                </a:lnTo>
                <a:lnTo>
                  <a:pt x="29984" y="149123"/>
                </a:lnTo>
                <a:lnTo>
                  <a:pt x="37730" y="142946"/>
                </a:lnTo>
                <a:lnTo>
                  <a:pt x="48974" y="143193"/>
                </a:lnTo>
                <a:lnTo>
                  <a:pt x="47350" y="166791"/>
                </a:lnTo>
                <a:lnTo>
                  <a:pt x="30109" y="194960"/>
                </a:lnTo>
                <a:lnTo>
                  <a:pt x="31234" y="207438"/>
                </a:lnTo>
                <a:lnTo>
                  <a:pt x="58594" y="227206"/>
                </a:lnTo>
                <a:lnTo>
                  <a:pt x="72587" y="227206"/>
                </a:lnTo>
                <a:lnTo>
                  <a:pt x="83581" y="237955"/>
                </a:lnTo>
                <a:lnTo>
                  <a:pt x="77459" y="248703"/>
                </a:lnTo>
                <a:lnTo>
                  <a:pt x="61218" y="240796"/>
                </a:lnTo>
                <a:lnTo>
                  <a:pt x="52847" y="247097"/>
                </a:lnTo>
                <a:lnTo>
                  <a:pt x="53722" y="266741"/>
                </a:lnTo>
                <a:lnTo>
                  <a:pt x="75210" y="289351"/>
                </a:lnTo>
                <a:lnTo>
                  <a:pt x="69338" y="295775"/>
                </a:lnTo>
                <a:lnTo>
                  <a:pt x="89453" y="313690"/>
                </a:lnTo>
                <a:lnTo>
                  <a:pt x="90078" y="328021"/>
                </a:lnTo>
                <a:lnTo>
                  <a:pt x="99198" y="337411"/>
                </a:lnTo>
                <a:lnTo>
                  <a:pt x="119687" y="336546"/>
                </a:lnTo>
                <a:lnTo>
                  <a:pt x="134804" y="349642"/>
                </a:lnTo>
                <a:lnTo>
                  <a:pt x="158167" y="352608"/>
                </a:lnTo>
                <a:lnTo>
                  <a:pt x="175283" y="370522"/>
                </a:lnTo>
                <a:lnTo>
                  <a:pt x="182904" y="362615"/>
                </a:lnTo>
                <a:lnTo>
                  <a:pt x="181779" y="355326"/>
                </a:lnTo>
                <a:lnTo>
                  <a:pt x="194148" y="344330"/>
                </a:lnTo>
                <a:lnTo>
                  <a:pt x="197021" y="332963"/>
                </a:lnTo>
                <a:lnTo>
                  <a:pt x="192524" y="323080"/>
                </a:lnTo>
                <a:lnTo>
                  <a:pt x="210014" y="315296"/>
                </a:lnTo>
                <a:lnTo>
                  <a:pt x="215511" y="323944"/>
                </a:lnTo>
                <a:lnTo>
                  <a:pt x="234377" y="330987"/>
                </a:lnTo>
                <a:lnTo>
                  <a:pt x="247245" y="340500"/>
                </a:lnTo>
                <a:lnTo>
                  <a:pt x="249619" y="353102"/>
                </a:lnTo>
                <a:lnTo>
                  <a:pt x="268234" y="358044"/>
                </a:lnTo>
                <a:lnTo>
                  <a:pt x="267859" y="366074"/>
                </a:lnTo>
                <a:lnTo>
                  <a:pt x="283476" y="369904"/>
                </a:lnTo>
                <a:lnTo>
                  <a:pt x="285225" y="374229"/>
                </a:lnTo>
                <a:lnTo>
                  <a:pt x="303215" y="373982"/>
                </a:lnTo>
                <a:lnTo>
                  <a:pt x="298718" y="380653"/>
                </a:lnTo>
                <a:lnTo>
                  <a:pt x="296719" y="393502"/>
                </a:lnTo>
                <a:lnTo>
                  <a:pt x="289098" y="400174"/>
                </a:lnTo>
                <a:lnTo>
                  <a:pt x="292596" y="408328"/>
                </a:lnTo>
                <a:lnTo>
                  <a:pt x="284100" y="415247"/>
                </a:lnTo>
                <a:lnTo>
                  <a:pt x="291471" y="423401"/>
                </a:lnTo>
                <a:lnTo>
                  <a:pt x="301466" y="420559"/>
                </a:lnTo>
                <a:close/>
              </a:path>
            </a:pathLst>
          </a:custGeom>
          <a:solidFill>
            <a:schemeClr val="bg2"/>
          </a:solidFill>
          <a:ln w="7056" cap="flat">
            <a:solidFill>
              <a:schemeClr val="accent4"/>
            </a:solidFill>
            <a:prstDash val="solid"/>
            <a:miter/>
          </a:ln>
        </p:spPr>
        <p:txBody>
          <a:bodyPr rtlCol="0" anchor="ctr"/>
          <a:lstStyle/>
          <a:p>
            <a:endParaRPr lang="en-GB"/>
          </a:p>
        </p:txBody>
      </p:sp>
    </p:spTree>
    <p:extLst>
      <p:ext uri="{BB962C8B-B14F-4D97-AF65-F5344CB8AC3E}">
        <p14:creationId xmlns:p14="http://schemas.microsoft.com/office/powerpoint/2010/main" val="1128594970"/>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pic>
        <p:nvPicPr>
          <p:cNvPr id="5" name="Picture 4">
            <a:extLst>
              <a:ext uri="{FF2B5EF4-FFF2-40B4-BE49-F238E27FC236}">
                <a16:creationId xmlns:a16="http://schemas.microsoft.com/office/drawing/2014/main" id="{E54A6011-703C-CF05-7872-E94015A94CF0}"/>
              </a:ext>
            </a:extLst>
          </p:cNvPr>
          <p:cNvPicPr>
            <a:picLocks noGrp="1" noRot="1" noChangeAspect="1" noMove="1" noResize="1" noEditPoints="1" noAdjustHandles="1" noChangeArrowheads="1" noChangeShapeType="1" noCrop="1"/>
          </p:cNvPicPr>
          <p:nvPr userDrawn="1"/>
        </p:nvPicPr>
        <p:blipFill>
          <a:blip r:embed="rId3"/>
          <a:stretch>
            <a:fillRect/>
          </a:stretch>
        </p:blipFill>
        <p:spPr>
          <a:xfrm>
            <a:off x="483557" y="3289177"/>
            <a:ext cx="4193719" cy="301947"/>
          </a:xfrm>
          <a:prstGeom prst="rect">
            <a:avLst/>
          </a:prstGeom>
        </p:spPr>
      </p:pic>
    </p:spTree>
    <p:extLst>
      <p:ext uri="{BB962C8B-B14F-4D97-AF65-F5344CB8AC3E}">
        <p14:creationId xmlns:p14="http://schemas.microsoft.com/office/powerpoint/2010/main" val="3812179620"/>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Inverted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846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8218654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337B2A-8BE3-FEFC-5D1B-D4FD6897C1DA}"/>
              </a:ext>
            </a:extLst>
          </p:cNvPr>
          <p:cNvGraphicFramePr>
            <a:graphicFrameLocks noChangeAspect="1"/>
          </p:cNvGraphicFramePr>
          <p:nvPr userDrawn="1">
            <p:custDataLst>
              <p:tags r:id="rId1"/>
            </p:custDataLst>
            <p:extLst>
              <p:ext uri="{D42A27DB-BD31-4B8C-83A1-F6EECF244321}">
                <p14:modId xmlns:p14="http://schemas.microsoft.com/office/powerpoint/2010/main" val="38600955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337B2A-8BE3-FEFC-5D1B-D4FD6897C1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Content Placeholder 7">
            <a:extLst>
              <a:ext uri="{FF2B5EF4-FFF2-40B4-BE49-F238E27FC236}">
                <a16:creationId xmlns:a16="http://schemas.microsoft.com/office/drawing/2014/main" id="{BDBBD192-E7B5-4B07-E141-4D37848F3AEA}"/>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rgbClr val="000000"/>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
        <p:nvSpPr>
          <p:cNvPr id="3" name="Content Placeholder 7">
            <a:extLst>
              <a:ext uri="{FF2B5EF4-FFF2-40B4-BE49-F238E27FC236}">
                <a16:creationId xmlns:a16="http://schemas.microsoft.com/office/drawing/2014/main" id="{C70B1C91-439F-73B8-D305-3EF995322239}"/>
              </a:ext>
            </a:extLst>
          </p:cNvPr>
          <p:cNvSpPr>
            <a:spLocks noGrp="1"/>
          </p:cNvSpPr>
          <p:nvPr>
            <p:ph sz="quarter" idx="14" hasCustomPrompt="1"/>
          </p:nvPr>
        </p:nvSpPr>
        <p:spPr>
          <a:xfrm>
            <a:off x="263525" y="1633713"/>
            <a:ext cx="11664950" cy="4459111"/>
          </a:xfrm>
        </p:spPr>
        <p:txBody>
          <a:bodyPr tIns="0" bIns="0" anchor="ctr"/>
          <a:lstStyle>
            <a:lvl1pPr marL="0" indent="0" algn="r">
              <a:buNone/>
              <a:defRPr sz="2500">
                <a:solidFill>
                  <a:srgbClr val="000000"/>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add inspirational quote</a:t>
            </a:r>
          </a:p>
        </p:txBody>
      </p:sp>
    </p:spTree>
    <p:extLst>
      <p:ext uri="{BB962C8B-B14F-4D97-AF65-F5344CB8AC3E}">
        <p14:creationId xmlns:p14="http://schemas.microsoft.com/office/powerpoint/2010/main" val="1371624535"/>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Half Sp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56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55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875529815"/>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S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83525490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Half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09850220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13A71B-9862-25CE-F128-5AE729AF3BC4}"/>
              </a:ext>
            </a:extLst>
          </p:cNvPr>
          <p:cNvGraphicFramePr>
            <a:graphicFrameLocks noChangeAspect="1"/>
          </p:cNvGraphicFramePr>
          <p:nvPr userDrawn="1">
            <p:custDataLst>
              <p:tags r:id="rId1"/>
            </p:custDataLst>
            <p:extLst>
              <p:ext uri="{D42A27DB-BD31-4B8C-83A1-F6EECF244321}">
                <p14:modId xmlns:p14="http://schemas.microsoft.com/office/powerpoint/2010/main" val="10066464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B13A71B-9862-25CE-F128-5AE729AF3BC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Content Placeholder 8">
            <a:extLst>
              <a:ext uri="{FF2B5EF4-FFF2-40B4-BE49-F238E27FC236}">
                <a16:creationId xmlns:a16="http://schemas.microsoft.com/office/drawing/2014/main" id="{DC240C27-EB42-4B29-001B-E7D77295B922}"/>
              </a:ext>
            </a:extLst>
          </p:cNvPr>
          <p:cNvPicPr>
            <a:picLocks noChangeAspect="1"/>
          </p:cNvPicPr>
          <p:nvPr userDrawn="1"/>
        </p:nvPicPr>
        <p:blipFill rotWithShape="1">
          <a:blip r:embed="rId5"/>
          <a:srcRect b="15625"/>
          <a:stretch/>
        </p:blipFill>
        <p:spPr>
          <a:xfrm>
            <a:off x="0" y="0"/>
            <a:ext cx="12192000" cy="6858000"/>
          </a:xfrm>
          <a:prstGeom prst="rect">
            <a:avLst/>
          </a:prstGeom>
        </p:spPr>
      </p:pic>
      <p:sp>
        <p:nvSpPr>
          <p:cNvPr id="11" name="Title 1">
            <a:extLst>
              <a:ext uri="{FF2B5EF4-FFF2-40B4-BE49-F238E27FC236}">
                <a16:creationId xmlns:a16="http://schemas.microsoft.com/office/drawing/2014/main" id="{E0FFE540-A565-88B5-C8ED-1CC2F5BE73B9}"/>
              </a:ext>
            </a:extLst>
          </p:cNvPr>
          <p:cNvSpPr>
            <a:spLocks noGrp="1"/>
          </p:cNvSpPr>
          <p:nvPr>
            <p:ph type="ctrTitle"/>
          </p:nvPr>
        </p:nvSpPr>
        <p:spPr>
          <a:xfrm>
            <a:off x="263524" y="1989138"/>
            <a:ext cx="8460000" cy="2015925"/>
          </a:xfrm>
          <a:prstGeom prst="rect">
            <a:avLst/>
          </a:prstGeom>
        </p:spPr>
        <p:txBody>
          <a:bodyPr anchor="b"/>
          <a:lstStyle>
            <a:lvl1pPr algn="l">
              <a:defRPr sz="3500"/>
            </a:lvl1pPr>
          </a:lstStyle>
          <a:p>
            <a:r>
              <a:rPr lang="en-US"/>
              <a:t>Click to edit Master title style</a:t>
            </a:r>
            <a:endParaRPr lang="en-IN"/>
          </a:p>
        </p:txBody>
      </p:sp>
      <p:sp>
        <p:nvSpPr>
          <p:cNvPr id="12" name="Subtitle 2">
            <a:extLst>
              <a:ext uri="{FF2B5EF4-FFF2-40B4-BE49-F238E27FC236}">
                <a16:creationId xmlns:a16="http://schemas.microsoft.com/office/drawing/2014/main" id="{96D83E2D-D3E4-AA32-7A68-D67FFDDDD6F7}"/>
              </a:ext>
            </a:extLst>
          </p:cNvPr>
          <p:cNvSpPr>
            <a:spLocks noGrp="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rgbClr val="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13" name="Picture 12">
            <a:extLst>
              <a:ext uri="{FF2B5EF4-FFF2-40B4-BE49-F238E27FC236}">
                <a16:creationId xmlns:a16="http://schemas.microsoft.com/office/drawing/2014/main" id="{A3144D2D-31E7-59F9-A4E3-3F056B2A11D7}"/>
              </a:ext>
            </a:extLst>
          </p:cNvPr>
          <p:cNvPicPr/>
          <p:nvPr userDrawn="1"/>
        </p:nvPicPr>
        <p:blipFill>
          <a:blip r:embed="rId6"/>
          <a:srcRect/>
          <a:stretch/>
        </p:blipFill>
        <p:spPr>
          <a:xfrm>
            <a:off x="0" y="0"/>
            <a:ext cx="12191999" cy="6857999"/>
          </a:xfrm>
          <a:prstGeom prst="rect">
            <a:avLst/>
          </a:prstGeom>
        </p:spPr>
      </p:pic>
    </p:spTree>
    <p:extLst>
      <p:ext uri="{BB962C8B-B14F-4D97-AF65-F5344CB8AC3E}">
        <p14:creationId xmlns:p14="http://schemas.microsoft.com/office/powerpoint/2010/main" val="395088273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Partners">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4EF0E3-9666-50D9-4E05-289391677731}"/>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sp>
        <p:nvSpPr>
          <p:cNvPr id="2" name="Title 1">
            <a:extLst>
              <a:ext uri="{FF2B5EF4-FFF2-40B4-BE49-F238E27FC236}">
                <a16:creationId xmlns:a16="http://schemas.microsoft.com/office/drawing/2014/main" id="{85E61F56-9347-5929-2DE9-2A62CC42EC6F}"/>
              </a:ext>
            </a:extLst>
          </p:cNvPr>
          <p:cNvSpPr>
            <a:spLocks noGrp="1" noRot="1" noMove="1" noResize="1" noEditPoints="1" noAdjustHandles="1" noChangeArrowheads="1" noChangeShapeType="1"/>
          </p:cNvSpPr>
          <p:nvPr>
            <p:ph type="title"/>
          </p:nvPr>
        </p:nvSpPr>
        <p:spPr>
          <a:xfrm>
            <a:off x="263525" y="657462"/>
            <a:ext cx="7200628" cy="2555637"/>
          </a:xfrm>
          <a:prstGeom prst="rect">
            <a:avLst/>
          </a:prstGeom>
        </p:spPr>
        <p:txBody>
          <a:bodyPr anchor="b"/>
          <a:lstStyle>
            <a:lvl1pPr>
              <a:defRPr sz="3500">
                <a:solidFill>
                  <a:schemeClr val="bg1"/>
                </a:solidFill>
              </a:defRPr>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574983DA-38C9-9A08-0909-1C36050D0CCA}"/>
              </a:ext>
            </a:extLst>
          </p:cNvPr>
          <p:cNvSpPr>
            <a:spLocks noGrp="1" noRot="1" noMove="1" noResize="1" noEditPoints="1" noAdjustHandles="1" noChangeArrowheads="1" noChangeShapeType="1"/>
          </p:cNvSpPr>
          <p:nvPr>
            <p:ph type="body" idx="1"/>
          </p:nvPr>
        </p:nvSpPr>
        <p:spPr>
          <a:xfrm>
            <a:off x="263525" y="3429001"/>
            <a:ext cx="7200628" cy="1008111"/>
          </a:xfrm>
        </p:spPr>
        <p:txBody>
          <a:bodyPr/>
          <a:lstStyle>
            <a:lvl1pPr marL="0" indent="0">
              <a:buNone/>
              <a:defRPr sz="1800">
                <a:solidFill>
                  <a:schemeClr val="bg2">
                    <a:lumMod val="10000"/>
                    <a:lumOff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Picture Placeholder 11">
            <a:extLst>
              <a:ext uri="{FF2B5EF4-FFF2-40B4-BE49-F238E27FC236}">
                <a16:creationId xmlns:a16="http://schemas.microsoft.com/office/drawing/2014/main" id="{51710036-492B-419F-1A9D-34FBED6FE21D}"/>
              </a:ext>
            </a:extLst>
          </p:cNvPr>
          <p:cNvSpPr>
            <a:spLocks noGrp="1" noRot="1" noMove="1" noResize="1" noEditPoints="1" noAdjustHandles="1" noChangeArrowheads="1" noChangeShapeType="1"/>
          </p:cNvSpPr>
          <p:nvPr>
            <p:ph type="pic" sz="quarter" idx="13"/>
          </p:nvPr>
        </p:nvSpPr>
        <p:spPr>
          <a:xfrm>
            <a:off x="8184648" y="4869979"/>
            <a:ext cx="3744000" cy="719261"/>
          </a:xfrm>
        </p:spPr>
        <p:txBody>
          <a:bodyPr/>
          <a:lstStyle/>
          <a:p>
            <a:r>
              <a:rPr lang="en-US"/>
              <a:t>Click icon to add picture</a:t>
            </a:r>
            <a:endParaRPr lang="en-IN"/>
          </a:p>
        </p:txBody>
      </p:sp>
      <p:sp>
        <p:nvSpPr>
          <p:cNvPr id="15" name="Picture Placeholder 11">
            <a:extLst>
              <a:ext uri="{FF2B5EF4-FFF2-40B4-BE49-F238E27FC236}">
                <a16:creationId xmlns:a16="http://schemas.microsoft.com/office/drawing/2014/main" id="{7838B27C-BE10-FC06-4250-7ADA98B43422}"/>
              </a:ext>
            </a:extLst>
          </p:cNvPr>
          <p:cNvSpPr>
            <a:spLocks noGrp="1" noRot="1" noChangeAspect="1" noMove="1" noResize="1" noEditPoints="1" noAdjustHandles="1" noChangeArrowheads="1" noChangeShapeType="1"/>
          </p:cNvSpPr>
          <p:nvPr>
            <p:ph type="pic" sz="quarter" idx="16"/>
          </p:nvPr>
        </p:nvSpPr>
        <p:spPr>
          <a:xfrm>
            <a:off x="4223999" y="4869979"/>
            <a:ext cx="3744000" cy="719261"/>
          </a:xfrm>
        </p:spPr>
        <p:txBody>
          <a:bodyPr wrap="none">
            <a:normAutofit/>
          </a:bodyPr>
          <a:lstStyle/>
          <a:p>
            <a:r>
              <a:rPr lang="en-US"/>
              <a:t>Click icon to add picture</a:t>
            </a:r>
            <a:endParaRPr lang="en-IN"/>
          </a:p>
        </p:txBody>
      </p:sp>
      <p:pic>
        <p:nvPicPr>
          <p:cNvPr id="17" name="Picture 16" descr="A black background with a black square&#10;&#10;Description automatically generated with medium confidence">
            <a:extLst>
              <a:ext uri="{FF2B5EF4-FFF2-40B4-BE49-F238E27FC236}">
                <a16:creationId xmlns:a16="http://schemas.microsoft.com/office/drawing/2014/main" id="{B3715EEB-4464-C1C7-ABA1-17631DFFAF0D}"/>
              </a:ext>
            </a:extLst>
          </p:cNvPr>
          <p:cNvPicPr>
            <a:picLocks noGrp="1" noRot="1" noChangeAspect="1" noMove="1" noResize="1" noEditPoints="1" noAdjustHandles="1" noChangeArrowheads="1" noChangeShapeType="1" noCrop="1"/>
          </p:cNvPicPr>
          <p:nvPr userDrawn="1"/>
        </p:nvPicPr>
        <p:blipFill>
          <a:blip r:embed="rId3"/>
          <a:stretch>
            <a:fillRect/>
          </a:stretch>
        </p:blipFill>
        <p:spPr>
          <a:xfrm>
            <a:off x="278916" y="4874149"/>
            <a:ext cx="3290457" cy="715091"/>
          </a:xfrm>
          <a:prstGeom prst="rect">
            <a:avLst/>
          </a:prstGeom>
        </p:spPr>
      </p:pic>
    </p:spTree>
    <p:extLst>
      <p:ext uri="{BB962C8B-B14F-4D97-AF65-F5344CB8AC3E}">
        <p14:creationId xmlns:p14="http://schemas.microsoft.com/office/powerpoint/2010/main" val="17887231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024">
          <p15:clr>
            <a:srgbClr val="FBAE40"/>
          </p15:clr>
        </p15:guide>
        <p15:guide id="3" orient="horz" pos="3067">
          <p15:clr>
            <a:srgbClr val="FBAE40"/>
          </p15:clr>
        </p15:guide>
        <p15:guide id="5" orient="horz" pos="2160">
          <p15:clr>
            <a:srgbClr val="FBAE40"/>
          </p15:clr>
        </p15:guide>
        <p15:guide id="6" orient="horz" pos="2795">
          <p15:clr>
            <a:srgbClr val="FBAE40"/>
          </p15:clr>
        </p15:guide>
        <p15:guide id="7" orient="horz" pos="41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FDD8307-4EB2-482B-3BC0-E77D6E87F1AA}"/>
              </a:ext>
            </a:extLst>
          </p:cNvPr>
          <p:cNvGraphicFramePr>
            <a:graphicFrameLocks noChangeAspect="1"/>
          </p:cNvGraphicFramePr>
          <p:nvPr userDrawn="1">
            <p:custDataLst>
              <p:tags r:id="rId1"/>
            </p:custDataLst>
            <p:extLst>
              <p:ext uri="{D42A27DB-BD31-4B8C-83A1-F6EECF244321}">
                <p14:modId xmlns:p14="http://schemas.microsoft.com/office/powerpoint/2010/main" val="2739869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FDD8307-4EB2-482B-3BC0-E77D6E87F1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4EE4CE-0563-A01D-18AD-5C9AE3ACE0CD}"/>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6D106C6E-25E7-6A43-1C8C-09D043B8A380}"/>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8" name="Content Placeholder 7">
            <a:extLst>
              <a:ext uri="{FF2B5EF4-FFF2-40B4-BE49-F238E27FC236}">
                <a16:creationId xmlns:a16="http://schemas.microsoft.com/office/drawing/2014/main" id="{17850D20-F644-6D7E-621A-76551607DE1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1577379202"/>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19.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oleObject" Target="../embeddings/oleObject1.bin"/><Relationship Id="rId2" Type="http://schemas.openxmlformats.org/officeDocument/2006/relationships/slideLayout" Target="../slideLayouts/slideLayout17.xml"/><Relationship Id="rId16" Type="http://schemas.openxmlformats.org/officeDocument/2006/relationships/tags" Target="../tags/tag10.xml"/><Relationship Id="rId20" Type="http://schemas.openxmlformats.org/officeDocument/2006/relationships/image" Target="../media/image21.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image" Target="../media/image20.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D52186-155E-3F84-F695-6B898E5A16DB}"/>
              </a:ext>
            </a:extLst>
          </p:cNvPr>
          <p:cNvGraphicFramePr>
            <a:graphicFrameLocks/>
          </p:cNvGraphicFramePr>
          <p:nvPr userDrawn="1">
            <p:custDataLst>
              <p:tags r:id="rId17"/>
            </p:custDataLst>
            <p:extLst>
              <p:ext uri="{D42A27DB-BD31-4B8C-83A1-F6EECF244321}">
                <p14:modId xmlns:p14="http://schemas.microsoft.com/office/powerpoint/2010/main" val="2428661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9" name="think-cell data - do not delete" hidden="1">
                        <a:extLst>
                          <a:ext uri="{FF2B5EF4-FFF2-40B4-BE49-F238E27FC236}">
                            <a16:creationId xmlns:a16="http://schemas.microsoft.com/office/drawing/2014/main" id="{FBD52186-155E-3F84-F695-6B898E5A16DB}"/>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20"/>
          <a:srcRect/>
          <a:stretch/>
        </p:blipFill>
        <p:spPr>
          <a:xfrm>
            <a:off x="12033" y="0"/>
            <a:ext cx="12191998" cy="6857999"/>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473812"/>
            <a:ext cx="11664950" cy="1116546"/>
          </a:xfrm>
          <a:prstGeom prst="rect">
            <a:avLst/>
          </a:prstGeom>
        </p:spPr>
        <p:txBody>
          <a:bodyPr vert="horz" lIns="0" tIns="0" rIns="0" bIns="0" rtlCol="0" anchor="t">
            <a:no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652035"/>
            <a:ext cx="11664950" cy="444079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9CF6993-F43E-1135-AE5C-5E76F086727B}"/>
              </a:ext>
            </a:extLst>
          </p:cNvPr>
          <p:cNvSpPr>
            <a:spLocks noGrp="1" noRot="1" noMove="1" noResize="1" noEditPoints="1" noAdjustHandles="1" noChangeArrowheads="1" noChangeShapeType="1"/>
          </p:cNvSpPr>
          <p:nvPr>
            <p:ph type="ftr" sz="quarter" idx="3"/>
          </p:nvPr>
        </p:nvSpPr>
        <p:spPr>
          <a:xfrm>
            <a:off x="1148517" y="6308725"/>
            <a:ext cx="10152000" cy="277208"/>
          </a:xfrm>
          <a:prstGeom prst="rect">
            <a:avLst/>
          </a:prstGeom>
          <a:ln>
            <a:noFill/>
          </a:ln>
        </p:spPr>
        <p:txBody>
          <a:bodyPr vert="horz" lIns="0" tIns="45720" rIns="0" bIns="45720" rtlCol="0" anchor="ctr"/>
          <a:lstStyle>
            <a:lvl1pPr algn="l">
              <a:defRPr sz="1000">
                <a:solidFill>
                  <a:schemeClr val="accent2"/>
                </a:solidFill>
              </a:defRPr>
            </a:lvl1pPr>
          </a:lstStyle>
          <a:p>
            <a:endParaRPr lang="en-IN"/>
          </a:p>
        </p:txBody>
      </p:sp>
      <p:sp>
        <p:nvSpPr>
          <p:cNvPr id="4" name="TextBox 3">
            <a:extLst>
              <a:ext uri="{FF2B5EF4-FFF2-40B4-BE49-F238E27FC236}">
                <a16:creationId xmlns:a16="http://schemas.microsoft.com/office/drawing/2014/main" id="{878D3738-DFFC-514C-2EA7-DCCA9D298091}"/>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accent2"/>
                </a:solidFill>
              </a:rPr>
              <a:pPr algn="r">
                <a:spcBef>
                  <a:spcPts val="300"/>
                </a:spcBef>
                <a:spcAft>
                  <a:spcPts val="300"/>
                </a:spcAft>
              </a:pPr>
              <a:t>‹#›</a:t>
            </a:fld>
            <a:endParaRPr lang="en-GB" sz="1000">
              <a:solidFill>
                <a:schemeClr val="accent2"/>
              </a:solidFill>
            </a:endParaRPr>
          </a:p>
        </p:txBody>
      </p:sp>
    </p:spTree>
    <p:extLst>
      <p:ext uri="{BB962C8B-B14F-4D97-AF65-F5344CB8AC3E}">
        <p14:creationId xmlns:p14="http://schemas.microsoft.com/office/powerpoint/2010/main" val="3320393632"/>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4" r:id="rId4"/>
    <p:sldLayoutId id="2147483665" r:id="rId5"/>
    <p:sldLayoutId id="2147483666" r:id="rId6"/>
    <p:sldLayoutId id="2147483873" r:id="rId7"/>
    <p:sldLayoutId id="2147483872" r:id="rId8"/>
    <p:sldLayoutId id="2147483650" r:id="rId9"/>
    <p:sldLayoutId id="2147483652" r:id="rId10"/>
    <p:sldLayoutId id="2147483660" r:id="rId11"/>
    <p:sldLayoutId id="2147483667" r:id="rId12"/>
    <p:sldLayoutId id="2147483654" r:id="rId13"/>
    <p:sldLayoutId id="2147483655" r:id="rId14"/>
    <p:sldLayoutId id="2147483890" r:id="rId15"/>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guide id="7" orient="horz" pos="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2C4DA6B-E317-0DD6-397B-543EF755F5F2}"/>
              </a:ext>
            </a:extLst>
          </p:cNvPr>
          <p:cNvGraphicFramePr>
            <a:graphicFrameLocks/>
          </p:cNvGraphicFramePr>
          <p:nvPr userDrawn="1">
            <p:custDataLst>
              <p:tags r:id="rId16"/>
            </p:custDataLst>
            <p:extLst>
              <p:ext uri="{D42A27DB-BD31-4B8C-83A1-F6EECF244321}">
                <p14:modId xmlns:p14="http://schemas.microsoft.com/office/powerpoint/2010/main" val="23666942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9" name="think-cell data - do not delete" hidden="1">
                        <a:extLst>
                          <a:ext uri="{FF2B5EF4-FFF2-40B4-BE49-F238E27FC236}">
                            <a16:creationId xmlns:a16="http://schemas.microsoft.com/office/drawing/2014/main" id="{72C4DA6B-E317-0DD6-397B-543EF755F5F2}"/>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19"/>
          <a:srcRect/>
          <a:stretch/>
        </p:blipFill>
        <p:spPr>
          <a:xfrm>
            <a:off x="12033" y="0"/>
            <a:ext cx="12191998"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9CF6993-F43E-1135-AE5C-5E76F086727B}"/>
              </a:ext>
            </a:extLst>
          </p:cNvPr>
          <p:cNvSpPr>
            <a:spLocks noGrp="1"/>
          </p:cNvSpPr>
          <p:nvPr>
            <p:ph type="ftr" sz="quarter" idx="3"/>
          </p:nvPr>
        </p:nvSpPr>
        <p:spPr>
          <a:xfrm>
            <a:off x="1148517" y="6308725"/>
            <a:ext cx="10116000" cy="280800"/>
          </a:xfrm>
          <a:prstGeom prst="rect">
            <a:avLst/>
          </a:prstGeom>
          <a:ln>
            <a:noFill/>
          </a:ln>
        </p:spPr>
        <p:txBody>
          <a:bodyPr vert="horz" lIns="0" tIns="0" rIns="0" bIns="0" rtlCol="0" anchor="ctr"/>
          <a:lstStyle>
            <a:lvl1pPr algn="l">
              <a:defRPr sz="1000">
                <a:solidFill>
                  <a:schemeClr val="tx1">
                    <a:tint val="75000"/>
                  </a:schemeClr>
                </a:solidFill>
              </a:defRPr>
            </a:lvl1pPr>
          </a:lstStyle>
          <a:p>
            <a:endParaRPr lang="en-IN"/>
          </a:p>
        </p:txBody>
      </p:sp>
      <p:sp>
        <p:nvSpPr>
          <p:cNvPr id="4" name="TextBox 3">
            <a:extLst>
              <a:ext uri="{FF2B5EF4-FFF2-40B4-BE49-F238E27FC236}">
                <a16:creationId xmlns:a16="http://schemas.microsoft.com/office/drawing/2014/main" id="{5874962C-0213-D5BB-40E6-7CF1778AA96C}"/>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tx1"/>
                </a:solidFill>
              </a:rPr>
              <a:pPr algn="r">
                <a:spcBef>
                  <a:spcPts val="300"/>
                </a:spcBef>
                <a:spcAft>
                  <a:spcPts val="300"/>
                </a:spcAft>
              </a:pPr>
              <a:t>‹#›</a:t>
            </a:fld>
            <a:endParaRPr lang="en-GB" sz="1000">
              <a:solidFill>
                <a:schemeClr val="tx1"/>
              </a:solidFill>
            </a:endParaRPr>
          </a:p>
        </p:txBody>
      </p:sp>
    </p:spTree>
    <p:extLst>
      <p:ext uri="{BB962C8B-B14F-4D97-AF65-F5344CB8AC3E}">
        <p14:creationId xmlns:p14="http://schemas.microsoft.com/office/powerpoint/2010/main" val="3837729887"/>
      </p:ext>
    </p:extLst>
  </p:cSld>
  <p:clrMap bg1="dk1" tx1="lt1" bg2="dk2" tx2="lt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856" r:id="rId7"/>
    <p:sldLayoutId id="2147483678" r:id="rId8"/>
    <p:sldLayoutId id="2147483682" r:id="rId9"/>
    <p:sldLayoutId id="2147483683" r:id="rId10"/>
    <p:sldLayoutId id="2147483871" r:id="rId11"/>
    <p:sldLayoutId id="2147483687" r:id="rId12"/>
    <p:sldLayoutId id="2147483889" r:id="rId13"/>
    <p:sldLayoutId id="2147483693" r:id="rId14"/>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296000" indent="-216000" algn="l" defTabSz="914400" rtl="0" eaLnBrk="1" latinLnBrk="0" hangingPunct="1">
        <a:lnSpc>
          <a:spcPct val="110000"/>
        </a:lnSpc>
        <a:spcBef>
          <a:spcPts val="600"/>
        </a:spcBef>
        <a:spcAft>
          <a:spcPts val="400"/>
        </a:spcAft>
        <a:buFontTx/>
        <a:buBlip>
          <a:blip r:embed="rId20"/>
        </a:buBlip>
        <a:defRPr sz="1200" kern="1200">
          <a:solidFill>
            <a:schemeClr val="accent6"/>
          </a:solidFill>
          <a:latin typeface="+mn-lt"/>
          <a:ea typeface="+mn-ea"/>
          <a:cs typeface="+mn-cs"/>
        </a:defRPr>
      </a:lvl6pPr>
      <a:lvl7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6"/>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5"/>
          </a:solidFill>
          <a:latin typeface="+mn-lt"/>
          <a:ea typeface="+mn-ea"/>
          <a:cs typeface="+mn-cs"/>
        </a:defRPr>
      </a:lvl8pPr>
      <a:lvl9pPr marL="0" indent="0" algn="l" defTabSz="914400" rtl="0" eaLnBrk="1" latinLnBrk="0" hangingPunct="1">
        <a:lnSpc>
          <a:spcPct val="110000"/>
        </a:lnSpc>
        <a:spcBef>
          <a:spcPts val="400"/>
        </a:spcBef>
        <a:spcAft>
          <a:spcPts val="400"/>
        </a:spcAft>
        <a:buFont typeface="Arial" panose="020B0604020202020204" pitchFamily="34" charset="0"/>
        <a:buNone/>
        <a:defRPr sz="1600" kern="1200">
          <a:solidFill>
            <a:schemeClr val="accent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DB21D9D-B1AE-EA66-4123-273A933CCCC0}"/>
              </a:ext>
            </a:extLst>
          </p:cNvPr>
          <p:cNvGraphicFramePr>
            <a:graphicFrameLocks noChangeAspect="1"/>
          </p:cNvGraphicFramePr>
          <p:nvPr userDrawn="1">
            <p:custDataLst>
              <p:tags r:id="rId3"/>
            </p:custDataLst>
            <p:extLst>
              <p:ext uri="{D42A27DB-BD31-4B8C-83A1-F6EECF244321}">
                <p14:modId xmlns:p14="http://schemas.microsoft.com/office/powerpoint/2010/main" val="30360738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3DB21D9D-B1AE-EA66-4123-273A933CCCC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6"/>
          <a:srcRect/>
          <a:stretch/>
        </p:blipFill>
        <p:spPr>
          <a:xfrm>
            <a:off x="12033" y="1"/>
            <a:ext cx="12191998"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A975E3FC-F54E-1D8C-6EB1-85ABB1486AB3}"/>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tx1"/>
                </a:solidFill>
              </a:rPr>
              <a:pPr algn="r">
                <a:spcBef>
                  <a:spcPts val="300"/>
                </a:spcBef>
                <a:spcAft>
                  <a:spcPts val="300"/>
                </a:spcAft>
              </a:pPr>
              <a:t>‹#›</a:t>
            </a:fld>
            <a:endParaRPr lang="en-GB" sz="1000">
              <a:solidFill>
                <a:schemeClr val="tx1"/>
              </a:solidFill>
            </a:endParaRPr>
          </a:p>
        </p:txBody>
      </p:sp>
    </p:spTree>
    <p:extLst>
      <p:ext uri="{BB962C8B-B14F-4D97-AF65-F5344CB8AC3E}">
        <p14:creationId xmlns:p14="http://schemas.microsoft.com/office/powerpoint/2010/main" val="1108526747"/>
      </p:ext>
    </p:extLst>
  </p:cSld>
  <p:clrMap bg1="lt1" tx1="dk1" bg2="lt2" tx2="dk2" accent1="accent1" accent2="accent2" accent3="accent3" accent4="accent4" accent5="accent5" accent6="accent6" hlink="hlink" folHlink="folHlink"/>
  <p:sldLayoutIdLst>
    <p:sldLayoutId id="2147483861" r:id="rId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18.xml"/><Relationship Id="rId4" Type="http://schemas.openxmlformats.org/officeDocument/2006/relationships/image" Target="../media/image4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27.xml"/><Relationship Id="rId6" Type="http://schemas.openxmlformats.org/officeDocument/2006/relationships/chart" Target="../charts/chart3.xml"/><Relationship Id="rId5" Type="http://schemas.openxmlformats.org/officeDocument/2006/relationships/image" Target="../media/image44.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28.xml"/><Relationship Id="rId6" Type="http://schemas.openxmlformats.org/officeDocument/2006/relationships/chart" Target="../charts/chart4.xml"/><Relationship Id="rId5" Type="http://schemas.openxmlformats.org/officeDocument/2006/relationships/image" Target="../media/image44.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43.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30.xml"/><Relationship Id="rId5" Type="http://schemas.openxmlformats.org/officeDocument/2006/relationships/image" Target="../media/image44.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43.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6.xml"/><Relationship Id="rId2" Type="http://schemas.openxmlformats.org/officeDocument/2006/relationships/slideLayout" Target="../slideLayouts/slideLayout11.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44.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33.xml"/><Relationship Id="rId6" Type="http://schemas.openxmlformats.org/officeDocument/2006/relationships/chart" Target="../charts/chart7.xml"/><Relationship Id="rId5" Type="http://schemas.openxmlformats.org/officeDocument/2006/relationships/image" Target="../media/image44.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43.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1.xml"/><Relationship Id="rId1" Type="http://schemas.openxmlformats.org/officeDocument/2006/relationships/tags" Target="../tags/tag35.xml"/><Relationship Id="rId4" Type="http://schemas.openxmlformats.org/officeDocument/2006/relationships/image" Target="../media/image44.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42.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4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21.xml"/><Relationship Id="rId6" Type="http://schemas.openxmlformats.org/officeDocument/2006/relationships/image" Target="../media/image46.svg"/><Relationship Id="rId5" Type="http://schemas.openxmlformats.org/officeDocument/2006/relationships/image" Target="../media/image45.svg"/><Relationship Id="rId4" Type="http://schemas.openxmlformats.org/officeDocument/2006/relationships/image" Target="../media/image44.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2.xml"/><Relationship Id="rId5" Type="http://schemas.openxmlformats.org/officeDocument/2006/relationships/image" Target="../media/image44.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3.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24.xml"/><Relationship Id="rId6" Type="http://schemas.openxmlformats.org/officeDocument/2006/relationships/chart" Target="../charts/chart1.xml"/><Relationship Id="rId5" Type="http://schemas.openxmlformats.org/officeDocument/2006/relationships/image" Target="../media/image44.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25.xml"/><Relationship Id="rId6" Type="http://schemas.openxmlformats.org/officeDocument/2006/relationships/chart" Target="../charts/chart2.xml"/><Relationship Id="rId5" Type="http://schemas.openxmlformats.org/officeDocument/2006/relationships/image" Target="../media/image44.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4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AF54907-25B2-FAFC-1D8E-0D5B528EA4CC}"/>
              </a:ext>
            </a:extLst>
          </p:cNvPr>
          <p:cNvGraphicFramePr>
            <a:graphicFrameLocks/>
          </p:cNvGraphicFramePr>
          <p:nvPr>
            <p:custDataLst>
              <p:tags r:id="rId1"/>
            </p:custDataLst>
            <p:extLst>
              <p:ext uri="{D42A27DB-BD31-4B8C-83A1-F6EECF244321}">
                <p14:modId xmlns:p14="http://schemas.microsoft.com/office/powerpoint/2010/main" val="1726699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5AF54907-25B2-FAFC-1D8E-0D5B528EA4C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34B8DD-44B4-1203-AD52-F27A74E8B477}"/>
              </a:ext>
            </a:extLst>
          </p:cNvPr>
          <p:cNvSpPr>
            <a:spLocks noGrp="1"/>
          </p:cNvSpPr>
          <p:nvPr>
            <p:ph type="ctrTitle"/>
          </p:nvPr>
        </p:nvSpPr>
        <p:spPr>
          <a:xfrm>
            <a:off x="263526" y="2421037"/>
            <a:ext cx="7020000" cy="2015925"/>
          </a:xfrm>
        </p:spPr>
        <p:txBody>
          <a:bodyPr vert="horz" rIns="0"/>
          <a:lstStyle/>
          <a:p>
            <a:r>
              <a:rPr lang="lv-LV" noProof="0" dirty="0"/>
              <a:t>Valsts aizsardzības mācības un Jaunsardzes likuma ietekmes pēcpārbaudes (ex-post) novērtējums</a:t>
            </a:r>
          </a:p>
        </p:txBody>
      </p:sp>
      <p:sp>
        <p:nvSpPr>
          <p:cNvPr id="3" name="Subtitle 2">
            <a:extLst>
              <a:ext uri="{FF2B5EF4-FFF2-40B4-BE49-F238E27FC236}">
                <a16:creationId xmlns:a16="http://schemas.microsoft.com/office/drawing/2014/main" id="{5ED88ED5-78C7-77F2-C62B-9E2247ABA0E0}"/>
              </a:ext>
            </a:extLst>
          </p:cNvPr>
          <p:cNvSpPr>
            <a:spLocks noGrp="1"/>
          </p:cNvSpPr>
          <p:nvPr>
            <p:ph type="subTitle" idx="1"/>
          </p:nvPr>
        </p:nvSpPr>
        <p:spPr>
          <a:xfrm>
            <a:off x="263526" y="5539563"/>
            <a:ext cx="7019999" cy="553261"/>
          </a:xfrm>
        </p:spPr>
        <p:txBody>
          <a:bodyPr/>
          <a:lstStyle/>
          <a:p>
            <a:r>
              <a:rPr lang="lv-LV" dirty="0"/>
              <a:t>2026. gada 20. maijā</a:t>
            </a:r>
            <a:endParaRPr lang="en-GB" dirty="0"/>
          </a:p>
        </p:txBody>
      </p:sp>
    </p:spTree>
    <p:extLst>
      <p:ext uri="{BB962C8B-B14F-4D97-AF65-F5344CB8AC3E}">
        <p14:creationId xmlns:p14="http://schemas.microsoft.com/office/powerpoint/2010/main" val="4137043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9B9F14-2FF5-AE1B-91C3-AAE5BA376AF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D255062-A4CE-4E5C-90C6-676380442C1F}"/>
              </a:ext>
            </a:extLst>
          </p:cNvPr>
          <p:cNvGraphicFramePr>
            <a:graphicFrameLocks/>
          </p:cNvGraphicFramePr>
          <p:nvPr>
            <p:custDataLst>
              <p:tags r:id="rId1"/>
            </p:custDataLst>
            <p:extLst>
              <p:ext uri="{D42A27DB-BD31-4B8C-83A1-F6EECF244321}">
                <p14:modId xmlns:p14="http://schemas.microsoft.com/office/powerpoint/2010/main" val="26394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CD255062-A4CE-4E5C-90C6-676380442C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7674E9-EB6B-4167-9861-A140A0E7813C}"/>
              </a:ext>
            </a:extLst>
          </p:cNvPr>
          <p:cNvSpPr>
            <a:spLocks noGrp="1"/>
          </p:cNvSpPr>
          <p:nvPr>
            <p:ph type="title"/>
          </p:nvPr>
        </p:nvSpPr>
        <p:spPr>
          <a:xfrm>
            <a:off x="263526" y="473813"/>
            <a:ext cx="11664950" cy="512760"/>
          </a:xfrm>
        </p:spPr>
        <p:txBody>
          <a:bodyPr vert="horz" rIns="0"/>
          <a:lstStyle/>
          <a:p>
            <a:r>
              <a:rPr lang="lv-LV" noProof="1"/>
              <a:t>Jaunsardzes programmas ietekme</a:t>
            </a:r>
          </a:p>
        </p:txBody>
      </p:sp>
      <p:sp>
        <p:nvSpPr>
          <p:cNvPr id="3" name="Content Placeholder 2">
            <a:extLst>
              <a:ext uri="{FF2B5EF4-FFF2-40B4-BE49-F238E27FC236}">
                <a16:creationId xmlns:a16="http://schemas.microsoft.com/office/drawing/2014/main" id="{4C84A520-7E3A-EF71-4F45-57F841D1CDD8}"/>
              </a:ext>
            </a:extLst>
          </p:cNvPr>
          <p:cNvSpPr>
            <a:spLocks noGrp="1"/>
          </p:cNvSpPr>
          <p:nvPr>
            <p:ph idx="1"/>
          </p:nvPr>
        </p:nvSpPr>
        <p:spPr>
          <a:xfrm>
            <a:off x="232388" y="1684618"/>
            <a:ext cx="5977912" cy="4585426"/>
          </a:xfrm>
        </p:spPr>
        <p:txBody>
          <a:bodyPr/>
          <a:lstStyle/>
          <a:p>
            <a:pPr algn="just"/>
            <a:r>
              <a:rPr lang="lv-LV" sz="1300" noProof="1"/>
              <a:t>Jaunsardzes interešu izglītības programma sasniedz savus izvirzītos mērķus, nodrošinot jauniešiem daudzpusīgu attīstību – praktiskās iemaņas, personiskās un sociālās kompetences, kā arī pilsonisko apziņu</a:t>
            </a:r>
          </a:p>
          <a:p>
            <a:pPr algn="just"/>
            <a:r>
              <a:rPr lang="lv-LV" sz="1300" noProof="1"/>
              <a:t>Jauniešu iesaiste balstās uz personīgo motivāciju – galvenie faktori ir instruktora personība, interese par praktiskām un militārām prasmēm un aktivitātēm ārpus telpām; vecāku, draugu vai skolotāju ietekme ir ievērojami mazāka</a:t>
            </a:r>
          </a:p>
          <a:p>
            <a:pPr algn="just"/>
            <a:r>
              <a:rPr lang="lv-LV" sz="1300" noProof="1"/>
              <a:t>Jaunsargu attieksme pret programmu ir ļoti pozitīva – 93 % norāda, ka viņiem patīk darboties Jaunsardzē, bet 95 % uzskata, ka tajā iegūst noderīgas zināšanas un prasmes</a:t>
            </a:r>
          </a:p>
          <a:p>
            <a:pPr algn="just"/>
            <a:r>
              <a:rPr lang="lv-LV" sz="1300" noProof="1"/>
              <a:t>Visaugstāk novērtētās prasmes ir rīcībspēja ārkārtas situācijās, ikdienā noderīgas prasmes, fiziskā aktivitāte, atbildības sajūta, sadarbība un pašpārliecība</a:t>
            </a:r>
          </a:p>
          <a:p>
            <a:pPr algn="just"/>
            <a:r>
              <a:rPr lang="lv-LV" sz="1300" noProof="1"/>
              <a:t>Vairāk nekā 80 % jauniešu norāda uz stiprinātu pilsonisko apziņu un piederības sajūtu Latvijai, tomēr ietekme nav vienmērīga – pozitīvāki vērtējumi biežāk novērojami ārpus Rīgas</a:t>
            </a:r>
          </a:p>
          <a:p>
            <a:pPr algn="just"/>
            <a:r>
              <a:rPr lang="lv-LV" sz="1300" noProof="1"/>
              <a:t>Nometnes ir viens no spēcīgākajiem programmas elementiem – gandrīz visi uzskata tās par interesantām un norāda uz pozitīvu ietekmi uz prasmju apguvi un pašpārliecību</a:t>
            </a:r>
          </a:p>
          <a:p>
            <a:pPr algn="just"/>
            <a:r>
              <a:rPr lang="lv-LV" sz="1300" dirty="0"/>
              <a:t>Programma darbojas arī kā karjeras orientācijas instruments – divas trešdaļas jauniešu norāda, ka dalība ietekmējusi viņu izglītības vai karjeras plānus</a:t>
            </a:r>
            <a:endParaRPr lang="lv-LV" sz="1300" noProof="1"/>
          </a:p>
        </p:txBody>
      </p:sp>
      <p:sp>
        <p:nvSpPr>
          <p:cNvPr id="13" name="Content Placeholder 12">
            <a:extLst>
              <a:ext uri="{FF2B5EF4-FFF2-40B4-BE49-F238E27FC236}">
                <a16:creationId xmlns:a16="http://schemas.microsoft.com/office/drawing/2014/main" id="{4FD4F4E1-6B4A-A7BA-2973-EEB31888BB5F}"/>
              </a:ext>
            </a:extLst>
          </p:cNvPr>
          <p:cNvSpPr>
            <a:spLocks noGrp="1"/>
          </p:cNvSpPr>
          <p:nvPr>
            <p:ph idx="16"/>
          </p:nvPr>
        </p:nvSpPr>
        <p:spPr>
          <a:xfrm>
            <a:off x="6604000" y="1264052"/>
            <a:ext cx="5217472" cy="241587"/>
          </a:xfrm>
        </p:spPr>
        <p:txBody>
          <a:bodyPr/>
          <a:lstStyle/>
          <a:p>
            <a:pPr marL="0" indent="0">
              <a:buNone/>
            </a:pPr>
            <a:r>
              <a:rPr lang="lv-LV" sz="1300" b="1" dirty="0">
                <a:solidFill>
                  <a:schemeClr val="accent6"/>
                </a:solidFill>
              </a:rPr>
              <a:t>Jaunsargu vērtējums par attieksmi pret dalību </a:t>
            </a:r>
            <a:r>
              <a:rPr lang="lv-LV" sz="1300" b="1" dirty="0" err="1">
                <a:solidFill>
                  <a:schemeClr val="accent6"/>
                </a:solidFill>
              </a:rPr>
              <a:t>Jaunsardzē</a:t>
            </a:r>
            <a:r>
              <a:rPr lang="lv-LV" sz="1300" b="1" dirty="0">
                <a:solidFill>
                  <a:schemeClr val="accent6"/>
                </a:solidFill>
              </a:rPr>
              <a:t>, %</a:t>
            </a:r>
            <a:r>
              <a:rPr lang="en-LV" sz="1300" b="1" dirty="0">
                <a:solidFill>
                  <a:schemeClr val="accent6"/>
                </a:solidFill>
              </a:rPr>
              <a:t> </a:t>
            </a:r>
            <a:endParaRPr lang="lv-LV" sz="1300" b="1" noProof="1">
              <a:solidFill>
                <a:schemeClr val="accent6"/>
              </a:solidFill>
            </a:endParaRPr>
          </a:p>
        </p:txBody>
      </p:sp>
      <p:sp>
        <p:nvSpPr>
          <p:cNvPr id="4" name="TextBox 3">
            <a:extLst>
              <a:ext uri="{FF2B5EF4-FFF2-40B4-BE49-F238E27FC236}">
                <a16:creationId xmlns:a16="http://schemas.microsoft.com/office/drawing/2014/main" id="{AFD99A8E-A51E-5BB2-C78A-AD03C80F956B}"/>
              </a:ext>
            </a:extLst>
          </p:cNvPr>
          <p:cNvSpPr txBox="1"/>
          <p:nvPr/>
        </p:nvSpPr>
        <p:spPr>
          <a:xfrm>
            <a:off x="9084039" y="3732551"/>
            <a:ext cx="0" cy="0"/>
          </a:xfrm>
          <a:prstGeom prst="rect">
            <a:avLst/>
          </a:prstGeom>
        </p:spPr>
        <p:txBody>
          <a:bodyPr vert="horz" wrap="none" lIns="0" tIns="0" rIns="0" bIns="0" rtlCol="0">
            <a:noAutofit/>
          </a:bodyPr>
          <a:lstStyle/>
          <a:p>
            <a: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pPr>
            <a:endParaRPr kumimoji="0" lang="en-GB" sz="1200" b="0" i="0" u="none" strike="noStrike" kern="1200" cap="none" spc="0" normalizeH="0" baseline="0" noProof="0" dirty="0" err="1">
              <a:ln>
                <a:noFill/>
              </a:ln>
              <a:solidFill>
                <a:srgbClr val="000000"/>
              </a:solidFill>
              <a:effectLst/>
              <a:uLnTx/>
              <a:uFillTx/>
              <a:latin typeface="Arial"/>
              <a:ea typeface="+mn-ea"/>
              <a:cs typeface="Arial"/>
            </a:endParaRPr>
          </a:p>
        </p:txBody>
      </p:sp>
      <p:graphicFrame>
        <p:nvGraphicFramePr>
          <p:cNvPr id="18" name="Chart 17">
            <a:extLst>
              <a:ext uri="{FF2B5EF4-FFF2-40B4-BE49-F238E27FC236}">
                <a16:creationId xmlns:a16="http://schemas.microsoft.com/office/drawing/2014/main" id="{78A9C5BA-A19A-4F93-8B66-21B9D0E0B732}"/>
              </a:ext>
            </a:extLst>
          </p:cNvPr>
          <p:cNvGraphicFramePr/>
          <p:nvPr>
            <p:extLst>
              <p:ext uri="{D42A27DB-BD31-4B8C-83A1-F6EECF244321}">
                <p14:modId xmlns:p14="http://schemas.microsoft.com/office/powerpoint/2010/main" val="345808734"/>
              </p:ext>
            </p:extLst>
          </p:nvPr>
        </p:nvGraphicFramePr>
        <p:xfrm>
          <a:off x="6332943" y="1505639"/>
          <a:ext cx="5759585" cy="4575708"/>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D60A050D-F0B6-DA28-A44C-5CBEA426FEAA}"/>
              </a:ext>
            </a:extLst>
          </p:cNvPr>
          <p:cNvSpPr txBox="1"/>
          <p:nvPr/>
        </p:nvSpPr>
        <p:spPr>
          <a:xfrm>
            <a:off x="6427129" y="6081347"/>
            <a:ext cx="3667125" cy="270459"/>
          </a:xfrm>
          <a:prstGeom prst="rect">
            <a:avLst/>
          </a:prstGeom>
          <a:noFill/>
        </p:spPr>
        <p:txBody>
          <a:bodyPr wrap="square">
            <a:spAutoFit/>
          </a:bodyPr>
          <a:lstStyle/>
          <a:p>
            <a:pPr>
              <a:lnSpc>
                <a:spcPct val="115000"/>
              </a:lnSpc>
              <a:spcBef>
                <a:spcPts val="600"/>
              </a:spcBef>
              <a:spcAft>
                <a:spcPts val="800"/>
              </a:spcAft>
              <a:buNone/>
            </a:pP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Avots: </a:t>
            </a:r>
            <a:r>
              <a:rPr lang="lv-LV" sz="1100" i="1" kern="100" dirty="0" err="1">
                <a:solidFill>
                  <a:srgbClr val="737373"/>
                </a:solidFill>
                <a:effectLst/>
                <a:latin typeface="Arial" panose="020B0604020202020204" pitchFamily="34" charset="0"/>
                <a:ea typeface="Arial" panose="020B0604020202020204" pitchFamily="34" charset="0"/>
                <a:cs typeface="Arial" panose="020B0604020202020204" pitchFamily="34" charset="0"/>
              </a:rPr>
              <a:t>Civitta</a:t>
            </a: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 veiktā jaunsargu aptauja, </a:t>
            </a:r>
            <a:r>
              <a:rPr lang="lv-LV" sz="1100" i="1" kern="100" dirty="0" err="1">
                <a:solidFill>
                  <a:srgbClr val="737373"/>
                </a:solidFill>
                <a:effectLst/>
                <a:latin typeface="Arial" panose="020B0604020202020204" pitchFamily="34" charset="0"/>
                <a:ea typeface="Arial" panose="020B0604020202020204" pitchFamily="34" charset="0"/>
                <a:cs typeface="Arial" panose="020B0604020202020204" pitchFamily="34" charset="0"/>
              </a:rPr>
              <a:t>N</a:t>
            </a: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644</a:t>
            </a:r>
            <a:endParaRPr lang="en-LV" sz="1100" kern="100" dirty="0">
              <a:effectLst/>
              <a:latin typeface="Arial" panose="020B0604020202020204" pitchFamily="34" charset="0"/>
              <a:ea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F078F5AC-7647-2205-3E51-F1B643D66AB7}"/>
              </a:ext>
            </a:extLst>
          </p:cNvPr>
          <p:cNvSpPr txBox="1"/>
          <p:nvPr/>
        </p:nvSpPr>
        <p:spPr>
          <a:xfrm>
            <a:off x="224926" y="971522"/>
            <a:ext cx="5985374" cy="587595"/>
          </a:xfrm>
          <a:prstGeom prst="rect">
            <a:avLst/>
          </a:prstGeom>
          <a:solidFill>
            <a:schemeClr val="accent6">
              <a:lumMod val="20000"/>
              <a:lumOff val="80000"/>
            </a:schemeClr>
          </a:solidFill>
          <a:ln>
            <a:noFill/>
          </a:ln>
        </p:spPr>
        <p:txBody>
          <a:bodyPr vert="horz" wrap="square" lIns="0" tIns="0" rIns="0" bIns="0" rtlCol="0" anchor="b">
            <a:noAutofit/>
          </a:bodyPr>
          <a:lstStyle/>
          <a:p>
            <a:pPr marR="0" defTabSz="914400" rtl="0" eaLnBrk="1" fontAlgn="auto" latinLnBrk="0" hangingPunct="1">
              <a:lnSpc>
                <a:spcPct val="100000"/>
              </a:lnSpc>
              <a:spcBef>
                <a:spcPts val="300"/>
              </a:spcBef>
              <a:spcAft>
                <a:spcPts val="300"/>
              </a:spcAft>
              <a:buClrTx/>
              <a:buSzPct val="80000"/>
              <a:tabLst/>
            </a:pPr>
            <a:r>
              <a:rPr kumimoji="0" lang="en-GB" sz="1400" b="1" i="0" u="none" strike="noStrike" kern="1200" cap="none" spc="0" normalizeH="0" baseline="0" noProof="0" dirty="0">
                <a:ln>
                  <a:noFill/>
                </a:ln>
                <a:solidFill>
                  <a:srgbClr val="000000"/>
                </a:solidFill>
                <a:effectLst/>
                <a:uLnTx/>
                <a:uFillTx/>
                <a:latin typeface="Arial"/>
                <a:ea typeface="+mn-ea"/>
                <a:cs typeface="Arial"/>
              </a:rPr>
              <a:t>  GALVENIE SECINĀJUMI</a:t>
            </a:r>
          </a:p>
          <a:p>
            <a:pPr marR="0" defTabSz="914400" rtl="0" eaLnBrk="1" fontAlgn="auto" latinLnBrk="0" hangingPunct="1">
              <a:lnSpc>
                <a:spcPct val="100000"/>
              </a:lnSpc>
              <a:spcBef>
                <a:spcPts val="300"/>
              </a:spcBef>
              <a:spcAft>
                <a:spcPts val="300"/>
              </a:spcAft>
              <a:buClrTx/>
              <a:buSzPct val="80000"/>
              <a:tabLst/>
            </a:pPr>
            <a:endParaRPr kumimoji="0" lang="en-GB" sz="1400" b="1" i="0" u="none" strike="noStrike" kern="1200" cap="none" spc="0" normalizeH="0" baseline="0" noProof="0" dirty="0" err="1">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906930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561CC-32F6-3AF3-65B6-C09597602DE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CF33B61-C878-78B5-072E-B91BF9C7ADEF}"/>
              </a:ext>
            </a:extLst>
          </p:cNvPr>
          <p:cNvGraphicFramePr>
            <a:graphicFrameLocks/>
          </p:cNvGraphicFramePr>
          <p:nvPr>
            <p:custDataLst>
              <p:tags r:id="rId1"/>
            </p:custDataLst>
            <p:extLst>
              <p:ext uri="{D42A27DB-BD31-4B8C-83A1-F6EECF244321}">
                <p14:modId xmlns:p14="http://schemas.microsoft.com/office/powerpoint/2010/main" val="907836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FCF33B61-C878-78B5-072E-B91BF9C7AD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74E13-7767-A5B5-87BE-29A530412A0F}"/>
              </a:ext>
            </a:extLst>
          </p:cNvPr>
          <p:cNvSpPr>
            <a:spLocks noGrp="1"/>
          </p:cNvSpPr>
          <p:nvPr>
            <p:ph type="title"/>
          </p:nvPr>
        </p:nvSpPr>
        <p:spPr>
          <a:xfrm>
            <a:off x="263526" y="473813"/>
            <a:ext cx="11664950" cy="512760"/>
          </a:xfrm>
        </p:spPr>
        <p:txBody>
          <a:bodyPr vert="horz" rIns="0"/>
          <a:lstStyle/>
          <a:p>
            <a:r>
              <a:rPr lang="lv-LV" noProof="1"/>
              <a:t>Jaunsardzes programmas atbilstība mērķim</a:t>
            </a:r>
          </a:p>
        </p:txBody>
      </p:sp>
      <p:sp>
        <p:nvSpPr>
          <p:cNvPr id="3" name="Content Placeholder 2">
            <a:extLst>
              <a:ext uri="{FF2B5EF4-FFF2-40B4-BE49-F238E27FC236}">
                <a16:creationId xmlns:a16="http://schemas.microsoft.com/office/drawing/2014/main" id="{26ADF66E-FF57-C485-EC8E-108546EB928B}"/>
              </a:ext>
            </a:extLst>
          </p:cNvPr>
          <p:cNvSpPr>
            <a:spLocks noGrp="1"/>
          </p:cNvSpPr>
          <p:nvPr>
            <p:ph idx="1"/>
          </p:nvPr>
        </p:nvSpPr>
        <p:spPr>
          <a:xfrm>
            <a:off x="232388" y="1684618"/>
            <a:ext cx="5977912" cy="4585426"/>
          </a:xfrm>
        </p:spPr>
        <p:txBody>
          <a:bodyPr/>
          <a:lstStyle/>
          <a:p>
            <a:pPr algn="just"/>
            <a:r>
              <a:rPr lang="lv-LV" sz="1400" dirty="0"/>
              <a:t>Programma ir atbilstoša Likumā noteiktajam mērķim – tā vienlaikus aptver militārās un pilsoniskās kompetences, kā arī personības attīstības aspektus; astoņu gadu īstenošana ar regulārām nodarbībām nodrošina pakāpenisku un vecumposmam atbilstošu kompetenču attīstību</a:t>
            </a:r>
          </a:p>
          <a:p>
            <a:pPr algn="just"/>
            <a:r>
              <a:rPr lang="lv-LV" sz="1400" dirty="0"/>
              <a:t>Programmas saturs ir strukturēts loģiski un secīgi ar pieaugošu sarežģītības pakāpi – temati attīstās no vienkāršas apkārtnes iepazīšanas līdz sarežģītākiem valsts drošības un atbildības jautājumiem</a:t>
            </a:r>
          </a:p>
          <a:p>
            <a:pPr algn="just"/>
            <a:r>
              <a:rPr lang="lv-LV" sz="1400" dirty="0"/>
              <a:t>Metodiski programma balstās uz instruktora kompetenci un elastību, tomēr tas rada risku nevienmērīgai kvalitātei starp vienībām</a:t>
            </a:r>
          </a:p>
          <a:p>
            <a:pPr algn="just"/>
            <a:r>
              <a:rPr lang="lv-LV" sz="1400" dirty="0"/>
              <a:t>Stundu apjoms un formāts – divas 45 minūšu nodarbības nedēļā, papildinātas ar nometnēm un pasākumiem – tiek vērtēts kā optimāls, nodrošinot līdzsvaru starp iesaisti un jauniešu ikdienas slodzi</a:t>
            </a:r>
          </a:p>
          <a:p>
            <a:pPr algn="just"/>
            <a:r>
              <a:rPr lang="lv-LV" sz="1400" dirty="0"/>
              <a:t>Nometnes un praktiskās aktivitātes ir īpaši nozīmīga programmas sastāvdaļa – tās nodrošina teorijas un praktisku pielietojumu un stiprina sadarbības un krīzes situāciju pārvarēšanas prasmes</a:t>
            </a:r>
          </a:p>
          <a:p>
            <a:pPr algn="just"/>
            <a:r>
              <a:rPr lang="lv-LV" sz="1400" dirty="0"/>
              <a:t>Vidusskolas posma īstenošana ir būtiska – šajā vecumā jaunieši pieņem apzinātus karjeras lēmumus, un Jaunsardze darbojas kā profesionālās orientācijas instruments, ļaujot praktiski izvērtēt interesi par aizsardzības jomu</a:t>
            </a:r>
          </a:p>
          <a:p>
            <a:pPr algn="just"/>
            <a:endParaRPr lang="lv-LV" sz="1300" noProof="1"/>
          </a:p>
        </p:txBody>
      </p:sp>
      <p:sp>
        <p:nvSpPr>
          <p:cNvPr id="13" name="Content Placeholder 12">
            <a:extLst>
              <a:ext uri="{FF2B5EF4-FFF2-40B4-BE49-F238E27FC236}">
                <a16:creationId xmlns:a16="http://schemas.microsoft.com/office/drawing/2014/main" id="{3C1E6A80-3B93-4A7F-21AE-538966A34EA9}"/>
              </a:ext>
            </a:extLst>
          </p:cNvPr>
          <p:cNvSpPr>
            <a:spLocks noGrp="1"/>
          </p:cNvSpPr>
          <p:nvPr>
            <p:ph idx="16"/>
          </p:nvPr>
        </p:nvSpPr>
        <p:spPr>
          <a:xfrm>
            <a:off x="6393586" y="1264052"/>
            <a:ext cx="5217472" cy="241587"/>
          </a:xfrm>
        </p:spPr>
        <p:txBody>
          <a:bodyPr/>
          <a:lstStyle/>
          <a:p>
            <a:pPr marL="0" indent="0">
              <a:buNone/>
            </a:pPr>
            <a:r>
              <a:rPr lang="lv-LV" sz="1300" b="1" dirty="0">
                <a:solidFill>
                  <a:schemeClr val="accent6"/>
                </a:solidFill>
              </a:rPr>
              <a:t>Jaunsargu vērtējums par attieksmi pret dalību Jaunsardzē, %</a:t>
            </a:r>
            <a:r>
              <a:rPr lang="en-LV" sz="1300" b="1" dirty="0">
                <a:solidFill>
                  <a:schemeClr val="accent6"/>
                </a:solidFill>
              </a:rPr>
              <a:t> </a:t>
            </a:r>
            <a:endParaRPr lang="lv-LV" sz="1300" b="1" noProof="1">
              <a:solidFill>
                <a:schemeClr val="accent6"/>
              </a:solidFill>
            </a:endParaRPr>
          </a:p>
        </p:txBody>
      </p:sp>
      <p:sp>
        <p:nvSpPr>
          <p:cNvPr id="4" name="TextBox 3">
            <a:extLst>
              <a:ext uri="{FF2B5EF4-FFF2-40B4-BE49-F238E27FC236}">
                <a16:creationId xmlns:a16="http://schemas.microsoft.com/office/drawing/2014/main" id="{EFD455C2-32DD-4C3A-4972-1A686499B439}"/>
              </a:ext>
            </a:extLst>
          </p:cNvPr>
          <p:cNvSpPr txBox="1"/>
          <p:nvPr/>
        </p:nvSpPr>
        <p:spPr>
          <a:xfrm>
            <a:off x="9084039" y="3732551"/>
            <a:ext cx="0" cy="0"/>
          </a:xfrm>
          <a:prstGeom prst="rect">
            <a:avLst/>
          </a:prstGeom>
        </p:spPr>
        <p:txBody>
          <a:bodyPr vert="horz" wrap="none" lIns="0" tIns="0" rIns="0" bIns="0" rtlCol="0">
            <a:noAutofit/>
          </a:bodyPr>
          <a:lstStyle/>
          <a:p>
            <a: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pPr>
            <a:endParaRPr kumimoji="0" lang="en-GB" sz="1200" b="0" i="0" u="none" strike="noStrike" kern="1200" cap="none" spc="0" normalizeH="0" baseline="0" noProof="0" dirty="0" err="1">
              <a:ln>
                <a:noFill/>
              </a:ln>
              <a:solidFill>
                <a:srgbClr val="000000"/>
              </a:solidFill>
              <a:effectLst/>
              <a:uLnTx/>
              <a:uFillTx/>
              <a:latin typeface="Arial"/>
              <a:ea typeface="+mn-ea"/>
              <a:cs typeface="Arial"/>
            </a:endParaRPr>
          </a:p>
        </p:txBody>
      </p:sp>
      <p:sp>
        <p:nvSpPr>
          <p:cNvPr id="20" name="TextBox 19">
            <a:extLst>
              <a:ext uri="{FF2B5EF4-FFF2-40B4-BE49-F238E27FC236}">
                <a16:creationId xmlns:a16="http://schemas.microsoft.com/office/drawing/2014/main" id="{DBC7DAC5-88FB-D4DA-7504-A45B7AEEE6E4}"/>
              </a:ext>
            </a:extLst>
          </p:cNvPr>
          <p:cNvSpPr txBox="1"/>
          <p:nvPr/>
        </p:nvSpPr>
        <p:spPr>
          <a:xfrm>
            <a:off x="8154347" y="5831985"/>
            <a:ext cx="3667125" cy="302840"/>
          </a:xfrm>
          <a:prstGeom prst="rect">
            <a:avLst/>
          </a:prstGeom>
          <a:noFill/>
        </p:spPr>
        <p:txBody>
          <a:bodyPr wrap="square">
            <a:spAutoFit/>
          </a:bodyPr>
          <a:lstStyle/>
          <a:p>
            <a:pPr algn="r">
              <a:lnSpc>
                <a:spcPct val="115000"/>
              </a:lnSpc>
              <a:spcBef>
                <a:spcPts val="600"/>
              </a:spcBef>
              <a:spcAft>
                <a:spcPts val="800"/>
              </a:spcAft>
              <a:buNone/>
            </a:pPr>
            <a:r>
              <a:rPr lang="lv-LV" sz="13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Avots: </a:t>
            </a:r>
            <a:r>
              <a:rPr lang="lv-LV" sz="1300" i="1" kern="100" dirty="0" err="1">
                <a:solidFill>
                  <a:srgbClr val="737373"/>
                </a:solidFill>
                <a:effectLst/>
                <a:latin typeface="Arial" panose="020B0604020202020204" pitchFamily="34" charset="0"/>
                <a:ea typeface="Arial" panose="020B0604020202020204" pitchFamily="34" charset="0"/>
                <a:cs typeface="Arial" panose="020B0604020202020204" pitchFamily="34" charset="0"/>
              </a:rPr>
              <a:t>Civitta</a:t>
            </a:r>
            <a:r>
              <a:rPr lang="lv-LV" sz="13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 veiktā jaunsargu aptauja, </a:t>
            </a:r>
            <a:r>
              <a:rPr lang="lv-LV" sz="1300" i="1" kern="100" dirty="0" err="1">
                <a:solidFill>
                  <a:srgbClr val="737373"/>
                </a:solidFill>
                <a:effectLst/>
                <a:latin typeface="Arial" panose="020B0604020202020204" pitchFamily="34" charset="0"/>
                <a:ea typeface="Arial" panose="020B0604020202020204" pitchFamily="34" charset="0"/>
                <a:cs typeface="Arial" panose="020B0604020202020204" pitchFamily="34" charset="0"/>
              </a:rPr>
              <a:t>N</a:t>
            </a:r>
            <a:r>
              <a:rPr lang="lv-LV" sz="13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644</a:t>
            </a:r>
            <a:endParaRPr lang="en-LV" sz="1300" kern="100" dirty="0">
              <a:effectLst/>
              <a:latin typeface="Arial" panose="020B0604020202020204" pitchFamily="34" charset="0"/>
              <a:ea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1E862179-1E37-E1C0-96BD-902FD817A0AD}"/>
              </a:ext>
            </a:extLst>
          </p:cNvPr>
          <p:cNvSpPr txBox="1"/>
          <p:nvPr/>
        </p:nvSpPr>
        <p:spPr>
          <a:xfrm>
            <a:off x="224926" y="971522"/>
            <a:ext cx="5985374" cy="587595"/>
          </a:xfrm>
          <a:prstGeom prst="rect">
            <a:avLst/>
          </a:prstGeom>
          <a:solidFill>
            <a:schemeClr val="accent6">
              <a:lumMod val="20000"/>
              <a:lumOff val="80000"/>
            </a:schemeClr>
          </a:solidFill>
          <a:ln>
            <a:noFill/>
          </a:ln>
        </p:spPr>
        <p:txBody>
          <a:bodyPr vert="horz" wrap="square" lIns="0" tIns="0" rIns="0" bIns="0" rtlCol="0" anchor="b">
            <a:noAutofit/>
          </a:bodyPr>
          <a:lstStyle/>
          <a:p>
            <a:pPr marR="0" defTabSz="914400" rtl="0" eaLnBrk="1" fontAlgn="auto" latinLnBrk="0" hangingPunct="1">
              <a:lnSpc>
                <a:spcPct val="100000"/>
              </a:lnSpc>
              <a:spcBef>
                <a:spcPts val="300"/>
              </a:spcBef>
              <a:spcAft>
                <a:spcPts val="300"/>
              </a:spcAft>
              <a:buClrTx/>
              <a:buSzPct val="80000"/>
              <a:tabLst/>
            </a:pPr>
            <a:r>
              <a:rPr kumimoji="0" lang="en-GB" sz="1400" b="1" i="0" u="none" strike="noStrike" kern="1200" cap="none" spc="0" normalizeH="0" baseline="0" noProof="0" dirty="0">
                <a:ln>
                  <a:noFill/>
                </a:ln>
                <a:solidFill>
                  <a:srgbClr val="000000"/>
                </a:solidFill>
                <a:effectLst/>
                <a:uLnTx/>
                <a:uFillTx/>
                <a:latin typeface="Arial"/>
                <a:ea typeface="+mn-ea"/>
                <a:cs typeface="Arial"/>
              </a:rPr>
              <a:t>  GALVENIE SECINĀJUMI</a:t>
            </a:r>
          </a:p>
          <a:p>
            <a:pPr marR="0" defTabSz="914400" rtl="0" eaLnBrk="1" fontAlgn="auto" latinLnBrk="0" hangingPunct="1">
              <a:lnSpc>
                <a:spcPct val="100000"/>
              </a:lnSpc>
              <a:spcBef>
                <a:spcPts val="300"/>
              </a:spcBef>
              <a:spcAft>
                <a:spcPts val="300"/>
              </a:spcAft>
              <a:buClrTx/>
              <a:buSzPct val="80000"/>
              <a:tabLst/>
            </a:pPr>
            <a:endParaRPr kumimoji="0" lang="en-GB" sz="1400" b="1" i="0" u="none" strike="noStrike" kern="1200" cap="none" spc="0" normalizeH="0" baseline="0" noProof="0" dirty="0" err="1">
              <a:ln>
                <a:noFill/>
              </a:ln>
              <a:solidFill>
                <a:srgbClr val="000000"/>
              </a:solidFill>
              <a:effectLst/>
              <a:uLnTx/>
              <a:uFillTx/>
              <a:latin typeface="Arial"/>
              <a:ea typeface="+mn-ea"/>
              <a:cs typeface="Arial"/>
            </a:endParaRPr>
          </a:p>
        </p:txBody>
      </p:sp>
      <p:graphicFrame>
        <p:nvGraphicFramePr>
          <p:cNvPr id="11" name="Chart 10">
            <a:extLst>
              <a:ext uri="{FF2B5EF4-FFF2-40B4-BE49-F238E27FC236}">
                <a16:creationId xmlns:a16="http://schemas.microsoft.com/office/drawing/2014/main" id="{AB0FFA50-DF9A-D399-72C0-D4681DFE3791}"/>
              </a:ext>
            </a:extLst>
          </p:cNvPr>
          <p:cNvGraphicFramePr/>
          <p:nvPr>
            <p:extLst>
              <p:ext uri="{D42A27DB-BD31-4B8C-83A1-F6EECF244321}">
                <p14:modId xmlns:p14="http://schemas.microsoft.com/office/powerpoint/2010/main" val="1921692669"/>
              </p:ext>
            </p:extLst>
          </p:nvPr>
        </p:nvGraphicFramePr>
        <p:xfrm>
          <a:off x="6393586" y="1559116"/>
          <a:ext cx="5573488" cy="458542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2E5ADDFC-0AAF-C2FB-5A0E-DA6084BA6AE7}"/>
              </a:ext>
            </a:extLst>
          </p:cNvPr>
          <p:cNvSpPr txBox="1"/>
          <p:nvPr/>
        </p:nvSpPr>
        <p:spPr>
          <a:xfrm>
            <a:off x="6393586" y="6198020"/>
            <a:ext cx="3667125" cy="270459"/>
          </a:xfrm>
          <a:prstGeom prst="rect">
            <a:avLst/>
          </a:prstGeom>
          <a:noFill/>
        </p:spPr>
        <p:txBody>
          <a:bodyPr wrap="square">
            <a:spAutoFit/>
          </a:bodyPr>
          <a:lstStyle/>
          <a:p>
            <a:pPr>
              <a:lnSpc>
                <a:spcPct val="115000"/>
              </a:lnSpc>
              <a:spcBef>
                <a:spcPts val="600"/>
              </a:spcBef>
              <a:spcAft>
                <a:spcPts val="800"/>
              </a:spcAft>
              <a:buNone/>
            </a:pP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Avots: </a:t>
            </a:r>
            <a:r>
              <a:rPr lang="lv-LV" sz="1100" i="1" kern="100" dirty="0" err="1">
                <a:solidFill>
                  <a:srgbClr val="737373"/>
                </a:solidFill>
                <a:effectLst/>
                <a:latin typeface="Arial" panose="020B0604020202020204" pitchFamily="34" charset="0"/>
                <a:ea typeface="Arial" panose="020B0604020202020204" pitchFamily="34" charset="0"/>
                <a:cs typeface="Arial" panose="020B0604020202020204" pitchFamily="34" charset="0"/>
              </a:rPr>
              <a:t>Civitta</a:t>
            </a: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 veiktā jaunsargu aptauja, </a:t>
            </a:r>
            <a:r>
              <a:rPr lang="lv-LV" sz="1100" i="1" kern="100" dirty="0" err="1">
                <a:solidFill>
                  <a:srgbClr val="737373"/>
                </a:solidFill>
                <a:effectLst/>
                <a:latin typeface="Arial" panose="020B0604020202020204" pitchFamily="34" charset="0"/>
                <a:ea typeface="Arial" panose="020B0604020202020204" pitchFamily="34" charset="0"/>
                <a:cs typeface="Arial" panose="020B0604020202020204" pitchFamily="34" charset="0"/>
              </a:rPr>
              <a:t>N</a:t>
            </a: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644</a:t>
            </a:r>
            <a:endParaRPr lang="en-LV" sz="1100" kern="100" dirty="0">
              <a:effectLst/>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6264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C9A3F-57B0-8DD8-B172-E9687D47C22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C57ABF-07AE-E572-E056-7A97EF2C7649}"/>
              </a:ext>
            </a:extLst>
          </p:cNvPr>
          <p:cNvGraphicFramePr>
            <a:graphicFrameLocks/>
          </p:cNvGraphicFramePr>
          <p:nvPr>
            <p:custDataLst>
              <p:tags r:id="rId1"/>
            </p:custDataLst>
            <p:extLst>
              <p:ext uri="{D42A27DB-BD31-4B8C-83A1-F6EECF244321}">
                <p14:modId xmlns:p14="http://schemas.microsoft.com/office/powerpoint/2010/main" val="27041528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2C57ABF-07AE-E572-E056-7A97EF2C76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2A78C7-156C-773B-4609-343A326AF020}"/>
              </a:ext>
            </a:extLst>
          </p:cNvPr>
          <p:cNvSpPr>
            <a:spLocks noGrp="1"/>
          </p:cNvSpPr>
          <p:nvPr>
            <p:ph type="ctrTitle"/>
          </p:nvPr>
        </p:nvSpPr>
        <p:spPr/>
        <p:txBody>
          <a:bodyPr vert="horz" rIns="0"/>
          <a:lstStyle/>
          <a:p>
            <a:r>
              <a:rPr lang="lv-LV" dirty="0"/>
              <a:t>VAM un </a:t>
            </a:r>
            <a:r>
              <a:rPr lang="lv-LV" dirty="0" err="1"/>
              <a:t>Jaunsardzes</a:t>
            </a:r>
            <a:r>
              <a:rPr lang="lv-LV" dirty="0"/>
              <a:t> programmu pārskatīšana</a:t>
            </a:r>
            <a:br>
              <a:rPr lang="lv-LV" dirty="0"/>
            </a:br>
            <a:endParaRPr lang="en-EE"/>
          </a:p>
        </p:txBody>
      </p:sp>
    </p:spTree>
    <p:extLst>
      <p:ext uri="{BB962C8B-B14F-4D97-AF65-F5344CB8AC3E}">
        <p14:creationId xmlns:p14="http://schemas.microsoft.com/office/powerpoint/2010/main" val="14695086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7F317-87BA-B99A-4631-75A2430C57D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B1C5C08-3E05-36AB-2EA9-24CBFE92E6F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8B1C5C08-3E05-36AB-2EA9-24CBFE92E6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A7F35A-3BF2-EC1E-785D-D8E26E592E98}"/>
              </a:ext>
            </a:extLst>
          </p:cNvPr>
          <p:cNvSpPr>
            <a:spLocks noGrp="1"/>
          </p:cNvSpPr>
          <p:nvPr>
            <p:ph type="title"/>
          </p:nvPr>
        </p:nvSpPr>
        <p:spPr>
          <a:xfrm>
            <a:off x="263526" y="473813"/>
            <a:ext cx="11664950" cy="512760"/>
          </a:xfrm>
        </p:spPr>
        <p:txBody>
          <a:bodyPr vert="horz" rIns="0"/>
          <a:lstStyle/>
          <a:p>
            <a:r>
              <a:rPr lang="lv-LV" noProof="0" dirty="0"/>
              <a:t>VAM un Jaunsargu programmu pārskatīšana un aktualizēšana</a:t>
            </a:r>
          </a:p>
        </p:txBody>
      </p:sp>
      <p:sp>
        <p:nvSpPr>
          <p:cNvPr id="4" name="TextBox 3">
            <a:extLst>
              <a:ext uri="{FF2B5EF4-FFF2-40B4-BE49-F238E27FC236}">
                <a16:creationId xmlns:a16="http://schemas.microsoft.com/office/drawing/2014/main" id="{3591FB79-18F2-F66C-AAA4-059AA0063A3C}"/>
              </a:ext>
            </a:extLst>
          </p:cNvPr>
          <p:cNvSpPr txBox="1"/>
          <p:nvPr/>
        </p:nvSpPr>
        <p:spPr>
          <a:xfrm>
            <a:off x="9084039" y="3732551"/>
            <a:ext cx="0" cy="0"/>
          </a:xfrm>
          <a:prstGeom prst="rect">
            <a:avLst/>
          </a:prstGeom>
        </p:spPr>
        <p:txBody>
          <a:bodyPr vert="horz" wrap="none" lIns="0" tIns="0" rIns="0" bIns="0" rtlCol="0">
            <a:noAutofit/>
          </a:bodyPr>
          <a:lstStyle/>
          <a:p>
            <a: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pPr>
            <a:endParaRPr kumimoji="0" lang="en-GB" sz="1200" b="0" i="0" u="none" strike="noStrike" kern="1200" cap="none" spc="0" normalizeH="0" baseline="0" noProof="0" dirty="0" err="1">
              <a:ln>
                <a:noFill/>
              </a:ln>
              <a:solidFill>
                <a:srgbClr val="000000"/>
              </a:solidFill>
              <a:effectLst/>
              <a:uLnTx/>
              <a:uFillTx/>
              <a:latin typeface="Arial"/>
              <a:ea typeface="+mn-ea"/>
              <a:cs typeface="Arial"/>
            </a:endParaRPr>
          </a:p>
        </p:txBody>
      </p:sp>
      <p:sp>
        <p:nvSpPr>
          <p:cNvPr id="9" name="Rectangle 2">
            <a:extLst>
              <a:ext uri="{FF2B5EF4-FFF2-40B4-BE49-F238E27FC236}">
                <a16:creationId xmlns:a16="http://schemas.microsoft.com/office/drawing/2014/main" id="{74DA2DD5-A593-2601-8395-CFC5082DD6D2}"/>
              </a:ext>
            </a:extLst>
          </p:cNvPr>
          <p:cNvSpPr>
            <a:spLocks noGrp="1" noChangeArrowheads="1"/>
          </p:cNvSpPr>
          <p:nvPr>
            <p:ph idx="1"/>
          </p:nvPr>
        </p:nvSpPr>
        <p:spPr bwMode="auto">
          <a:xfrm>
            <a:off x="263526" y="1918175"/>
            <a:ext cx="1112887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lgn="just" eaLnBrk="0" fontAlgn="base" hangingPunct="0">
              <a:spcAft>
                <a:spcPct val="0"/>
              </a:spcAft>
              <a:buSzTx/>
              <a:buNone/>
            </a:pPr>
            <a:r>
              <a:rPr lang="en-LV" altLang="en-LV" sz="1300" dirty="0">
                <a:latin typeface="Arial" panose="020B0604020202020204" pitchFamily="34" charset="0"/>
              </a:rPr>
              <a:t>Programmu kvalitāti nenosaka pārskatīšanas biežums, bet gan tas, cik mērķtiecīgi tiek identificēta izmaiņu nepieciešamība un cik efektīvi tās tiek ieviestas praksē</a:t>
            </a:r>
          </a:p>
        </p:txBody>
      </p:sp>
      <p:sp>
        <p:nvSpPr>
          <p:cNvPr id="10" name="TextBox 9">
            <a:extLst>
              <a:ext uri="{FF2B5EF4-FFF2-40B4-BE49-F238E27FC236}">
                <a16:creationId xmlns:a16="http://schemas.microsoft.com/office/drawing/2014/main" id="{5A877AC3-EE89-3D46-4736-1C9CA34850A9}"/>
              </a:ext>
            </a:extLst>
          </p:cNvPr>
          <p:cNvSpPr txBox="1"/>
          <p:nvPr/>
        </p:nvSpPr>
        <p:spPr>
          <a:xfrm>
            <a:off x="263526" y="1082969"/>
            <a:ext cx="11128874" cy="587595"/>
          </a:xfrm>
          <a:prstGeom prst="rect">
            <a:avLst/>
          </a:prstGeom>
          <a:solidFill>
            <a:schemeClr val="accent6">
              <a:lumMod val="20000"/>
              <a:lumOff val="80000"/>
            </a:schemeClr>
          </a:solidFill>
          <a:ln>
            <a:noFill/>
          </a:ln>
        </p:spPr>
        <p:txBody>
          <a:bodyPr vert="horz" wrap="square" lIns="0" tIns="0" rIns="0" bIns="0" rtlCol="0" anchor="b">
            <a:noAutofit/>
          </a:bodyPr>
          <a:lstStyle/>
          <a:p>
            <a:pPr marR="0" defTabSz="914400" rtl="0" eaLnBrk="1" fontAlgn="auto" latinLnBrk="0" hangingPunct="1">
              <a:lnSpc>
                <a:spcPct val="100000"/>
              </a:lnSpc>
              <a:spcBef>
                <a:spcPts val="300"/>
              </a:spcBef>
              <a:spcAft>
                <a:spcPts val="300"/>
              </a:spcAft>
              <a:buClrTx/>
              <a:buSzPct val="80000"/>
              <a:tabLst/>
            </a:pPr>
            <a:r>
              <a:rPr kumimoji="0" lang="en-GB" sz="1400" b="1" i="0" u="none" strike="noStrike" kern="1200" cap="none" spc="0" normalizeH="0" baseline="0" noProof="0" dirty="0">
                <a:ln>
                  <a:noFill/>
                </a:ln>
                <a:solidFill>
                  <a:srgbClr val="000000"/>
                </a:solidFill>
                <a:effectLst/>
                <a:uLnTx/>
                <a:uFillTx/>
                <a:latin typeface="Arial"/>
                <a:ea typeface="+mn-ea"/>
                <a:cs typeface="Arial"/>
              </a:rPr>
              <a:t>  GALVENIE SECINĀJUMI</a:t>
            </a:r>
          </a:p>
          <a:p>
            <a:pPr marR="0" defTabSz="914400" rtl="0" eaLnBrk="1" fontAlgn="auto" latinLnBrk="0" hangingPunct="1">
              <a:lnSpc>
                <a:spcPct val="100000"/>
              </a:lnSpc>
              <a:spcBef>
                <a:spcPts val="300"/>
              </a:spcBef>
              <a:spcAft>
                <a:spcPts val="300"/>
              </a:spcAft>
              <a:buClrTx/>
              <a:buSzPct val="80000"/>
              <a:tabLst/>
            </a:pPr>
            <a:endParaRPr kumimoji="0" lang="en-GB" sz="1400" b="1" i="0" u="none" strike="noStrike" kern="1200" cap="none" spc="0" normalizeH="0" baseline="0" noProof="0" dirty="0" err="1">
              <a:ln>
                <a:noFill/>
              </a:ln>
              <a:solidFill>
                <a:srgbClr val="000000"/>
              </a:solidFill>
              <a:effectLst/>
              <a:uLnTx/>
              <a:uFillTx/>
              <a:latin typeface="Arial"/>
              <a:ea typeface="+mn-ea"/>
              <a:cs typeface="Arial"/>
            </a:endParaRPr>
          </a:p>
        </p:txBody>
      </p:sp>
      <p:sp>
        <p:nvSpPr>
          <p:cNvPr id="3" name="Rectangle 2">
            <a:extLst>
              <a:ext uri="{FF2B5EF4-FFF2-40B4-BE49-F238E27FC236}">
                <a16:creationId xmlns:a16="http://schemas.microsoft.com/office/drawing/2014/main" id="{B2E04DFD-4425-34B7-E951-F8192948AD2C}"/>
              </a:ext>
            </a:extLst>
          </p:cNvPr>
          <p:cNvSpPr txBox="1">
            <a:spLocks noChangeArrowheads="1"/>
          </p:cNvSpPr>
          <p:nvPr/>
        </p:nvSpPr>
        <p:spPr bwMode="auto">
          <a:xfrm>
            <a:off x="6191828" y="2848388"/>
            <a:ext cx="5200572" cy="2569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algn="just" eaLnBrk="0" fontAlgn="base" hangingPunct="0">
              <a:spcAft>
                <a:spcPct val="0"/>
              </a:spcAft>
              <a:buSzTx/>
              <a:buFont typeface="Wingdings" pitchFamily="2" charset="2"/>
              <a:buChar char="§"/>
            </a:pPr>
            <a:r>
              <a:rPr lang="en-LV" altLang="en-LV" sz="1300" dirty="0">
                <a:latin typeface="Arial" panose="020B0604020202020204" pitchFamily="34" charset="0"/>
              </a:rPr>
              <a:t>Jaunsargu programma ir dinamiskāka, jo nav piesaistīta valsts izglītības standartam – starptautiskā prakse norāda, ka interešu izglītības programmas tiek pārskatītas pēc nepieciešamības, nevis formāli noteiktos termiņos</a:t>
            </a:r>
          </a:p>
          <a:p>
            <a:pPr algn="just" eaLnBrk="0" fontAlgn="base" hangingPunct="0">
              <a:spcAft>
                <a:spcPct val="0"/>
              </a:spcAft>
              <a:buSzTx/>
              <a:buFont typeface="Wingdings" pitchFamily="2" charset="2"/>
              <a:buChar char="§"/>
            </a:pPr>
            <a:r>
              <a:rPr lang="en-LV" altLang="en-LV" sz="1300" dirty="0">
                <a:latin typeface="Arial" panose="020B0604020202020204" pitchFamily="34" charset="0"/>
              </a:rPr>
              <a:t>Jaunsardzes programmas attīstības temps ne vienmēr sakrīt ar praktiskās ieviešanas kapacitāti, īpaši attiecībā uz jaunu tehnoloģiju integrāciju – nepieciešama ciešāka sasaiste starp satura attīstību un resursu gatavību</a:t>
            </a:r>
          </a:p>
          <a:p>
            <a:pPr algn="just" eaLnBrk="0" fontAlgn="base" hangingPunct="0">
              <a:spcAft>
                <a:spcPct val="0"/>
              </a:spcAft>
              <a:buSzTx/>
              <a:buFont typeface="Wingdings" pitchFamily="2" charset="2"/>
              <a:buChar char="§"/>
            </a:pPr>
            <a:r>
              <a:rPr lang="en-LV" altLang="en-LV" sz="1300" dirty="0">
                <a:latin typeface="Arial" panose="020B0604020202020204" pitchFamily="34" charset="0"/>
              </a:rPr>
              <a:t>Kā perspektīvs risinājums identificēta Jaunsardzes programmas pārskatīšanas sasaistīšana ar NBS attīstības plāna četru gadu ciklu, nodrošinot stratēģisku saskaņotību starp jauniešu sagatavošanu un nākotnes dienesta vajadzībām</a:t>
            </a:r>
          </a:p>
        </p:txBody>
      </p:sp>
      <p:sp>
        <p:nvSpPr>
          <p:cNvPr id="5" name="Rectangle 2">
            <a:extLst>
              <a:ext uri="{FF2B5EF4-FFF2-40B4-BE49-F238E27FC236}">
                <a16:creationId xmlns:a16="http://schemas.microsoft.com/office/drawing/2014/main" id="{A45D738A-8550-2C8C-023C-923672642032}"/>
              </a:ext>
            </a:extLst>
          </p:cNvPr>
          <p:cNvSpPr txBox="1">
            <a:spLocks noChangeArrowheads="1"/>
          </p:cNvSpPr>
          <p:nvPr/>
        </p:nvSpPr>
        <p:spPr bwMode="auto">
          <a:xfrm>
            <a:off x="263526" y="2848388"/>
            <a:ext cx="5200572" cy="2131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algn="just" eaLnBrk="0" fontAlgn="base" hangingPunct="0">
              <a:spcAft>
                <a:spcPct val="0"/>
              </a:spcAft>
              <a:buSzTx/>
              <a:buFont typeface="Wingdings" pitchFamily="2" charset="2"/>
              <a:buChar char="§"/>
            </a:pPr>
            <a:r>
              <a:rPr lang="en-LV" altLang="en-LV" sz="1300" dirty="0">
                <a:latin typeface="Arial" panose="020B0604020202020204" pitchFamily="34" charset="0"/>
              </a:rPr>
              <a:t>VAM gadījumā esošais divu gadu pārskatīšanas cikls ir piemērots monitoringa instruments, taču pats par sevi nenosaka obligātu saturisku izmaiņu nepieciešamību – efektīvāk būtu atšķirt tehniskus uzlabojumus, ko var veikt biežāk, un dziļākas saturiskas izmaiņas, ko īsteno tikai pēc būtiskas nepieciešamības</a:t>
            </a:r>
          </a:p>
          <a:p>
            <a:pPr algn="just" eaLnBrk="0" fontAlgn="base" hangingPunct="0">
              <a:spcAft>
                <a:spcPct val="0"/>
              </a:spcAft>
              <a:buSzTx/>
              <a:buFont typeface="Wingdings" pitchFamily="2" charset="2"/>
              <a:buChar char="§"/>
            </a:pPr>
            <a:r>
              <a:rPr lang="en-LV" altLang="en-LV" sz="1300" dirty="0">
                <a:latin typeface="Arial" panose="020B0604020202020204" pitchFamily="34" charset="0"/>
              </a:rPr>
              <a:t>VAM programmas aktualizēšana ir saistīta ar plašāku sistēmisku procesu – iepirkumiem, instruktoru apmācību un metodisko materiālu pielāgošanu, kas prasa pietiekamu sagatavošanās laiku; perspektīvā pārskatīšanas ciklu varētu pagarināt līdz pieciem gadiem</a:t>
            </a:r>
          </a:p>
        </p:txBody>
      </p:sp>
    </p:spTree>
    <p:extLst>
      <p:ext uri="{BB962C8B-B14F-4D97-AF65-F5344CB8AC3E}">
        <p14:creationId xmlns:p14="http://schemas.microsoft.com/office/powerpoint/2010/main" val="27021345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84E15-9BF7-B6A7-024C-C2847B9D5F6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CA7E093-7866-090A-A5D5-1845900908C5}"/>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4CA7E093-7866-090A-A5D5-1845900908C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01DA33-538D-38AC-2D83-CFFB3007129B}"/>
              </a:ext>
            </a:extLst>
          </p:cNvPr>
          <p:cNvSpPr>
            <a:spLocks noGrp="1"/>
          </p:cNvSpPr>
          <p:nvPr>
            <p:ph type="ctrTitle"/>
          </p:nvPr>
        </p:nvSpPr>
        <p:spPr>
          <a:xfrm>
            <a:off x="263524" y="1989138"/>
            <a:ext cx="7020000" cy="2417762"/>
          </a:xfrm>
        </p:spPr>
        <p:txBody>
          <a:bodyPr vert="horz" rIns="0"/>
          <a:lstStyle/>
          <a:p>
            <a:r>
              <a:rPr lang="lv-LV" dirty="0"/>
              <a:t>Izglītības iestāžu un </a:t>
            </a:r>
            <a:r>
              <a:rPr lang="lv-LV" dirty="0" err="1"/>
              <a:t>Jaunsardzes</a:t>
            </a:r>
            <a:r>
              <a:rPr lang="lv-LV" dirty="0"/>
              <a:t> centra kapacitāte programmu īstenošanai</a:t>
            </a:r>
            <a:br>
              <a:rPr lang="lv-LV" dirty="0"/>
            </a:br>
            <a:endParaRPr lang="en-EE"/>
          </a:p>
        </p:txBody>
      </p:sp>
    </p:spTree>
    <p:extLst>
      <p:ext uri="{BB962C8B-B14F-4D97-AF65-F5344CB8AC3E}">
        <p14:creationId xmlns:p14="http://schemas.microsoft.com/office/powerpoint/2010/main" val="4284659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85818-9C9D-9511-F10F-E5C09E039B2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05BBE4-0BEC-84BF-0560-9EA92B23EAF6}"/>
              </a:ext>
            </a:extLst>
          </p:cNvPr>
          <p:cNvGraphicFramePr>
            <a:graphicFrameLocks/>
          </p:cNvGraphicFramePr>
          <p:nvPr>
            <p:custDataLst>
              <p:tags r:id="rId1"/>
            </p:custDataLst>
            <p:extLst>
              <p:ext uri="{D42A27DB-BD31-4B8C-83A1-F6EECF244321}">
                <p14:modId xmlns:p14="http://schemas.microsoft.com/office/powerpoint/2010/main" val="42496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4B05BBE4-0BEC-84BF-0560-9EA92B23EA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4C0B10-C762-D5A3-A3E8-C74C0CF5248A}"/>
              </a:ext>
            </a:extLst>
          </p:cNvPr>
          <p:cNvSpPr>
            <a:spLocks noGrp="1"/>
          </p:cNvSpPr>
          <p:nvPr>
            <p:ph type="title"/>
          </p:nvPr>
        </p:nvSpPr>
        <p:spPr>
          <a:xfrm>
            <a:off x="263526" y="473813"/>
            <a:ext cx="11664950" cy="512760"/>
          </a:xfrm>
        </p:spPr>
        <p:txBody>
          <a:bodyPr vert="horz" rIns="0"/>
          <a:lstStyle/>
          <a:p>
            <a:r>
              <a:rPr lang="lv-LV" noProof="0" dirty="0"/>
              <a:t>Izglītības iestāžu iesaiste VAM un Jaunsargu programmas nodrošināšanā</a:t>
            </a:r>
          </a:p>
        </p:txBody>
      </p:sp>
      <p:sp>
        <p:nvSpPr>
          <p:cNvPr id="4" name="TextBox 3">
            <a:extLst>
              <a:ext uri="{FF2B5EF4-FFF2-40B4-BE49-F238E27FC236}">
                <a16:creationId xmlns:a16="http://schemas.microsoft.com/office/drawing/2014/main" id="{15F90BF3-60E5-C37A-32DD-242F8A31595C}"/>
              </a:ext>
            </a:extLst>
          </p:cNvPr>
          <p:cNvSpPr txBox="1"/>
          <p:nvPr/>
        </p:nvSpPr>
        <p:spPr>
          <a:xfrm>
            <a:off x="9084039" y="3732551"/>
            <a:ext cx="0" cy="0"/>
          </a:xfrm>
          <a:prstGeom prst="rect">
            <a:avLst/>
          </a:prstGeom>
        </p:spPr>
        <p:txBody>
          <a:bodyPr vert="horz" wrap="none" lIns="0" tIns="0" rIns="0" bIns="0" rtlCol="0">
            <a:noAutofit/>
          </a:bodyPr>
          <a:lstStyle/>
          <a:p>
            <a: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pPr>
            <a:endParaRPr kumimoji="0" lang="en-GB" sz="1200" b="0" i="0" u="none" strike="noStrike" kern="1200" cap="none" spc="0" normalizeH="0" baseline="0" noProof="0" dirty="0" err="1">
              <a:ln>
                <a:noFill/>
              </a:ln>
              <a:solidFill>
                <a:srgbClr val="000000"/>
              </a:solidFill>
              <a:effectLst/>
              <a:uLnTx/>
              <a:uFillTx/>
              <a:latin typeface="Arial"/>
              <a:ea typeface="+mn-ea"/>
              <a:cs typeface="Arial"/>
            </a:endParaRPr>
          </a:p>
        </p:txBody>
      </p:sp>
      <p:sp>
        <p:nvSpPr>
          <p:cNvPr id="21" name="TextBox 20">
            <a:extLst>
              <a:ext uri="{FF2B5EF4-FFF2-40B4-BE49-F238E27FC236}">
                <a16:creationId xmlns:a16="http://schemas.microsoft.com/office/drawing/2014/main" id="{8041E796-4877-1010-21B7-AF5C7D62897F}"/>
              </a:ext>
            </a:extLst>
          </p:cNvPr>
          <p:cNvSpPr txBox="1"/>
          <p:nvPr/>
        </p:nvSpPr>
        <p:spPr>
          <a:xfrm>
            <a:off x="224926" y="1039862"/>
            <a:ext cx="5756775" cy="587595"/>
          </a:xfrm>
          <a:prstGeom prst="rect">
            <a:avLst/>
          </a:prstGeom>
          <a:solidFill>
            <a:schemeClr val="accent6">
              <a:lumMod val="20000"/>
              <a:lumOff val="80000"/>
            </a:schemeClr>
          </a:solidFill>
          <a:ln>
            <a:noFill/>
          </a:ln>
        </p:spPr>
        <p:txBody>
          <a:bodyPr vert="horz" wrap="square" lIns="0" tIns="0" rIns="0" bIns="0" rtlCol="0" anchor="b">
            <a:noAutofit/>
          </a:bodyPr>
          <a:lstStyle/>
          <a:p>
            <a:pPr marR="0" defTabSz="914400" rtl="0" eaLnBrk="1" fontAlgn="auto" latinLnBrk="0" hangingPunct="1">
              <a:lnSpc>
                <a:spcPct val="100000"/>
              </a:lnSpc>
              <a:spcBef>
                <a:spcPts val="300"/>
              </a:spcBef>
              <a:spcAft>
                <a:spcPts val="300"/>
              </a:spcAft>
              <a:buClrTx/>
              <a:buSzPct val="80000"/>
              <a:tabLst/>
            </a:pPr>
            <a:r>
              <a:rPr kumimoji="0" lang="en-GB" sz="1400" b="1" i="0" u="none" strike="noStrike" kern="1200" cap="none" spc="0" normalizeH="0" baseline="0" noProof="0" dirty="0">
                <a:ln>
                  <a:noFill/>
                </a:ln>
                <a:solidFill>
                  <a:srgbClr val="000000"/>
                </a:solidFill>
                <a:effectLst/>
                <a:uLnTx/>
                <a:uFillTx/>
                <a:latin typeface="Arial"/>
                <a:ea typeface="+mn-ea"/>
                <a:cs typeface="Arial"/>
              </a:rPr>
              <a:t>  GALVENIE SECINĀJUMI</a:t>
            </a:r>
          </a:p>
          <a:p>
            <a:pPr marR="0" defTabSz="914400" rtl="0" eaLnBrk="1" fontAlgn="auto" latinLnBrk="0" hangingPunct="1">
              <a:lnSpc>
                <a:spcPct val="100000"/>
              </a:lnSpc>
              <a:spcBef>
                <a:spcPts val="300"/>
              </a:spcBef>
              <a:spcAft>
                <a:spcPts val="300"/>
              </a:spcAft>
              <a:buClrTx/>
              <a:buSzPct val="80000"/>
              <a:tabLst/>
            </a:pPr>
            <a:endParaRPr kumimoji="0" lang="en-GB" sz="1400" b="1" i="0" u="none" strike="noStrike" kern="1200" cap="none" spc="0" normalizeH="0" baseline="0" noProof="0" dirty="0" err="1">
              <a:ln>
                <a:noFill/>
              </a:ln>
              <a:solidFill>
                <a:srgbClr val="000000"/>
              </a:solidFill>
              <a:effectLst/>
              <a:uLnTx/>
              <a:uFillTx/>
              <a:latin typeface="Arial"/>
              <a:ea typeface="+mn-ea"/>
              <a:cs typeface="Arial"/>
            </a:endParaRPr>
          </a:p>
        </p:txBody>
      </p:sp>
      <p:sp>
        <p:nvSpPr>
          <p:cNvPr id="8" name="Rectangle 1">
            <a:extLst>
              <a:ext uri="{FF2B5EF4-FFF2-40B4-BE49-F238E27FC236}">
                <a16:creationId xmlns:a16="http://schemas.microsoft.com/office/drawing/2014/main" id="{55713EB4-9ED3-F1FA-A626-8F63625E656C}"/>
              </a:ext>
            </a:extLst>
          </p:cNvPr>
          <p:cNvSpPr>
            <a:spLocks noGrp="1" noChangeArrowheads="1"/>
          </p:cNvSpPr>
          <p:nvPr>
            <p:ph idx="1"/>
          </p:nvPr>
        </p:nvSpPr>
        <p:spPr bwMode="auto">
          <a:xfrm>
            <a:off x="224926" y="1701840"/>
            <a:ext cx="5718175" cy="4485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just" defTabSz="914400" rtl="0" eaLnBrk="0" fontAlgn="base" latinLnBrk="0" hangingPunct="0">
              <a:lnSpc>
                <a:spcPct val="100000"/>
              </a:lnSpc>
              <a:spcAft>
                <a:spcPct val="0"/>
              </a:spcAft>
              <a:buClrTx/>
              <a:buSzTx/>
              <a:buFont typeface="Wingdings" pitchFamily="2" charset="2"/>
              <a:buChar char="§"/>
              <a:tabLst/>
            </a:pPr>
            <a:r>
              <a:rPr kumimoji="0" lang="en-LV" altLang="en-LV" sz="1300" b="0" i="0" u="none" strike="noStrike" cap="none" normalizeH="0" baseline="0" dirty="0">
                <a:ln>
                  <a:noFill/>
                </a:ln>
                <a:solidFill>
                  <a:schemeClr val="tx1"/>
                </a:solidFill>
                <a:effectLst/>
                <a:latin typeface="Arial" panose="020B0604020202020204" pitchFamily="34" charset="0"/>
              </a:rPr>
              <a:t>Lielākā daļa skolu spēj nodrošināt VAM īstenošanai nepieciešamo atbalstu – telpas teorētiskajām nodarbībām un vidi praktisko prasmju apguvei; izņēmumi galvenokārt saistīti ar piemērotu ārtelpu trūkumu </a:t>
            </a:r>
          </a:p>
          <a:p>
            <a:pPr marR="0" lvl="0" algn="just" defTabSz="914400" rtl="0" eaLnBrk="0" fontAlgn="base" latinLnBrk="0" hangingPunct="0">
              <a:lnSpc>
                <a:spcPct val="100000"/>
              </a:lnSpc>
              <a:spcAft>
                <a:spcPct val="0"/>
              </a:spcAft>
              <a:buClrTx/>
              <a:buSzTx/>
              <a:buFont typeface="Wingdings" pitchFamily="2" charset="2"/>
              <a:buChar char="§"/>
              <a:tabLst/>
            </a:pPr>
            <a:r>
              <a:rPr kumimoji="0" lang="en-LV" altLang="en-LV" sz="1300" b="0" i="0" u="none" strike="noStrike" cap="none" normalizeH="0" baseline="0" dirty="0">
                <a:ln>
                  <a:noFill/>
                </a:ln>
                <a:solidFill>
                  <a:schemeClr val="tx1"/>
                </a:solidFill>
                <a:effectLst/>
                <a:latin typeface="Arial" panose="020B0604020202020204" pitchFamily="34" charset="0"/>
              </a:rPr>
              <a:t>Galvenais izaicinājums ir mācību procesa plānošana – esošais formāts (8 stundas reizi mēnesī) apgrūtina VAM integrāciju kopējā mācību grafikā un rada papildu slodzi; daļa skolu ierosina biežākas, bet īsākas nodarbības </a:t>
            </a:r>
          </a:p>
          <a:p>
            <a:pPr marR="0" lvl="0" algn="just" defTabSz="914400" rtl="0" eaLnBrk="0" fontAlgn="base" latinLnBrk="0" hangingPunct="0">
              <a:lnSpc>
                <a:spcPct val="100000"/>
              </a:lnSpc>
              <a:spcAft>
                <a:spcPct val="0"/>
              </a:spcAft>
              <a:buClrTx/>
              <a:buSzTx/>
              <a:buFont typeface="Wingdings" pitchFamily="2" charset="2"/>
              <a:buChar char="§"/>
              <a:tabLst/>
            </a:pPr>
            <a:r>
              <a:rPr kumimoji="0" lang="en-LV" altLang="en-LV" sz="1300" b="0" i="0" u="none" strike="noStrike" cap="none" normalizeH="0" baseline="0" dirty="0">
                <a:ln>
                  <a:noFill/>
                </a:ln>
                <a:solidFill>
                  <a:schemeClr val="tx1"/>
                </a:solidFill>
                <a:effectLst/>
                <a:latin typeface="Arial" panose="020B0604020202020204" pitchFamily="34" charset="0"/>
              </a:rPr>
              <a:t>Izglītības iestāžu izpratne par VAM atbalstu ar laiku nostiprinās; būtisks faktors ir skolas vadības attieksme, kas tieši ietekmē gan praktiskā atbalsta kvalitāti, gan kopējo noskaņojumu pret programmu </a:t>
            </a:r>
          </a:p>
          <a:p>
            <a:pPr marR="0" lvl="0" algn="just" defTabSz="914400" rtl="0" eaLnBrk="0" fontAlgn="base" latinLnBrk="0" hangingPunct="0">
              <a:lnSpc>
                <a:spcPct val="100000"/>
              </a:lnSpc>
              <a:spcAft>
                <a:spcPct val="0"/>
              </a:spcAft>
              <a:buClrTx/>
              <a:buSzTx/>
              <a:buFont typeface="Wingdings" pitchFamily="2" charset="2"/>
              <a:buChar char="§"/>
              <a:tabLst/>
            </a:pPr>
            <a:r>
              <a:rPr kumimoji="0" lang="en-LV" altLang="en-LV" sz="1300" b="0" i="0" u="none" strike="noStrike" cap="none" normalizeH="0" baseline="0" dirty="0">
                <a:ln>
                  <a:noFill/>
                </a:ln>
                <a:solidFill>
                  <a:schemeClr val="tx1"/>
                </a:solidFill>
                <a:effectLst/>
                <a:latin typeface="Arial" panose="020B0604020202020204" pitchFamily="34" charset="0"/>
              </a:rPr>
              <a:t>VAM saturs netiek uztverts kā pārklājošs ar citiem mācību priekšmetiem, bet kā to papildinājums ar praktisku un militāri orientētu pieeju; daļēja sasaukšanās novērojama ar vēsturi, sociālajām zinībām un sportu </a:t>
            </a:r>
          </a:p>
          <a:p>
            <a:pPr marR="0" lvl="0" algn="just" defTabSz="914400" rtl="0" eaLnBrk="0" fontAlgn="base" latinLnBrk="0" hangingPunct="0">
              <a:lnSpc>
                <a:spcPct val="100000"/>
              </a:lnSpc>
              <a:spcAft>
                <a:spcPct val="0"/>
              </a:spcAft>
              <a:buClrTx/>
              <a:buSzTx/>
              <a:buFont typeface="Wingdings" pitchFamily="2" charset="2"/>
              <a:buChar char="§"/>
              <a:tabLst/>
            </a:pPr>
            <a:r>
              <a:rPr kumimoji="0" lang="en-LV" altLang="en-LV" sz="1300" b="0" i="0" u="none" strike="noStrike" cap="none" normalizeH="0" baseline="0" dirty="0">
                <a:ln>
                  <a:noFill/>
                </a:ln>
                <a:solidFill>
                  <a:schemeClr val="tx1"/>
                </a:solidFill>
                <a:effectLst/>
                <a:latin typeface="Arial" panose="020B0604020202020204" pitchFamily="34" charset="0"/>
              </a:rPr>
              <a:t>Jaunsargu interešu izglītības programma izglītības iestādēs tiek vērtēta pozitīvi – tā veicina disciplīnu, atbildību, patriotismu un aktīvu līdzdalību; skolās bez </a:t>
            </a:r>
            <a:r>
              <a:rPr lang="en-LV" altLang="en-LV" sz="1300" dirty="0">
                <a:latin typeface="Arial" panose="020B0604020202020204" pitchFamily="34" charset="0"/>
              </a:rPr>
              <a:t>programmas</a:t>
            </a:r>
            <a:r>
              <a:rPr kumimoji="0" lang="en-LV" altLang="en-LV" sz="1300" b="0" i="0" u="none" strike="noStrike" cap="none" normalizeH="0" baseline="0" dirty="0">
                <a:ln>
                  <a:noFill/>
                </a:ln>
                <a:solidFill>
                  <a:schemeClr val="tx1"/>
                </a:solidFill>
                <a:effectLst/>
                <a:latin typeface="Arial" panose="020B0604020202020204" pitchFamily="34" charset="0"/>
              </a:rPr>
              <a:t> galvenie šķēršļi ir instruktoru piesaiste un zema skolēnu interese </a:t>
            </a:r>
          </a:p>
          <a:p>
            <a:pPr marR="0" lvl="0" algn="just" defTabSz="914400" rtl="0" eaLnBrk="0" fontAlgn="base" latinLnBrk="0" hangingPunct="0">
              <a:lnSpc>
                <a:spcPct val="100000"/>
              </a:lnSpc>
              <a:spcAft>
                <a:spcPct val="0"/>
              </a:spcAft>
              <a:buClrTx/>
              <a:buSzTx/>
              <a:buFont typeface="Wingdings" pitchFamily="2" charset="2"/>
              <a:buChar char="§"/>
              <a:tabLst/>
            </a:pPr>
            <a:r>
              <a:rPr kumimoji="0" lang="en-LV" altLang="en-LV" sz="1300" b="0" i="0" u="none" strike="noStrike" cap="none" normalizeH="0" baseline="0" dirty="0">
                <a:ln>
                  <a:noFill/>
                </a:ln>
                <a:solidFill>
                  <a:schemeClr val="tx1"/>
                </a:solidFill>
                <a:effectLst/>
                <a:latin typeface="Arial" panose="020B0604020202020204" pitchFamily="34" charset="0"/>
              </a:rPr>
              <a:t>Abām programmām efektīvākai īstenošanai nepieciešams risināt divus galvenos izaicinājumus – mācību procesa organizēšanu un infrastruktūras pieejamību, kā arī stiprināt sadarbību starp skolām un Jaunsardzes struktūrām</a:t>
            </a:r>
          </a:p>
        </p:txBody>
      </p:sp>
      <p:graphicFrame>
        <p:nvGraphicFramePr>
          <p:cNvPr id="14" name="Chart 13">
            <a:extLst>
              <a:ext uri="{FF2B5EF4-FFF2-40B4-BE49-F238E27FC236}">
                <a16:creationId xmlns:a16="http://schemas.microsoft.com/office/drawing/2014/main" id="{20C5C816-1EF3-CCF6-F642-3A5D79C33F3E}"/>
              </a:ext>
            </a:extLst>
          </p:cNvPr>
          <p:cNvGraphicFramePr/>
          <p:nvPr>
            <p:extLst>
              <p:ext uri="{D42A27DB-BD31-4B8C-83A1-F6EECF244321}">
                <p14:modId xmlns:p14="http://schemas.microsoft.com/office/powerpoint/2010/main" val="2210629536"/>
              </p:ext>
            </p:extLst>
          </p:nvPr>
        </p:nvGraphicFramePr>
        <p:xfrm>
          <a:off x="6096000" y="3944762"/>
          <a:ext cx="6034718" cy="233510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Chart 14">
            <a:extLst>
              <a:ext uri="{FF2B5EF4-FFF2-40B4-BE49-F238E27FC236}">
                <a16:creationId xmlns:a16="http://schemas.microsoft.com/office/drawing/2014/main" id="{37357464-43D9-4F33-62D0-75688CEA5717}"/>
              </a:ext>
            </a:extLst>
          </p:cNvPr>
          <p:cNvGraphicFramePr/>
          <p:nvPr>
            <p:extLst>
              <p:ext uri="{D42A27DB-BD31-4B8C-83A1-F6EECF244321}">
                <p14:modId xmlns:p14="http://schemas.microsoft.com/office/powerpoint/2010/main" val="1522822929"/>
              </p:ext>
            </p:extLst>
          </p:nvPr>
        </p:nvGraphicFramePr>
        <p:xfrm>
          <a:off x="6032489" y="1527235"/>
          <a:ext cx="6098229" cy="2001295"/>
        </p:xfrm>
        <a:graphic>
          <a:graphicData uri="http://schemas.openxmlformats.org/drawingml/2006/chart">
            <c:chart xmlns:c="http://schemas.openxmlformats.org/drawingml/2006/chart" xmlns:r="http://schemas.openxmlformats.org/officeDocument/2006/relationships" r:id="rId7"/>
          </a:graphicData>
        </a:graphic>
      </p:graphicFrame>
      <p:sp>
        <p:nvSpPr>
          <p:cNvPr id="17" name="TextBox 16">
            <a:extLst>
              <a:ext uri="{FF2B5EF4-FFF2-40B4-BE49-F238E27FC236}">
                <a16:creationId xmlns:a16="http://schemas.microsoft.com/office/drawing/2014/main" id="{2833EE9B-19B2-56AF-F25B-A287A2110926}"/>
              </a:ext>
            </a:extLst>
          </p:cNvPr>
          <p:cNvSpPr txBox="1"/>
          <p:nvPr/>
        </p:nvSpPr>
        <p:spPr>
          <a:xfrm>
            <a:off x="6096000" y="3670684"/>
            <a:ext cx="6034718" cy="492443"/>
          </a:xfrm>
          <a:prstGeom prst="rect">
            <a:avLst/>
          </a:prstGeom>
          <a:noFill/>
        </p:spPr>
        <p:txBody>
          <a:bodyPr wrap="square">
            <a:spAutoFit/>
          </a:bodyPr>
          <a:lstStyle/>
          <a:p>
            <a:r>
              <a:rPr lang="lv-LV" sz="1300" b="1" dirty="0">
                <a:solidFill>
                  <a:schemeClr val="accent6"/>
                </a:solidFill>
              </a:rPr>
              <a:t>Izglītības iestāžu vērtējums par jaunsargu interešu izglītības programmas īstenošanas aspektiem, %, </a:t>
            </a:r>
            <a:r>
              <a:rPr lang="lv-LV" sz="1300" b="1" i="1" dirty="0">
                <a:solidFill>
                  <a:schemeClr val="accent6"/>
                </a:solidFill>
              </a:rPr>
              <a:t>N=100</a:t>
            </a:r>
            <a:endParaRPr lang="en-LV" sz="1300" b="1" i="1" dirty="0">
              <a:solidFill>
                <a:schemeClr val="accent6"/>
              </a:solidFill>
            </a:endParaRPr>
          </a:p>
        </p:txBody>
      </p:sp>
      <p:sp>
        <p:nvSpPr>
          <p:cNvPr id="18" name="TextBox 17">
            <a:extLst>
              <a:ext uri="{FF2B5EF4-FFF2-40B4-BE49-F238E27FC236}">
                <a16:creationId xmlns:a16="http://schemas.microsoft.com/office/drawing/2014/main" id="{DE41781F-A2CF-BF14-76D3-A85F720D30CF}"/>
              </a:ext>
            </a:extLst>
          </p:cNvPr>
          <p:cNvSpPr txBox="1"/>
          <p:nvPr/>
        </p:nvSpPr>
        <p:spPr>
          <a:xfrm>
            <a:off x="6032489" y="1001775"/>
            <a:ext cx="6060128" cy="492443"/>
          </a:xfrm>
          <a:prstGeom prst="rect">
            <a:avLst/>
          </a:prstGeom>
          <a:noFill/>
        </p:spPr>
        <p:txBody>
          <a:bodyPr wrap="square">
            <a:spAutoFit/>
          </a:bodyPr>
          <a:lstStyle/>
          <a:p>
            <a:r>
              <a:rPr lang="lv-LV" sz="1300" b="1" dirty="0">
                <a:solidFill>
                  <a:schemeClr val="accent6"/>
                </a:solidFill>
                <a:effectLst/>
                <a:latin typeface="Arial" panose="020B0604020202020204" pitchFamily="34" charset="0"/>
                <a:ea typeface="Arial" panose="020B0604020202020204" pitchFamily="34" charset="0"/>
              </a:rPr>
              <a:t>Izglītības iestāžu pārstāvju vērtējums par to, vai skola spēj nodrošināt nepieciešamo atbalstu VAM nodarbībām, %, </a:t>
            </a:r>
            <a:r>
              <a:rPr lang="lv-LV" sz="1300" b="1" i="1" dirty="0">
                <a:solidFill>
                  <a:schemeClr val="accent6"/>
                </a:solidFill>
                <a:effectLst/>
                <a:latin typeface="Arial" panose="020B0604020202020204" pitchFamily="34" charset="0"/>
                <a:ea typeface="Arial" panose="020B0604020202020204" pitchFamily="34" charset="0"/>
              </a:rPr>
              <a:t>N=124</a:t>
            </a:r>
            <a:r>
              <a:rPr lang="en-LV" sz="1300" b="1" i="1" dirty="0">
                <a:solidFill>
                  <a:schemeClr val="accent6"/>
                </a:solidFill>
                <a:effectLst/>
              </a:rPr>
              <a:t> </a:t>
            </a:r>
            <a:endParaRPr lang="en-GB" sz="1300" b="1" i="1" dirty="0">
              <a:solidFill>
                <a:schemeClr val="accent6"/>
              </a:solidFill>
            </a:endParaRPr>
          </a:p>
        </p:txBody>
      </p:sp>
    </p:spTree>
    <p:extLst>
      <p:ext uri="{BB962C8B-B14F-4D97-AF65-F5344CB8AC3E}">
        <p14:creationId xmlns:p14="http://schemas.microsoft.com/office/powerpoint/2010/main" val="7941942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82FCC-DA9D-C5C5-F28F-B286AB9B564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6F02D09-7AE0-AFA5-9868-C4F908D2D42F}"/>
              </a:ext>
            </a:extLst>
          </p:cNvPr>
          <p:cNvGraphicFramePr>
            <a:graphicFrameLocks/>
          </p:cNvGraphicFramePr>
          <p:nvPr>
            <p:custDataLst>
              <p:tags r:id="rId1"/>
            </p:custDataLst>
            <p:extLst>
              <p:ext uri="{D42A27DB-BD31-4B8C-83A1-F6EECF244321}">
                <p14:modId xmlns:p14="http://schemas.microsoft.com/office/powerpoint/2010/main" val="238904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A6F02D09-7AE0-AFA5-9868-C4F908D2D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8F9A89-DF37-D4E1-3230-B153F9EE6216}"/>
              </a:ext>
            </a:extLst>
          </p:cNvPr>
          <p:cNvSpPr>
            <a:spLocks noGrp="1"/>
          </p:cNvSpPr>
          <p:nvPr>
            <p:ph type="title"/>
          </p:nvPr>
        </p:nvSpPr>
        <p:spPr>
          <a:xfrm>
            <a:off x="263526" y="473813"/>
            <a:ext cx="11664950" cy="512760"/>
          </a:xfrm>
        </p:spPr>
        <p:txBody>
          <a:bodyPr vert="horz" rIns="0"/>
          <a:lstStyle/>
          <a:p>
            <a:r>
              <a:rPr lang="lv-LV" noProof="0" dirty="0"/>
              <a:t>JC kapacitāte VAM un Jaunsargu programmas nodrošināšanā</a:t>
            </a:r>
          </a:p>
        </p:txBody>
      </p:sp>
      <p:sp>
        <p:nvSpPr>
          <p:cNvPr id="4" name="TextBox 3">
            <a:extLst>
              <a:ext uri="{FF2B5EF4-FFF2-40B4-BE49-F238E27FC236}">
                <a16:creationId xmlns:a16="http://schemas.microsoft.com/office/drawing/2014/main" id="{45A7A22E-0B21-0DD8-7682-E7B29A4A6C9B}"/>
              </a:ext>
            </a:extLst>
          </p:cNvPr>
          <p:cNvSpPr txBox="1"/>
          <p:nvPr/>
        </p:nvSpPr>
        <p:spPr>
          <a:xfrm>
            <a:off x="9084039" y="3732551"/>
            <a:ext cx="0" cy="0"/>
          </a:xfrm>
          <a:prstGeom prst="rect">
            <a:avLst/>
          </a:prstGeom>
        </p:spPr>
        <p:txBody>
          <a:bodyPr vert="horz" wrap="none" lIns="0" tIns="0" rIns="0" bIns="0" rtlCol="0">
            <a:noAutofit/>
          </a:bodyPr>
          <a:lstStyle/>
          <a:p>
            <a: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pPr>
            <a:endParaRPr kumimoji="0" lang="en-GB" sz="1200" b="0" i="0" u="none" strike="noStrike" kern="1200" cap="none" spc="0" normalizeH="0" baseline="0" noProof="0" dirty="0" err="1">
              <a:ln>
                <a:noFill/>
              </a:ln>
              <a:solidFill>
                <a:srgbClr val="000000"/>
              </a:solidFill>
              <a:effectLst/>
              <a:uLnTx/>
              <a:uFillTx/>
              <a:latin typeface="Arial"/>
              <a:ea typeface="+mn-ea"/>
              <a:cs typeface="Arial"/>
            </a:endParaRPr>
          </a:p>
        </p:txBody>
      </p:sp>
      <p:sp>
        <p:nvSpPr>
          <p:cNvPr id="20" name="TextBox 19">
            <a:extLst>
              <a:ext uri="{FF2B5EF4-FFF2-40B4-BE49-F238E27FC236}">
                <a16:creationId xmlns:a16="http://schemas.microsoft.com/office/drawing/2014/main" id="{360CBB40-9F11-AE6A-C229-0FD4297E6571}"/>
              </a:ext>
            </a:extLst>
          </p:cNvPr>
          <p:cNvSpPr txBox="1"/>
          <p:nvPr/>
        </p:nvSpPr>
        <p:spPr>
          <a:xfrm>
            <a:off x="6096000" y="6200509"/>
            <a:ext cx="5409779" cy="270459"/>
          </a:xfrm>
          <a:prstGeom prst="rect">
            <a:avLst/>
          </a:prstGeom>
          <a:noFill/>
        </p:spPr>
        <p:txBody>
          <a:bodyPr wrap="square">
            <a:spAutoFit/>
          </a:bodyPr>
          <a:lstStyle/>
          <a:p>
            <a:pPr>
              <a:lnSpc>
                <a:spcPct val="115000"/>
              </a:lnSpc>
              <a:spcBef>
                <a:spcPts val="600"/>
              </a:spcBef>
              <a:spcAft>
                <a:spcPts val="800"/>
              </a:spcAft>
            </a:pPr>
            <a:r>
              <a:rPr lang="lv-LV" sz="1100" i="1" kern="100" dirty="0">
                <a:solidFill>
                  <a:srgbClr val="737373"/>
                </a:solidFill>
                <a:latin typeface="Arial" panose="020B0604020202020204" pitchFamily="34" charset="0"/>
                <a:cs typeface="Arial" panose="020B0604020202020204" pitchFamily="34" charset="0"/>
              </a:rPr>
              <a:t>Avots: Civitta veiktā jauniešu aptauja par VAM, N=2205</a:t>
            </a:r>
          </a:p>
        </p:txBody>
      </p:sp>
      <p:sp>
        <p:nvSpPr>
          <p:cNvPr id="21" name="TextBox 20">
            <a:extLst>
              <a:ext uri="{FF2B5EF4-FFF2-40B4-BE49-F238E27FC236}">
                <a16:creationId xmlns:a16="http://schemas.microsoft.com/office/drawing/2014/main" id="{BBC992B8-672E-CB89-CDC9-BC77E9C6A87A}"/>
              </a:ext>
            </a:extLst>
          </p:cNvPr>
          <p:cNvSpPr txBox="1"/>
          <p:nvPr/>
        </p:nvSpPr>
        <p:spPr>
          <a:xfrm>
            <a:off x="224926" y="1039862"/>
            <a:ext cx="5756775" cy="587595"/>
          </a:xfrm>
          <a:prstGeom prst="rect">
            <a:avLst/>
          </a:prstGeom>
          <a:solidFill>
            <a:schemeClr val="accent6">
              <a:lumMod val="20000"/>
              <a:lumOff val="80000"/>
            </a:schemeClr>
          </a:solidFill>
          <a:ln>
            <a:noFill/>
          </a:ln>
        </p:spPr>
        <p:txBody>
          <a:bodyPr vert="horz" wrap="square" lIns="0" tIns="0" rIns="0" bIns="0" rtlCol="0" anchor="b">
            <a:noAutofit/>
          </a:bodyPr>
          <a:lstStyle/>
          <a:p>
            <a:pPr marR="0" defTabSz="914400" rtl="0" eaLnBrk="1" fontAlgn="auto" latinLnBrk="0" hangingPunct="1">
              <a:lnSpc>
                <a:spcPct val="100000"/>
              </a:lnSpc>
              <a:spcBef>
                <a:spcPts val="300"/>
              </a:spcBef>
              <a:spcAft>
                <a:spcPts val="300"/>
              </a:spcAft>
              <a:buClrTx/>
              <a:buSzPct val="80000"/>
              <a:tabLst/>
            </a:pPr>
            <a:r>
              <a:rPr kumimoji="0" lang="en-GB" sz="1400" b="1" i="0" u="none" strike="noStrike" kern="1200" cap="none" spc="0" normalizeH="0" baseline="0" noProof="0" dirty="0">
                <a:ln>
                  <a:noFill/>
                </a:ln>
                <a:solidFill>
                  <a:srgbClr val="000000"/>
                </a:solidFill>
                <a:effectLst/>
                <a:uLnTx/>
                <a:uFillTx/>
                <a:latin typeface="Arial"/>
                <a:ea typeface="+mn-ea"/>
                <a:cs typeface="Arial"/>
              </a:rPr>
              <a:t>  GALVENIE SECINĀJUMI</a:t>
            </a:r>
          </a:p>
          <a:p>
            <a:pPr marR="0" defTabSz="914400" rtl="0" eaLnBrk="1" fontAlgn="auto" latinLnBrk="0" hangingPunct="1">
              <a:lnSpc>
                <a:spcPct val="100000"/>
              </a:lnSpc>
              <a:spcBef>
                <a:spcPts val="300"/>
              </a:spcBef>
              <a:spcAft>
                <a:spcPts val="300"/>
              </a:spcAft>
              <a:buClrTx/>
              <a:buSzPct val="80000"/>
              <a:tabLst/>
            </a:pPr>
            <a:endParaRPr kumimoji="0" lang="en-GB" sz="1400" b="1" i="0" u="none" strike="noStrike" kern="1200" cap="none" spc="0" normalizeH="0" baseline="0" noProof="0" dirty="0" err="1">
              <a:ln>
                <a:noFill/>
              </a:ln>
              <a:solidFill>
                <a:srgbClr val="000000"/>
              </a:solidFill>
              <a:effectLst/>
              <a:uLnTx/>
              <a:uFillTx/>
              <a:latin typeface="Arial"/>
              <a:ea typeface="+mn-ea"/>
              <a:cs typeface="Arial"/>
            </a:endParaRPr>
          </a:p>
        </p:txBody>
      </p:sp>
      <p:sp>
        <p:nvSpPr>
          <p:cNvPr id="8" name="Rectangle 1">
            <a:extLst>
              <a:ext uri="{FF2B5EF4-FFF2-40B4-BE49-F238E27FC236}">
                <a16:creationId xmlns:a16="http://schemas.microsoft.com/office/drawing/2014/main" id="{6BAE84A8-7DC4-2B45-143F-BE91D2467BCB}"/>
              </a:ext>
            </a:extLst>
          </p:cNvPr>
          <p:cNvSpPr>
            <a:spLocks noGrp="1" noChangeArrowheads="1"/>
          </p:cNvSpPr>
          <p:nvPr>
            <p:ph idx="1"/>
          </p:nvPr>
        </p:nvSpPr>
        <p:spPr bwMode="auto">
          <a:xfrm>
            <a:off x="214943" y="1680746"/>
            <a:ext cx="5747441" cy="4678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a:r>
              <a:rPr lang="lv-LV" sz="1300" noProof="1"/>
              <a:t>JC kapacitāte kopumā ir pietiekama programmu īstenošanai, taču identificēti vairāki būtiski pilnveides virzieni, kas ietekmē gan programmu kvalitāti, gan ilgtspēju</a:t>
            </a:r>
          </a:p>
          <a:p>
            <a:pPr algn="just"/>
            <a:r>
              <a:rPr lang="lv-LV" sz="1300" noProof="1"/>
              <a:t>Jaunsargu instruktoru kvalifikācijas prasības ir pamatotas un atbilstošas – augstākā izglītība, bērnu tiesību aizsardzības zināšanas, specializētie kursi un militārais statuss kopā nodrošina kompetentu un vērtībās balstītu pieeju darbā ar jauniešiem</a:t>
            </a:r>
          </a:p>
          <a:p>
            <a:pPr algn="just"/>
            <a:r>
              <a:rPr lang="lv-LV" sz="1300" noProof="1"/>
              <a:t>Galvenie pilnveides virzieni ir pedagoģiskās un militārās kompetences – instruktoriem bez militārās pieredzes mēdz trūkt praktisko iemaņu, bet pedagoģijas apmācību apjoms ir nepietiekams, īpaši psiholoģijas un motivācijas aspektos. Ieteicama individualizētāka pieeja kvalifikācijas celšanā atbilstoši instruktora iepriekšējai pieredzei</a:t>
            </a:r>
          </a:p>
          <a:p>
            <a:pPr algn="just"/>
            <a:r>
              <a:rPr lang="lv-LV" sz="1300" noProof="1"/>
              <a:t>Instruktoru darbs tiek vērtēts pozitīvi – augstu novērtēta profesionalitāte, spēja veidot drošu mācību vidi un motivēt jauniešus; uzlabojumi nepieciešami pedagoģiskajā pieejā un vērtēšanas sistēmas vienotībā</a:t>
            </a:r>
          </a:p>
          <a:p>
            <a:pPr algn="just"/>
            <a:r>
              <a:rPr lang="lv-LV" sz="1300" noProof="1"/>
              <a:t>Atlases kritēriji kopumā ir pietiekami, taču šaurs atļauto izglītības nozaru saraksts var nepamatoti sašaurināt kandidātu loku – lielāka elastība uzlabotu personāla piesaisti, nezaudējot kvalitātes prasības</a:t>
            </a:r>
          </a:p>
          <a:p>
            <a:pPr algn="just"/>
            <a:r>
              <a:rPr lang="lv-LV" sz="1300" noProof="1"/>
              <a:t>Augstā instruktoru darba slodze ar nodarbībām nedēļas nogalēs, administratīvo pienākumu apjoms un birokrātiskie procesi rada risku kvalificētu instruktoru zaudēšanai</a:t>
            </a:r>
          </a:p>
        </p:txBody>
      </p:sp>
      <p:sp>
        <p:nvSpPr>
          <p:cNvPr id="18" name="TextBox 17">
            <a:extLst>
              <a:ext uri="{FF2B5EF4-FFF2-40B4-BE49-F238E27FC236}">
                <a16:creationId xmlns:a16="http://schemas.microsoft.com/office/drawing/2014/main" id="{447CBF58-9C7F-5053-974D-4E9A837EDEE6}"/>
              </a:ext>
            </a:extLst>
          </p:cNvPr>
          <p:cNvSpPr txBox="1"/>
          <p:nvPr/>
        </p:nvSpPr>
        <p:spPr>
          <a:xfrm>
            <a:off x="5981701" y="1333659"/>
            <a:ext cx="6060128" cy="292388"/>
          </a:xfrm>
          <a:prstGeom prst="rect">
            <a:avLst/>
          </a:prstGeom>
          <a:noFill/>
        </p:spPr>
        <p:txBody>
          <a:bodyPr wrap="square" lIns="91440" tIns="45720" rIns="91440" bIns="45720" anchor="t">
            <a:spAutoFit/>
          </a:bodyPr>
          <a:lstStyle/>
          <a:p>
            <a:r>
              <a:rPr lang="lv-LV" sz="1300" b="1" dirty="0">
                <a:solidFill>
                  <a:schemeClr val="accent6"/>
                </a:solidFill>
                <a:latin typeface="Arial" panose="020B0604020202020204" pitchFamily="34" charset="0"/>
                <a:cs typeface="Arial" panose="020B0604020202020204" pitchFamily="34" charset="0"/>
              </a:rPr>
              <a:t>Jauniešu vērtējums par VAM jaunsargu instruktoru darbu</a:t>
            </a:r>
            <a:r>
              <a:rPr lang="en-LV" sz="1300" b="1" dirty="0">
                <a:solidFill>
                  <a:schemeClr val="accent6"/>
                </a:solidFill>
                <a:latin typeface="Arial" panose="020B0604020202020204" pitchFamily="34" charset="0"/>
                <a:cs typeface="Arial" panose="020B0604020202020204" pitchFamily="34" charset="0"/>
              </a:rPr>
              <a:t> </a:t>
            </a:r>
            <a:r>
              <a:rPr lang="lv-LV" sz="1300" b="1" dirty="0">
                <a:solidFill>
                  <a:schemeClr val="accent6"/>
                </a:solidFill>
                <a:effectLst/>
                <a:latin typeface="Arial" panose="020B0604020202020204" pitchFamily="34" charset="0"/>
                <a:ea typeface="Arial" panose="020B0604020202020204" pitchFamily="34" charset="0"/>
                <a:cs typeface="Arial" panose="020B0604020202020204" pitchFamily="34" charset="0"/>
              </a:rPr>
              <a:t>, %</a:t>
            </a:r>
            <a:r>
              <a:rPr lang="en-LV" sz="1300" b="1" dirty="0">
                <a:solidFill>
                  <a:schemeClr val="accent6"/>
                </a:solidFill>
                <a:effectLst/>
                <a:latin typeface="Arial" panose="020B0604020202020204" pitchFamily="34" charset="0"/>
                <a:cs typeface="Arial" panose="020B0604020202020204" pitchFamily="34" charset="0"/>
              </a:rPr>
              <a:t> </a:t>
            </a:r>
            <a:endParaRPr lang="en-GB" sz="1300" b="1" dirty="0">
              <a:solidFill>
                <a:schemeClr val="accent6"/>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7FD9BDDC-A42B-8CA5-6B77-0FE7A8A6752E}"/>
              </a:ext>
            </a:extLst>
          </p:cNvPr>
          <p:cNvSpPr txBox="1"/>
          <p:nvPr/>
        </p:nvSpPr>
        <p:spPr>
          <a:xfrm>
            <a:off x="9461500" y="3695700"/>
            <a:ext cx="0" cy="0"/>
          </a:xfrm>
          <a:prstGeom prst="rect">
            <a:avLst/>
          </a:prstGeom>
        </p:spPr>
        <p:txBody>
          <a:bodyPr vert="horz" wrap="none" lIns="0" tIns="0" rIns="0" bIns="0" rtlCol="0">
            <a:noAutofit/>
          </a:bodyPr>
          <a:lstStyle/>
          <a:p>
            <a: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pPr>
            <a:endParaRPr kumimoji="0" lang="en-GB" sz="1200" b="0" i="0" u="none" strike="noStrike" kern="1200" cap="none" spc="0" normalizeH="0" baseline="0" noProof="0" dirty="0" err="1">
              <a:ln>
                <a:noFill/>
              </a:ln>
              <a:solidFill>
                <a:srgbClr val="000000"/>
              </a:solidFill>
              <a:effectLst/>
              <a:uLnTx/>
              <a:uFillTx/>
              <a:latin typeface="Arial"/>
              <a:ea typeface="+mn-ea"/>
              <a:cs typeface="Arial"/>
            </a:endParaRPr>
          </a:p>
        </p:txBody>
      </p:sp>
      <p:graphicFrame>
        <p:nvGraphicFramePr>
          <p:cNvPr id="25" name="Chart 24">
            <a:extLst>
              <a:ext uri="{FF2B5EF4-FFF2-40B4-BE49-F238E27FC236}">
                <a16:creationId xmlns:a16="http://schemas.microsoft.com/office/drawing/2014/main" id="{0763E8AF-A21C-208B-6727-6842BC53CFD4}"/>
              </a:ext>
            </a:extLst>
          </p:cNvPr>
          <p:cNvGraphicFramePr/>
          <p:nvPr>
            <p:extLst>
              <p:ext uri="{D42A27DB-BD31-4B8C-83A1-F6EECF244321}">
                <p14:modId xmlns:p14="http://schemas.microsoft.com/office/powerpoint/2010/main" val="1865680252"/>
              </p:ext>
            </p:extLst>
          </p:nvPr>
        </p:nvGraphicFramePr>
        <p:xfrm>
          <a:off x="5981702" y="1768917"/>
          <a:ext cx="6060128" cy="42889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860721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FF721-EB04-C388-72C8-C62C53C64A3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AB5E22B-6FEC-5ACB-7CF3-FA305DD73F64}"/>
              </a:ext>
            </a:extLst>
          </p:cNvPr>
          <p:cNvGraphicFramePr>
            <a:graphicFrameLocks/>
          </p:cNvGraphicFramePr>
          <p:nvPr>
            <p:custDataLst>
              <p:tags r:id="rId1"/>
            </p:custDataLst>
            <p:extLst>
              <p:ext uri="{D42A27DB-BD31-4B8C-83A1-F6EECF244321}">
                <p14:modId xmlns:p14="http://schemas.microsoft.com/office/powerpoint/2010/main" val="25250890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5AB5E22B-6FEC-5ACB-7CF3-FA305DD73F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35F0A3-27D2-FE49-FAFB-C987306817BB}"/>
              </a:ext>
            </a:extLst>
          </p:cNvPr>
          <p:cNvSpPr>
            <a:spLocks noGrp="1"/>
          </p:cNvSpPr>
          <p:nvPr>
            <p:ph type="ctrTitle"/>
          </p:nvPr>
        </p:nvSpPr>
        <p:spPr/>
        <p:txBody>
          <a:bodyPr vert="horz" rIns="0"/>
          <a:lstStyle/>
          <a:p>
            <a:r>
              <a:rPr lang="lv-LV" dirty="0"/>
              <a:t>Ieteikumi</a:t>
            </a:r>
            <a:endParaRPr lang="en-EE"/>
          </a:p>
        </p:txBody>
      </p:sp>
    </p:spTree>
    <p:extLst>
      <p:ext uri="{BB962C8B-B14F-4D97-AF65-F5344CB8AC3E}">
        <p14:creationId xmlns:p14="http://schemas.microsoft.com/office/powerpoint/2010/main" val="13159004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6E095-D087-8B93-8623-5D62FDEC623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D33320B-0F9C-5FA5-87D6-AC498FAC2188}"/>
              </a:ext>
            </a:extLst>
          </p:cNvPr>
          <p:cNvGraphicFramePr>
            <a:graphicFrameLocks/>
          </p:cNvGraphicFramePr>
          <p:nvPr>
            <p:custDataLst>
              <p:tags r:id="rId1"/>
            </p:custDataLst>
            <p:extLst>
              <p:ext uri="{D42A27DB-BD31-4B8C-83A1-F6EECF244321}">
                <p14:modId xmlns:p14="http://schemas.microsoft.com/office/powerpoint/2010/main" val="2532225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7D33320B-0F9C-5FA5-87D6-AC498FAC21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29668B-7D14-C970-D124-28D0BAB74B7C}"/>
              </a:ext>
            </a:extLst>
          </p:cNvPr>
          <p:cNvSpPr>
            <a:spLocks noGrp="1"/>
          </p:cNvSpPr>
          <p:nvPr>
            <p:ph type="title"/>
          </p:nvPr>
        </p:nvSpPr>
        <p:spPr/>
        <p:txBody>
          <a:bodyPr vert="horz" rIns="0"/>
          <a:lstStyle/>
          <a:p>
            <a:r>
              <a:rPr lang="lv-LV" dirty="0"/>
              <a:t>Ieteikumi programmu pilnveidei</a:t>
            </a:r>
            <a:endParaRPr lang="en-GB" dirty="0"/>
          </a:p>
        </p:txBody>
      </p:sp>
      <p:sp>
        <p:nvSpPr>
          <p:cNvPr id="15" name="Content Placeholder 14">
            <a:extLst>
              <a:ext uri="{FF2B5EF4-FFF2-40B4-BE49-F238E27FC236}">
                <a16:creationId xmlns:a16="http://schemas.microsoft.com/office/drawing/2014/main" id="{CF5CFD87-8463-051C-1C47-BC4031BA0AA0}"/>
              </a:ext>
            </a:extLst>
          </p:cNvPr>
          <p:cNvSpPr>
            <a:spLocks noGrp="1"/>
          </p:cNvSpPr>
          <p:nvPr>
            <p:ph idx="1"/>
          </p:nvPr>
        </p:nvSpPr>
        <p:spPr>
          <a:xfrm>
            <a:off x="263526" y="1472037"/>
            <a:ext cx="11090380" cy="1367331"/>
          </a:xfrm>
        </p:spPr>
        <p:txBody>
          <a:bodyPr/>
          <a:lstStyle/>
          <a:p>
            <a:pPr>
              <a:buFont typeface="Wingdings" pitchFamily="2" charset="2"/>
              <a:buChar char="§"/>
            </a:pPr>
            <a:r>
              <a:rPr lang="lv-LV" sz="1300" dirty="0"/>
              <a:t>Izvērtēt Likuma mērķa paplašināšanu, iekļaujot visaptverošas valsts aizsardzības perspektīvu – rīcībspēju krīzes situācijās, civilās aizsardzības aspektus un pilsonisko iesaisti, tādējādi radot normatīvo pamatu VAM satura pārorientācijai</a:t>
            </a:r>
          </a:p>
          <a:p>
            <a:r>
              <a:rPr lang="lv-LV" sz="1300" dirty="0"/>
              <a:t>Izvērtēt un vienkāršot prasību par jaunsargu instruktoru atbilstību noteiktām zinātnes nozarēm, paplašinot potenciālo kandidātu loku un atvieglojot kvalitatīvu instruktoru piesaisti</a:t>
            </a:r>
          </a:p>
          <a:p>
            <a:r>
              <a:rPr lang="lv-LV" sz="1300" dirty="0"/>
              <a:t>Normatīvi nostiprināt Jaunsardzes programmas turpināšanu vidusskolas posmā kā karjeras orientācijas un padziļinātas aizsardzības jomas apguves instrumentu</a:t>
            </a:r>
          </a:p>
          <a:p>
            <a:pPr marL="0" indent="0">
              <a:buNone/>
            </a:pPr>
            <a:br>
              <a:rPr lang="lv-LV" sz="1300" dirty="0"/>
            </a:br>
            <a:endParaRPr lang="lv-LV" sz="1300" dirty="0"/>
          </a:p>
        </p:txBody>
      </p:sp>
      <p:sp>
        <p:nvSpPr>
          <p:cNvPr id="29" name="Content Placeholder 2">
            <a:extLst>
              <a:ext uri="{FF2B5EF4-FFF2-40B4-BE49-F238E27FC236}">
                <a16:creationId xmlns:a16="http://schemas.microsoft.com/office/drawing/2014/main" id="{695373F1-95DD-479E-ED13-843428710F9D}"/>
              </a:ext>
            </a:extLst>
          </p:cNvPr>
          <p:cNvSpPr txBox="1">
            <a:spLocks/>
          </p:cNvSpPr>
          <p:nvPr/>
        </p:nvSpPr>
        <p:spPr>
          <a:xfrm>
            <a:off x="250410" y="935674"/>
            <a:ext cx="11090380" cy="493536"/>
          </a:xfrm>
          <a:prstGeom prst="rect">
            <a:avLst/>
          </a:prstGeom>
          <a:solidFill>
            <a:schemeClr val="accent6">
              <a:lumMod val="20000"/>
              <a:lumOff val="80000"/>
            </a:schemeClr>
          </a:solidFill>
        </p:spPr>
        <p:txBody>
          <a:bodyPr vert="horz" lIns="0" tIns="0" rIns="0" bIns="0" rtlCol="0" anchor="ctr">
            <a:noAutofit/>
          </a:bodyPr>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indent="0">
              <a:buNone/>
            </a:pPr>
            <a:r>
              <a:rPr lang="lv-LV" sz="1400" b="1" dirty="0"/>
              <a:t> Ieteikumi – izmaiņas Likumā</a:t>
            </a:r>
            <a:endParaRPr lang="lv-LV" sz="1400" dirty="0"/>
          </a:p>
        </p:txBody>
      </p:sp>
      <p:sp>
        <p:nvSpPr>
          <p:cNvPr id="5" name="Content Placeholder 2">
            <a:extLst>
              <a:ext uri="{FF2B5EF4-FFF2-40B4-BE49-F238E27FC236}">
                <a16:creationId xmlns:a16="http://schemas.microsoft.com/office/drawing/2014/main" id="{9276A440-1C13-C2C1-133F-D7E2BCBF0528}"/>
              </a:ext>
            </a:extLst>
          </p:cNvPr>
          <p:cNvSpPr txBox="1">
            <a:spLocks/>
          </p:cNvSpPr>
          <p:nvPr/>
        </p:nvSpPr>
        <p:spPr>
          <a:xfrm>
            <a:off x="250410" y="2839368"/>
            <a:ext cx="11090380" cy="493536"/>
          </a:xfrm>
          <a:prstGeom prst="rect">
            <a:avLst/>
          </a:prstGeom>
          <a:solidFill>
            <a:schemeClr val="accent6">
              <a:lumMod val="20000"/>
              <a:lumOff val="80000"/>
            </a:schemeClr>
          </a:solidFill>
        </p:spPr>
        <p:txBody>
          <a:bodyPr vert="horz" lIns="0" tIns="0" rIns="0" bIns="0" rtlCol="0" anchor="ctr">
            <a:noAutofit/>
          </a:bodyPr>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indent="0">
              <a:buNone/>
            </a:pPr>
            <a:r>
              <a:rPr lang="lv-LV" sz="1400" b="1" dirty="0"/>
              <a:t> </a:t>
            </a:r>
            <a:r>
              <a:rPr lang="lv-LV" sz="1400" b="1" noProof="0" dirty="0"/>
              <a:t>Ieteikumi – programmu satura un īstenošanas pilnveide</a:t>
            </a:r>
            <a:endParaRPr lang="lv-LV" sz="1400" b="1" dirty="0"/>
          </a:p>
        </p:txBody>
      </p:sp>
      <p:sp>
        <p:nvSpPr>
          <p:cNvPr id="7" name="Content Placeholder 14">
            <a:extLst>
              <a:ext uri="{FF2B5EF4-FFF2-40B4-BE49-F238E27FC236}">
                <a16:creationId xmlns:a16="http://schemas.microsoft.com/office/drawing/2014/main" id="{8B76D3F0-2413-A971-865E-FF6A41868F5C}"/>
              </a:ext>
            </a:extLst>
          </p:cNvPr>
          <p:cNvSpPr txBox="1">
            <a:spLocks/>
          </p:cNvSpPr>
          <p:nvPr/>
        </p:nvSpPr>
        <p:spPr>
          <a:xfrm>
            <a:off x="250410" y="3358616"/>
            <a:ext cx="11168439" cy="3227317"/>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r>
              <a:rPr lang="lv-LV" sz="1300" dirty="0"/>
              <a:t>Pārskatīt VAM satura proporcionālo sadalījumu, palielinot stundu apjomu pilsoniskās iesaistes un krīzes situāciju rīcībspējas moduļiem, orientējoties uz ietvaru «šaut, orientēties, komunicēt, sniegt pirmo palīdzību».</a:t>
            </a:r>
          </a:p>
          <a:p>
            <a:r>
              <a:rPr lang="lv-LV" sz="1300" dirty="0"/>
              <a:t>Stiprināt jaunsargu instruktoru metodisko sagatavotību, paplašinot pedagoģijas kursus ar aktīvās mācīšanās principiem un izvērtējot personības un vērtību kritēriju iekļaušanu instruktoru atlasē</a:t>
            </a:r>
          </a:p>
          <a:p>
            <a:r>
              <a:rPr lang="lv-LV" sz="1300" dirty="0"/>
              <a:t>Attīstīt diferencētu pieeju daudzveidīgām skolēnu grupām – Jaunsardzē organizējot nodarbības pa sagatavotības līmeņiem, VAM ietvaros izvērtējot pamata un optimālā apguves līmeņa sistēmas ieviešanu</a:t>
            </a:r>
          </a:p>
          <a:p>
            <a:r>
              <a:rPr lang="lv-LV" sz="1300" dirty="0"/>
              <a:t>Veidot skaidru saturisku nošķīrumu starp VAM un Jaunsardzes programmu vidusskolas posmā – VAM kā militāro pamatu apguves instruments, Jaunsardze kā līderības un specializācijas attīstības vide</a:t>
            </a:r>
          </a:p>
          <a:p>
            <a:r>
              <a:rPr lang="lv-LV" sz="1300" dirty="0"/>
              <a:t>Izstrādāt sistēmisku risinājumu infrastruktūras nevienlīdzības mazināšanai pilsētvidē, attīstot reģionālas mācību bāzes un nodrošinot lielāku elastību nodarbību plānošanā</a:t>
            </a:r>
          </a:p>
          <a:p>
            <a:r>
              <a:rPr lang="lv-LV" sz="1300" dirty="0"/>
              <a:t>Paplašināt NVO tiešu iesaisti darbā ar jauniešiem nometnēs un pasākumos, prioritāri tajās jomās, kur NVO ekspertīze būtiski papildina JC kapacitāti</a:t>
            </a:r>
          </a:p>
          <a:p>
            <a:r>
              <a:rPr lang="lv-LV" sz="1300" dirty="0"/>
              <a:t>Izveidot sistemātisku datu vākšanas mehānismu programmu ilgtermiņa ietekmes monitoringam, tostarp aptverot datus par bijušo jaunsargu karjeras izvēlēm</a:t>
            </a:r>
          </a:p>
        </p:txBody>
      </p:sp>
    </p:spTree>
    <p:extLst>
      <p:ext uri="{BB962C8B-B14F-4D97-AF65-F5344CB8AC3E}">
        <p14:creationId xmlns:p14="http://schemas.microsoft.com/office/powerpoint/2010/main" val="39279088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01E6AFB-E69E-6EE1-18B4-2B3321B924F2}"/>
              </a:ext>
            </a:extLst>
          </p:cNvPr>
          <p:cNvSpPr/>
          <p:nvPr/>
        </p:nvSpPr>
        <p:spPr>
          <a:xfrm>
            <a:off x="406400" y="3035300"/>
            <a:ext cx="4381500" cy="2927618"/>
          </a:xfrm>
          <a:prstGeom prst="rect">
            <a:avLst/>
          </a:prstGeom>
          <a:solidFill>
            <a:schemeClr val="accent1"/>
          </a:solidFill>
          <a:ln>
            <a:noFill/>
          </a:ln>
        </p:spPr>
        <p:txBody>
          <a:bodyPr vert="horz" lIns="72000" tIns="72000" rIns="72000" bIns="72000" rtlCol="0" anchor="t">
            <a:noAutofit/>
          </a:bodyPr>
          <a:lstStyle/>
          <a:p>
            <a:pPr fontAlgn="base"/>
            <a:endParaRPr lang="en-US" sz="1600" dirty="0"/>
          </a:p>
          <a:p>
            <a:pPr fontAlgn="base"/>
            <a:endParaRPr lang="en-US" sz="1600" dirty="0"/>
          </a:p>
          <a:p>
            <a:pPr fontAlgn="base"/>
            <a:endParaRPr lang="en-US" sz="1600" dirty="0"/>
          </a:p>
          <a:p>
            <a:pPr fontAlgn="base"/>
            <a:endParaRPr lang="en-US" sz="1600" dirty="0"/>
          </a:p>
          <a:p>
            <a:pPr fontAlgn="base"/>
            <a:r>
              <a:rPr lang="lv-LV" sz="1600" noProof="0" dirty="0"/>
              <a:t>Pētījuma vadītāja:​</a:t>
            </a:r>
          </a:p>
          <a:p>
            <a:pPr fontAlgn="base"/>
            <a:r>
              <a:rPr lang="lv-LV" sz="1600" noProof="0" dirty="0"/>
              <a:t>Asociētā partnere Santa Barone-Upeniece</a:t>
            </a:r>
          </a:p>
          <a:p>
            <a:pPr fontAlgn="base"/>
            <a:r>
              <a:rPr lang="lv-LV" sz="1600" dirty="0"/>
              <a:t>s</a:t>
            </a:r>
            <a:r>
              <a:rPr lang="lv-LV" sz="1600" noProof="0" dirty="0" err="1"/>
              <a:t>anta.barone-upeniece@civitta.com</a:t>
            </a:r>
            <a:r>
              <a:rPr lang="lv-LV" sz="1600" noProof="0" dirty="0"/>
              <a:t>​</a:t>
            </a:r>
          </a:p>
          <a:p>
            <a:pPr fontAlgn="base"/>
            <a:r>
              <a:rPr lang="lv-LV" sz="1600" noProof="0" dirty="0"/>
              <a:t>​</a:t>
            </a:r>
          </a:p>
          <a:p>
            <a:pPr fontAlgn="base"/>
            <a:r>
              <a:rPr lang="lv-LV" sz="1600" noProof="0" dirty="0"/>
              <a:t>Pētījuma koordinatore:​</a:t>
            </a:r>
          </a:p>
          <a:p>
            <a:pPr fontAlgn="base"/>
            <a:r>
              <a:rPr lang="lv-LV" sz="1600" noProof="0" dirty="0"/>
              <a:t>Vecākā konsultante Elza Marcinkeviča</a:t>
            </a:r>
          </a:p>
          <a:p>
            <a:pPr fontAlgn="base"/>
            <a:r>
              <a:rPr lang="lv-LV" sz="1600" dirty="0"/>
              <a:t>e</a:t>
            </a:r>
            <a:r>
              <a:rPr lang="lv-LV" sz="1600" noProof="0" dirty="0" err="1"/>
              <a:t>lza.marcinkevica@civitta.com</a:t>
            </a:r>
            <a:endParaRPr lang="lv-LV" sz="1600" noProof="0" dirty="0"/>
          </a:p>
        </p:txBody>
      </p:sp>
    </p:spTree>
    <p:extLst>
      <p:ext uri="{BB962C8B-B14F-4D97-AF65-F5344CB8AC3E}">
        <p14:creationId xmlns:p14="http://schemas.microsoft.com/office/powerpoint/2010/main" val="408739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3AC15BE-B556-304D-344B-44D12E89EB3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7" name="think-cell data - do not delete" hidden="1">
                        <a:extLst>
                          <a:ext uri="{FF2B5EF4-FFF2-40B4-BE49-F238E27FC236}">
                            <a16:creationId xmlns:a16="http://schemas.microsoft.com/office/drawing/2014/main" id="{23AC15BE-B556-304D-344B-44D12E89EB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a:extLst>
              <a:ext uri="{FF2B5EF4-FFF2-40B4-BE49-F238E27FC236}">
                <a16:creationId xmlns:a16="http://schemas.microsoft.com/office/drawing/2014/main" id="{247E44DC-9C8E-D675-9739-C387EF401E9F}"/>
              </a:ext>
            </a:extLst>
          </p:cNvPr>
          <p:cNvPicPr/>
          <p:nvPr/>
        </p:nvPicPr>
        <p:blipFill rotWithShape="1">
          <a:blip r:embed="rId6"/>
          <a:srcRect l="50000"/>
          <a:stretch/>
        </p:blipFill>
        <p:spPr>
          <a:xfrm>
            <a:off x="6096000" y="445079"/>
            <a:ext cx="6095999" cy="6857999"/>
          </a:xfrm>
          <a:prstGeom prst="rect">
            <a:avLst/>
          </a:prstGeom>
        </p:spPr>
      </p:pic>
      <p:sp>
        <p:nvSpPr>
          <p:cNvPr id="6" name="Заголовок 5">
            <a:extLst>
              <a:ext uri="{FF2B5EF4-FFF2-40B4-BE49-F238E27FC236}">
                <a16:creationId xmlns:a16="http://schemas.microsoft.com/office/drawing/2014/main" id="{C3C84E9B-B18E-3DA0-C0ED-0A9300BE2523}"/>
              </a:ext>
            </a:extLst>
          </p:cNvPr>
          <p:cNvSpPr>
            <a:spLocks noGrp="1"/>
          </p:cNvSpPr>
          <p:nvPr>
            <p:ph type="title"/>
          </p:nvPr>
        </p:nvSpPr>
        <p:spPr/>
        <p:txBody>
          <a:bodyPr vert="horz"/>
          <a:lstStyle/>
          <a:p>
            <a:r>
              <a:rPr lang="lv-LV" noProof="0"/>
              <a:t>Saturs</a:t>
            </a:r>
            <a:endParaRPr lang="en-US" noProof="0"/>
          </a:p>
        </p:txBody>
      </p:sp>
      <p:grpSp>
        <p:nvGrpSpPr>
          <p:cNvPr id="8" name="Групувати 7">
            <a:extLst>
              <a:ext uri="{FF2B5EF4-FFF2-40B4-BE49-F238E27FC236}">
                <a16:creationId xmlns:a16="http://schemas.microsoft.com/office/drawing/2014/main" id="{D2B01BFE-F39B-5882-8265-3B9B98E4A16F}"/>
              </a:ext>
            </a:extLst>
          </p:cNvPr>
          <p:cNvGrpSpPr/>
          <p:nvPr/>
        </p:nvGrpSpPr>
        <p:grpSpPr>
          <a:xfrm>
            <a:off x="263524" y="941433"/>
            <a:ext cx="5242954" cy="720000"/>
            <a:chOff x="263525" y="1631291"/>
            <a:chExt cx="5242954" cy="720000"/>
          </a:xfrm>
        </p:grpSpPr>
        <p:sp>
          <p:nvSpPr>
            <p:cNvPr id="42" name="Google Shape;626;p15">
              <a:extLst>
                <a:ext uri="{FF2B5EF4-FFF2-40B4-BE49-F238E27FC236}">
                  <a16:creationId xmlns:a16="http://schemas.microsoft.com/office/drawing/2014/main" id="{2C2FEFBD-4C2C-88F4-5611-7D9F12EA97F5}"/>
                </a:ext>
              </a:extLst>
            </p:cNvPr>
            <p:cNvSpPr txBox="1"/>
            <p:nvPr/>
          </p:nvSpPr>
          <p:spPr>
            <a:xfrm>
              <a:off x="1186479" y="1631291"/>
              <a:ext cx="4320000" cy="7200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300"/>
                </a:spcBef>
                <a:spcAft>
                  <a:spcPts val="300"/>
                </a:spcAft>
                <a:buClr>
                  <a:srgbClr val="232323"/>
                </a:buClr>
                <a:buSzPts val="1200"/>
                <a:buFont typeface="Arial"/>
                <a:buNone/>
                <a:tabLst/>
                <a:defRPr/>
              </a:pPr>
              <a:r>
                <a:rPr kumimoji="0" lang="lv-LV" sz="1600" b="1" i="0" u="none" strike="noStrike" kern="1200" cap="none" spc="0" normalizeH="0" baseline="0" noProof="0" dirty="0">
                  <a:ln>
                    <a:noFill/>
                  </a:ln>
                  <a:solidFill>
                    <a:srgbClr val="000000"/>
                  </a:solidFill>
                  <a:effectLst/>
                  <a:uLnTx/>
                  <a:uFillTx/>
                  <a:latin typeface="Arial"/>
                  <a:ea typeface="Arial"/>
                  <a:cs typeface="Arial"/>
                  <a:sym typeface="Arial"/>
                </a:rPr>
                <a:t>Pētījuma mērķis un metodoloģija</a:t>
              </a:r>
            </a:p>
          </p:txBody>
        </p:sp>
        <p:sp>
          <p:nvSpPr>
            <p:cNvPr id="43" name="Google Shape;627;p15">
              <a:extLst>
                <a:ext uri="{FF2B5EF4-FFF2-40B4-BE49-F238E27FC236}">
                  <a16:creationId xmlns:a16="http://schemas.microsoft.com/office/drawing/2014/main" id="{23844730-C578-3A77-173B-08C310BF23EE}"/>
                </a:ext>
              </a:extLst>
            </p:cNvPr>
            <p:cNvSpPr txBox="1"/>
            <p:nvPr/>
          </p:nvSpPr>
          <p:spPr>
            <a:xfrm>
              <a:off x="263525" y="1631291"/>
              <a:ext cx="720000" cy="7200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a:ln>
                    <a:noFill/>
                  </a:ln>
                  <a:solidFill>
                    <a:srgbClr val="000000"/>
                  </a:solidFill>
                  <a:effectLst/>
                  <a:uLnTx/>
                  <a:uFillTx/>
                  <a:latin typeface="Arial"/>
                  <a:ea typeface="Arial"/>
                  <a:cs typeface="Arial"/>
                  <a:sym typeface="Arial"/>
                </a:rPr>
                <a:t>01</a:t>
              </a:r>
              <a:endParaRPr kumimoji="0" lang="lv-LV" sz="1400"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44" name="Google Shape;628;p15">
              <a:extLst>
                <a:ext uri="{FF2B5EF4-FFF2-40B4-BE49-F238E27FC236}">
                  <a16:creationId xmlns:a16="http://schemas.microsoft.com/office/drawing/2014/main" id="{FEC65673-F913-2A96-6F59-F635251ACD24}"/>
                </a:ext>
              </a:extLst>
            </p:cNvPr>
            <p:cNvCxnSpPr>
              <a:cxnSpLocks/>
            </p:cNvCxnSpPr>
            <p:nvPr/>
          </p:nvCxnSpPr>
          <p:spPr>
            <a:xfrm>
              <a:off x="983525" y="1631291"/>
              <a:ext cx="0" cy="720000"/>
            </a:xfrm>
            <a:prstGeom prst="straightConnector1">
              <a:avLst/>
            </a:prstGeom>
            <a:noFill/>
            <a:ln w="9525" cap="flat" cmpd="sng">
              <a:solidFill>
                <a:schemeClr val="dk1"/>
              </a:solidFill>
              <a:prstDash val="solid"/>
              <a:miter lim="800000"/>
              <a:headEnd type="none" w="sm" len="sm"/>
              <a:tailEnd type="none" w="sm" len="sm"/>
            </a:ln>
          </p:spPr>
        </p:cxnSp>
      </p:grpSp>
      <p:grpSp>
        <p:nvGrpSpPr>
          <p:cNvPr id="9" name="Групувати 8">
            <a:extLst>
              <a:ext uri="{FF2B5EF4-FFF2-40B4-BE49-F238E27FC236}">
                <a16:creationId xmlns:a16="http://schemas.microsoft.com/office/drawing/2014/main" id="{518D57AD-E791-4EAD-5734-52C3F5E8E6C9}"/>
              </a:ext>
            </a:extLst>
          </p:cNvPr>
          <p:cNvGrpSpPr/>
          <p:nvPr/>
        </p:nvGrpSpPr>
        <p:grpSpPr>
          <a:xfrm>
            <a:off x="263524" y="1876816"/>
            <a:ext cx="5242954" cy="862325"/>
            <a:chOff x="263525" y="1631291"/>
            <a:chExt cx="5242954" cy="862325"/>
          </a:xfrm>
        </p:grpSpPr>
        <p:sp>
          <p:nvSpPr>
            <p:cNvPr id="10" name="Google Shape;626;p15">
              <a:extLst>
                <a:ext uri="{FF2B5EF4-FFF2-40B4-BE49-F238E27FC236}">
                  <a16:creationId xmlns:a16="http://schemas.microsoft.com/office/drawing/2014/main" id="{B7E1641A-960D-5A11-37A2-54B35BBD016D}"/>
                </a:ext>
              </a:extLst>
            </p:cNvPr>
            <p:cNvSpPr txBox="1"/>
            <p:nvPr/>
          </p:nvSpPr>
          <p:spPr>
            <a:xfrm>
              <a:off x="1186479" y="1773616"/>
              <a:ext cx="4320000" cy="720000"/>
            </a:xfrm>
            <a:prstGeom prst="rect">
              <a:avLst/>
            </a:prstGeom>
            <a:noFill/>
            <a:ln>
              <a:noFill/>
            </a:ln>
          </p:spPr>
          <p:txBody>
            <a:bodyPr spcFirstLastPara="1" wrap="square" lIns="0" tIns="0" rIns="0" bIns="0" anchor="ctr" anchorCtr="0">
              <a:noAutofit/>
            </a:bodyPr>
            <a:lstStyle/>
            <a:p>
              <a:pPr lvl="0">
                <a:spcBef>
                  <a:spcPts val="300"/>
                </a:spcBef>
                <a:spcAft>
                  <a:spcPts val="300"/>
                </a:spcAft>
                <a:buClr>
                  <a:srgbClr val="232323"/>
                </a:buClr>
                <a:buSzPts val="1200"/>
                <a:defRPr/>
              </a:pPr>
              <a:r>
                <a:rPr lang="lv-LV" sz="1600" b="1" dirty="0"/>
                <a:t>Valsts aizsardzības mācības ietekme un atbilstība mērķim</a:t>
              </a:r>
              <a:endParaRPr kumimoji="0" lang="lv-LV" sz="1600" b="1"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1" name="Google Shape;627;p15">
              <a:extLst>
                <a:ext uri="{FF2B5EF4-FFF2-40B4-BE49-F238E27FC236}">
                  <a16:creationId xmlns:a16="http://schemas.microsoft.com/office/drawing/2014/main" id="{1A3ADEE9-E36C-A7CF-FD7A-5F0CEE6BDD01}"/>
                </a:ext>
              </a:extLst>
            </p:cNvPr>
            <p:cNvSpPr txBox="1"/>
            <p:nvPr/>
          </p:nvSpPr>
          <p:spPr>
            <a:xfrm>
              <a:off x="263525" y="1631291"/>
              <a:ext cx="720000" cy="7200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a:ln>
                    <a:noFill/>
                  </a:ln>
                  <a:solidFill>
                    <a:srgbClr val="000000"/>
                  </a:solidFill>
                  <a:effectLst/>
                  <a:uLnTx/>
                  <a:uFillTx/>
                  <a:latin typeface="Arial"/>
                  <a:ea typeface="Arial"/>
                  <a:cs typeface="Arial"/>
                  <a:sym typeface="Arial"/>
                </a:rPr>
                <a:t>02</a:t>
              </a:r>
              <a:endParaRPr kumimoji="0" lang="lv-LV" sz="1400"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12" name="Google Shape;628;p15">
              <a:extLst>
                <a:ext uri="{FF2B5EF4-FFF2-40B4-BE49-F238E27FC236}">
                  <a16:creationId xmlns:a16="http://schemas.microsoft.com/office/drawing/2014/main" id="{8BFE8DAE-ACB9-B0C8-CCF2-60F0874DD313}"/>
                </a:ext>
              </a:extLst>
            </p:cNvPr>
            <p:cNvCxnSpPr>
              <a:cxnSpLocks/>
            </p:cNvCxnSpPr>
            <p:nvPr/>
          </p:nvCxnSpPr>
          <p:spPr>
            <a:xfrm>
              <a:off x="983525" y="1631291"/>
              <a:ext cx="0" cy="720000"/>
            </a:xfrm>
            <a:prstGeom prst="straightConnector1">
              <a:avLst/>
            </a:prstGeom>
            <a:noFill/>
            <a:ln w="9525" cap="flat" cmpd="sng">
              <a:solidFill>
                <a:schemeClr val="dk1"/>
              </a:solidFill>
              <a:prstDash val="solid"/>
              <a:miter lim="800000"/>
              <a:headEnd type="none" w="sm" len="sm"/>
              <a:tailEnd type="none" w="sm" len="sm"/>
            </a:ln>
          </p:spPr>
        </p:cxnSp>
      </p:grpSp>
      <p:grpSp>
        <p:nvGrpSpPr>
          <p:cNvPr id="13" name="Групувати 12">
            <a:extLst>
              <a:ext uri="{FF2B5EF4-FFF2-40B4-BE49-F238E27FC236}">
                <a16:creationId xmlns:a16="http://schemas.microsoft.com/office/drawing/2014/main" id="{D5EEE845-8A4A-1191-DA9D-2DA0A497D4D7}"/>
              </a:ext>
            </a:extLst>
          </p:cNvPr>
          <p:cNvGrpSpPr/>
          <p:nvPr/>
        </p:nvGrpSpPr>
        <p:grpSpPr>
          <a:xfrm>
            <a:off x="263524" y="2812199"/>
            <a:ext cx="5242954" cy="720000"/>
            <a:chOff x="263525" y="1631291"/>
            <a:chExt cx="5242954" cy="720000"/>
          </a:xfrm>
        </p:grpSpPr>
        <p:sp>
          <p:nvSpPr>
            <p:cNvPr id="14" name="Google Shape;626;p15">
              <a:extLst>
                <a:ext uri="{FF2B5EF4-FFF2-40B4-BE49-F238E27FC236}">
                  <a16:creationId xmlns:a16="http://schemas.microsoft.com/office/drawing/2014/main" id="{FB159051-ADDB-BF31-5BCC-B1C1E1E4E680}"/>
                </a:ext>
              </a:extLst>
            </p:cNvPr>
            <p:cNvSpPr txBox="1"/>
            <p:nvPr/>
          </p:nvSpPr>
          <p:spPr>
            <a:xfrm>
              <a:off x="1186479" y="1631291"/>
              <a:ext cx="4320000" cy="7200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300"/>
                </a:spcBef>
                <a:spcAft>
                  <a:spcPts val="300"/>
                </a:spcAft>
                <a:buClr>
                  <a:srgbClr val="232323"/>
                </a:buClr>
                <a:buSzPts val="1200"/>
                <a:buFont typeface="Arial"/>
                <a:buNone/>
                <a:tabLst/>
                <a:defRPr/>
              </a:pPr>
              <a:endParaRPr kumimoji="0" lang="lv-LV" sz="1600" b="1"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5" name="Google Shape;627;p15">
              <a:extLst>
                <a:ext uri="{FF2B5EF4-FFF2-40B4-BE49-F238E27FC236}">
                  <a16:creationId xmlns:a16="http://schemas.microsoft.com/office/drawing/2014/main" id="{0F4A5C6F-EDB6-C52D-62FE-99463877A151}"/>
                </a:ext>
              </a:extLst>
            </p:cNvPr>
            <p:cNvSpPr txBox="1"/>
            <p:nvPr/>
          </p:nvSpPr>
          <p:spPr>
            <a:xfrm>
              <a:off x="263525" y="1631291"/>
              <a:ext cx="720000" cy="7200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a:ln>
                    <a:noFill/>
                  </a:ln>
                  <a:solidFill>
                    <a:srgbClr val="000000"/>
                  </a:solidFill>
                  <a:effectLst/>
                  <a:uLnTx/>
                  <a:uFillTx/>
                  <a:latin typeface="Arial"/>
                  <a:ea typeface="Arial"/>
                  <a:cs typeface="Arial"/>
                  <a:sym typeface="Arial"/>
                </a:rPr>
                <a:t>03</a:t>
              </a:r>
              <a:endParaRPr kumimoji="0" lang="lv-LV" sz="1400"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16" name="Google Shape;628;p15">
              <a:extLst>
                <a:ext uri="{FF2B5EF4-FFF2-40B4-BE49-F238E27FC236}">
                  <a16:creationId xmlns:a16="http://schemas.microsoft.com/office/drawing/2014/main" id="{C8C90378-4EA8-6807-C21B-B38CFB48848C}"/>
                </a:ext>
              </a:extLst>
            </p:cNvPr>
            <p:cNvCxnSpPr>
              <a:cxnSpLocks/>
            </p:cNvCxnSpPr>
            <p:nvPr/>
          </p:nvCxnSpPr>
          <p:spPr>
            <a:xfrm>
              <a:off x="983525" y="1631291"/>
              <a:ext cx="0" cy="720000"/>
            </a:xfrm>
            <a:prstGeom prst="straightConnector1">
              <a:avLst/>
            </a:prstGeom>
            <a:noFill/>
            <a:ln w="9525" cap="flat" cmpd="sng">
              <a:solidFill>
                <a:schemeClr val="dk1"/>
              </a:solidFill>
              <a:prstDash val="solid"/>
              <a:miter lim="800000"/>
              <a:headEnd type="none" w="sm" len="sm"/>
              <a:tailEnd type="none" w="sm" len="sm"/>
            </a:ln>
          </p:spPr>
        </p:cxnSp>
      </p:grpSp>
      <p:grpSp>
        <p:nvGrpSpPr>
          <p:cNvPr id="17" name="Групувати 16">
            <a:extLst>
              <a:ext uri="{FF2B5EF4-FFF2-40B4-BE49-F238E27FC236}">
                <a16:creationId xmlns:a16="http://schemas.microsoft.com/office/drawing/2014/main" id="{68EC6D2D-04E4-EECA-75B3-B6190D8DF461}"/>
              </a:ext>
            </a:extLst>
          </p:cNvPr>
          <p:cNvGrpSpPr/>
          <p:nvPr/>
        </p:nvGrpSpPr>
        <p:grpSpPr>
          <a:xfrm>
            <a:off x="263524" y="3747583"/>
            <a:ext cx="720000" cy="720000"/>
            <a:chOff x="263525" y="1631291"/>
            <a:chExt cx="720000" cy="720000"/>
          </a:xfrm>
        </p:grpSpPr>
        <p:sp>
          <p:nvSpPr>
            <p:cNvPr id="19" name="Google Shape;627;p15">
              <a:extLst>
                <a:ext uri="{FF2B5EF4-FFF2-40B4-BE49-F238E27FC236}">
                  <a16:creationId xmlns:a16="http://schemas.microsoft.com/office/drawing/2014/main" id="{58C96153-747B-630F-B184-EE31A8BF9445}"/>
                </a:ext>
              </a:extLst>
            </p:cNvPr>
            <p:cNvSpPr txBox="1"/>
            <p:nvPr/>
          </p:nvSpPr>
          <p:spPr>
            <a:xfrm>
              <a:off x="263525" y="1631291"/>
              <a:ext cx="720000" cy="7200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a:ln>
                    <a:noFill/>
                  </a:ln>
                  <a:solidFill>
                    <a:srgbClr val="000000"/>
                  </a:solidFill>
                  <a:effectLst/>
                  <a:uLnTx/>
                  <a:uFillTx/>
                  <a:latin typeface="Arial"/>
                  <a:ea typeface="Arial"/>
                  <a:cs typeface="Arial"/>
                  <a:sym typeface="Arial"/>
                </a:rPr>
                <a:t>04</a:t>
              </a:r>
              <a:endParaRPr kumimoji="0" lang="lv-LV" sz="1400"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20" name="Google Shape;628;p15">
              <a:extLst>
                <a:ext uri="{FF2B5EF4-FFF2-40B4-BE49-F238E27FC236}">
                  <a16:creationId xmlns:a16="http://schemas.microsoft.com/office/drawing/2014/main" id="{9B1BE1D5-BE93-7E61-118D-E2DE0EF527A6}"/>
                </a:ext>
              </a:extLst>
            </p:cNvPr>
            <p:cNvCxnSpPr>
              <a:cxnSpLocks/>
            </p:cNvCxnSpPr>
            <p:nvPr/>
          </p:nvCxnSpPr>
          <p:spPr>
            <a:xfrm>
              <a:off x="983525" y="1631291"/>
              <a:ext cx="0" cy="720000"/>
            </a:xfrm>
            <a:prstGeom prst="straightConnector1">
              <a:avLst/>
            </a:prstGeom>
            <a:noFill/>
            <a:ln w="9525" cap="flat" cmpd="sng">
              <a:solidFill>
                <a:schemeClr val="dk1"/>
              </a:solidFill>
              <a:prstDash val="solid"/>
              <a:miter lim="800000"/>
              <a:headEnd type="none" w="sm" len="sm"/>
              <a:tailEnd type="none" w="sm" len="sm"/>
            </a:ln>
          </p:spPr>
        </p:cxnSp>
      </p:grpSp>
      <p:grpSp>
        <p:nvGrpSpPr>
          <p:cNvPr id="21" name="Групувати 20">
            <a:extLst>
              <a:ext uri="{FF2B5EF4-FFF2-40B4-BE49-F238E27FC236}">
                <a16:creationId xmlns:a16="http://schemas.microsoft.com/office/drawing/2014/main" id="{DCE673FB-20E1-C0B7-C362-0C758AF19EF2}"/>
              </a:ext>
            </a:extLst>
          </p:cNvPr>
          <p:cNvGrpSpPr/>
          <p:nvPr/>
        </p:nvGrpSpPr>
        <p:grpSpPr>
          <a:xfrm>
            <a:off x="263524" y="4682967"/>
            <a:ext cx="720000" cy="720000"/>
            <a:chOff x="263525" y="1631291"/>
            <a:chExt cx="720000" cy="720000"/>
          </a:xfrm>
        </p:grpSpPr>
        <p:sp>
          <p:nvSpPr>
            <p:cNvPr id="23" name="Google Shape;627;p15">
              <a:extLst>
                <a:ext uri="{FF2B5EF4-FFF2-40B4-BE49-F238E27FC236}">
                  <a16:creationId xmlns:a16="http://schemas.microsoft.com/office/drawing/2014/main" id="{079E61D6-761B-3F30-7E59-68F2951E64BD}"/>
                </a:ext>
              </a:extLst>
            </p:cNvPr>
            <p:cNvSpPr txBox="1"/>
            <p:nvPr/>
          </p:nvSpPr>
          <p:spPr>
            <a:xfrm>
              <a:off x="263525" y="1631291"/>
              <a:ext cx="720000" cy="7200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dirty="0">
                  <a:ln>
                    <a:noFill/>
                  </a:ln>
                  <a:solidFill>
                    <a:srgbClr val="000000"/>
                  </a:solidFill>
                  <a:effectLst/>
                  <a:uLnTx/>
                  <a:uFillTx/>
                  <a:latin typeface="Arial"/>
                  <a:ea typeface="Arial"/>
                  <a:cs typeface="Arial"/>
                  <a:sym typeface="Arial"/>
                </a:rPr>
                <a:t>05</a:t>
              </a:r>
              <a:endParaRPr kumimoji="0" lang="lv-LV"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24" name="Google Shape;628;p15">
              <a:extLst>
                <a:ext uri="{FF2B5EF4-FFF2-40B4-BE49-F238E27FC236}">
                  <a16:creationId xmlns:a16="http://schemas.microsoft.com/office/drawing/2014/main" id="{B595A222-6ED6-C736-487C-44060050F765}"/>
                </a:ext>
              </a:extLst>
            </p:cNvPr>
            <p:cNvCxnSpPr>
              <a:cxnSpLocks/>
            </p:cNvCxnSpPr>
            <p:nvPr/>
          </p:nvCxnSpPr>
          <p:spPr>
            <a:xfrm>
              <a:off x="983525" y="1631291"/>
              <a:ext cx="0" cy="720000"/>
            </a:xfrm>
            <a:prstGeom prst="straightConnector1">
              <a:avLst/>
            </a:prstGeom>
            <a:noFill/>
            <a:ln w="9525" cap="flat" cmpd="sng">
              <a:solidFill>
                <a:schemeClr val="dk1"/>
              </a:solidFill>
              <a:prstDash val="solid"/>
              <a:miter lim="800000"/>
              <a:headEnd type="none" w="sm" len="sm"/>
              <a:tailEnd type="none" w="sm" len="sm"/>
            </a:ln>
          </p:spPr>
        </p:cxnSp>
      </p:grpSp>
      <p:sp>
        <p:nvSpPr>
          <p:cNvPr id="5" name="TextBox 4">
            <a:extLst>
              <a:ext uri="{FF2B5EF4-FFF2-40B4-BE49-F238E27FC236}">
                <a16:creationId xmlns:a16="http://schemas.microsoft.com/office/drawing/2014/main" id="{CE8A6B5F-FAA5-F8C0-3421-AC4AB3C82041}"/>
              </a:ext>
            </a:extLst>
          </p:cNvPr>
          <p:cNvSpPr txBox="1"/>
          <p:nvPr/>
        </p:nvSpPr>
        <p:spPr>
          <a:xfrm>
            <a:off x="1186477" y="2885868"/>
            <a:ext cx="4319993" cy="584775"/>
          </a:xfrm>
          <a:prstGeom prst="rect">
            <a:avLst/>
          </a:prstGeom>
          <a:noFill/>
        </p:spPr>
        <p:txBody>
          <a:bodyPr wrap="square">
            <a:spAutoFit/>
          </a:bodyPr>
          <a:lstStyle/>
          <a:p>
            <a:r>
              <a:rPr lang="lv-LV" sz="1600" b="1" dirty="0"/>
              <a:t>Jaunsardzes interešu izglītības programmas ietekme un atbilstība mērķim</a:t>
            </a:r>
            <a:endParaRPr lang="en-US" sz="1600" b="1" dirty="0"/>
          </a:p>
        </p:txBody>
      </p:sp>
      <p:sp>
        <p:nvSpPr>
          <p:cNvPr id="26" name="TextBox 25">
            <a:extLst>
              <a:ext uri="{FF2B5EF4-FFF2-40B4-BE49-F238E27FC236}">
                <a16:creationId xmlns:a16="http://schemas.microsoft.com/office/drawing/2014/main" id="{67F1E9DB-9AF2-5591-1A8F-F7B99208075D}"/>
              </a:ext>
            </a:extLst>
          </p:cNvPr>
          <p:cNvSpPr txBox="1"/>
          <p:nvPr/>
        </p:nvSpPr>
        <p:spPr>
          <a:xfrm>
            <a:off x="1186477" y="3963576"/>
            <a:ext cx="6127750" cy="338554"/>
          </a:xfrm>
          <a:prstGeom prst="rect">
            <a:avLst/>
          </a:prstGeom>
          <a:noFill/>
        </p:spPr>
        <p:txBody>
          <a:bodyPr wrap="square">
            <a:spAutoFit/>
          </a:bodyPr>
          <a:lstStyle/>
          <a:p>
            <a:r>
              <a:rPr lang="lv-LV" sz="1600" b="1" dirty="0"/>
              <a:t>VAM un Jaunsardzes programmu pārskatīšana</a:t>
            </a:r>
            <a:endParaRPr lang="en-US" sz="1600" b="1" dirty="0"/>
          </a:p>
        </p:txBody>
      </p:sp>
      <p:grpSp>
        <p:nvGrpSpPr>
          <p:cNvPr id="27" name="Групувати 20">
            <a:extLst>
              <a:ext uri="{FF2B5EF4-FFF2-40B4-BE49-F238E27FC236}">
                <a16:creationId xmlns:a16="http://schemas.microsoft.com/office/drawing/2014/main" id="{3E18EC6D-AF23-E200-084D-7F5F27D6F757}"/>
              </a:ext>
            </a:extLst>
          </p:cNvPr>
          <p:cNvGrpSpPr/>
          <p:nvPr/>
        </p:nvGrpSpPr>
        <p:grpSpPr>
          <a:xfrm>
            <a:off x="263524" y="5618351"/>
            <a:ext cx="720000" cy="720000"/>
            <a:chOff x="263525" y="1631291"/>
            <a:chExt cx="720000" cy="720000"/>
          </a:xfrm>
        </p:grpSpPr>
        <p:sp>
          <p:nvSpPr>
            <p:cNvPr id="28" name="Google Shape;627;p15">
              <a:extLst>
                <a:ext uri="{FF2B5EF4-FFF2-40B4-BE49-F238E27FC236}">
                  <a16:creationId xmlns:a16="http://schemas.microsoft.com/office/drawing/2014/main" id="{B82EE6D4-5507-D4E0-9AB4-5F03A46CD374}"/>
                </a:ext>
              </a:extLst>
            </p:cNvPr>
            <p:cNvSpPr txBox="1"/>
            <p:nvPr/>
          </p:nvSpPr>
          <p:spPr>
            <a:xfrm>
              <a:off x="263525" y="1631291"/>
              <a:ext cx="720000" cy="7200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dirty="0">
                  <a:ln>
                    <a:noFill/>
                  </a:ln>
                  <a:solidFill>
                    <a:srgbClr val="000000"/>
                  </a:solidFill>
                  <a:effectLst/>
                  <a:uLnTx/>
                  <a:uFillTx/>
                  <a:latin typeface="Arial"/>
                  <a:ea typeface="Arial"/>
                  <a:cs typeface="Arial"/>
                  <a:sym typeface="Arial"/>
                </a:rPr>
                <a:t>06</a:t>
              </a:r>
            </a:p>
          </p:txBody>
        </p:sp>
        <p:cxnSp>
          <p:nvCxnSpPr>
            <p:cNvPr id="29" name="Google Shape;628;p15">
              <a:extLst>
                <a:ext uri="{FF2B5EF4-FFF2-40B4-BE49-F238E27FC236}">
                  <a16:creationId xmlns:a16="http://schemas.microsoft.com/office/drawing/2014/main" id="{B2B412F1-41B2-A983-4592-4AF5D6EAFCAA}"/>
                </a:ext>
              </a:extLst>
            </p:cNvPr>
            <p:cNvCxnSpPr>
              <a:cxnSpLocks/>
            </p:cNvCxnSpPr>
            <p:nvPr/>
          </p:nvCxnSpPr>
          <p:spPr>
            <a:xfrm>
              <a:off x="983525" y="1631291"/>
              <a:ext cx="0" cy="720000"/>
            </a:xfrm>
            <a:prstGeom prst="straightConnector1">
              <a:avLst/>
            </a:prstGeom>
            <a:noFill/>
            <a:ln w="9525" cap="flat" cmpd="sng">
              <a:solidFill>
                <a:schemeClr val="dk1"/>
              </a:solidFill>
              <a:prstDash val="solid"/>
              <a:miter lim="800000"/>
              <a:headEnd type="none" w="sm" len="sm"/>
              <a:tailEnd type="none" w="sm" len="sm"/>
            </a:ln>
          </p:spPr>
        </p:cxnSp>
      </p:grpSp>
      <p:sp>
        <p:nvSpPr>
          <p:cNvPr id="31" name="TextBox 30">
            <a:extLst>
              <a:ext uri="{FF2B5EF4-FFF2-40B4-BE49-F238E27FC236}">
                <a16:creationId xmlns:a16="http://schemas.microsoft.com/office/drawing/2014/main" id="{44C72549-19DE-9FE0-F391-004C1E8AFE06}"/>
              </a:ext>
            </a:extLst>
          </p:cNvPr>
          <p:cNvSpPr txBox="1"/>
          <p:nvPr/>
        </p:nvSpPr>
        <p:spPr>
          <a:xfrm>
            <a:off x="1186477" y="4816509"/>
            <a:ext cx="6127750" cy="584775"/>
          </a:xfrm>
          <a:prstGeom prst="rect">
            <a:avLst/>
          </a:prstGeom>
          <a:noFill/>
        </p:spPr>
        <p:txBody>
          <a:bodyPr wrap="square">
            <a:spAutoFit/>
          </a:bodyPr>
          <a:lstStyle/>
          <a:p>
            <a:r>
              <a:rPr lang="lv-LV" sz="1600" b="1" dirty="0"/>
              <a:t>Izglītības iestāžu un Jaunsardzes centra kapacitāte programmu īstenošanai</a:t>
            </a:r>
            <a:endParaRPr lang="en-US" sz="1600" b="1" dirty="0"/>
          </a:p>
        </p:txBody>
      </p:sp>
      <p:sp>
        <p:nvSpPr>
          <p:cNvPr id="32" name="TextBox 31">
            <a:extLst>
              <a:ext uri="{FF2B5EF4-FFF2-40B4-BE49-F238E27FC236}">
                <a16:creationId xmlns:a16="http://schemas.microsoft.com/office/drawing/2014/main" id="{63CABE19-9A51-9E14-8ED0-1C6723D546E4}"/>
              </a:ext>
            </a:extLst>
          </p:cNvPr>
          <p:cNvSpPr txBox="1"/>
          <p:nvPr/>
        </p:nvSpPr>
        <p:spPr>
          <a:xfrm>
            <a:off x="1186477" y="5623275"/>
            <a:ext cx="6127750" cy="338554"/>
          </a:xfrm>
          <a:prstGeom prst="rect">
            <a:avLst/>
          </a:prstGeom>
          <a:noFill/>
        </p:spPr>
        <p:txBody>
          <a:bodyPr wrap="square">
            <a:spAutoFit/>
          </a:bodyPr>
          <a:lstStyle/>
          <a:p>
            <a:r>
              <a:rPr lang="lv-LV" sz="1600" b="1" dirty="0"/>
              <a:t>Ieteikumi</a:t>
            </a:r>
          </a:p>
        </p:txBody>
      </p:sp>
    </p:spTree>
    <p:extLst>
      <p:ext uri="{BB962C8B-B14F-4D97-AF65-F5344CB8AC3E}">
        <p14:creationId xmlns:p14="http://schemas.microsoft.com/office/powerpoint/2010/main" val="227610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DCF78C-7DEF-98A0-98E0-BBFE0A728FC1}"/>
              </a:ext>
            </a:extLst>
          </p:cNvPr>
          <p:cNvGraphicFramePr>
            <a:graphicFrameLocks/>
          </p:cNvGraphicFramePr>
          <p:nvPr>
            <p:custDataLst>
              <p:tags r:id="rId1"/>
            </p:custDataLst>
            <p:extLst>
              <p:ext uri="{D42A27DB-BD31-4B8C-83A1-F6EECF244321}">
                <p14:modId xmlns:p14="http://schemas.microsoft.com/office/powerpoint/2010/main" val="20082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54DCF78C-7DEF-98A0-98E0-BBFE0A728F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CAB70B-C5FA-1CB7-7CAD-81655191FBEB}"/>
              </a:ext>
            </a:extLst>
          </p:cNvPr>
          <p:cNvSpPr>
            <a:spLocks noGrp="1"/>
          </p:cNvSpPr>
          <p:nvPr>
            <p:ph type="ctrTitle"/>
          </p:nvPr>
        </p:nvSpPr>
        <p:spPr/>
        <p:txBody>
          <a:bodyPr vert="horz"/>
          <a:lstStyle/>
          <a:p>
            <a:r>
              <a:rPr lang="lv-LV"/>
              <a:t>Pētījuma mērķis un metodoloģija</a:t>
            </a:r>
            <a:endParaRPr lang="en-EE"/>
          </a:p>
        </p:txBody>
      </p:sp>
    </p:spTree>
    <p:extLst>
      <p:ext uri="{BB962C8B-B14F-4D97-AF65-F5344CB8AC3E}">
        <p14:creationId xmlns:p14="http://schemas.microsoft.com/office/powerpoint/2010/main" val="11029123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7E57AC8-B8BC-8911-FF45-1661802A9267}"/>
              </a:ext>
            </a:extLst>
          </p:cNvPr>
          <p:cNvGraphicFramePr>
            <a:graphicFrameLocks/>
          </p:cNvGraphicFramePr>
          <p:nvPr>
            <p:custDataLst>
              <p:tags r:id="rId1"/>
            </p:custDataLst>
            <p:extLst>
              <p:ext uri="{D42A27DB-BD31-4B8C-83A1-F6EECF244321}">
                <p14:modId xmlns:p14="http://schemas.microsoft.com/office/powerpoint/2010/main" val="867401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B7E57AC8-B8BC-8911-FF45-1661802A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719941-417F-AE89-C14F-268CB32CB0D5}"/>
              </a:ext>
            </a:extLst>
          </p:cNvPr>
          <p:cNvSpPr>
            <a:spLocks noGrp="1"/>
          </p:cNvSpPr>
          <p:nvPr>
            <p:ph type="title"/>
          </p:nvPr>
        </p:nvSpPr>
        <p:spPr/>
        <p:txBody>
          <a:bodyPr vert="horz" rIns="0"/>
          <a:lstStyle/>
          <a:p>
            <a:r>
              <a:rPr lang="lv-LV" dirty="0">
                <a:sym typeface="Arial"/>
              </a:rPr>
              <a:t>Pētījuma mērķis un tā veikšanā piemērotās metodes</a:t>
            </a:r>
            <a:br>
              <a:rPr lang="lv-LV" b="1" dirty="0">
                <a:solidFill>
                  <a:srgbClr val="000000"/>
                </a:solidFill>
                <a:latin typeface="Arial"/>
                <a:ea typeface="Arial"/>
                <a:cs typeface="Arial"/>
                <a:sym typeface="Arial"/>
              </a:rPr>
            </a:br>
            <a:endParaRPr lang="en-GB" dirty="0"/>
          </a:p>
        </p:txBody>
      </p:sp>
      <p:sp>
        <p:nvSpPr>
          <p:cNvPr id="19" name="Rectangle 18">
            <a:extLst>
              <a:ext uri="{FF2B5EF4-FFF2-40B4-BE49-F238E27FC236}">
                <a16:creationId xmlns:a16="http://schemas.microsoft.com/office/drawing/2014/main" id="{26385583-1048-73DC-0A4C-F2E7434B7B26}"/>
              </a:ext>
            </a:extLst>
          </p:cNvPr>
          <p:cNvSpPr/>
          <p:nvPr/>
        </p:nvSpPr>
        <p:spPr>
          <a:xfrm>
            <a:off x="800577" y="1301432"/>
            <a:ext cx="5102595" cy="1862553"/>
          </a:xfrm>
          <a:prstGeom prst="rect">
            <a:avLst/>
          </a:prstGeom>
          <a:noFill/>
        </p:spPr>
        <p:txBody>
          <a:bodyPr vert="horz" lIns="72000" tIns="72000" rIns="72000" bIns="72000" rtlCol="0" anchor="t">
            <a:noAutofit/>
          </a:bodyPr>
          <a:lstStyle/>
          <a:p>
            <a:pPr>
              <a:lnSpc>
                <a:spcPct val="100000"/>
              </a:lnSpc>
              <a:spcBef>
                <a:spcPts val="300"/>
              </a:spcBef>
              <a:spcAft>
                <a:spcPts val="300"/>
              </a:spcAft>
              <a:buSzPct val="80000"/>
            </a:pPr>
            <a:r>
              <a:rPr lang="lv-LV" sz="1400" b="1" dirty="0"/>
              <a:t>NOVĒRTĒJUMA MĒRĶIS</a:t>
            </a:r>
          </a:p>
          <a:p>
            <a:pPr>
              <a:lnSpc>
                <a:spcPct val="100000"/>
              </a:lnSpc>
              <a:spcBef>
                <a:spcPts val="300"/>
              </a:spcBef>
              <a:spcAft>
                <a:spcPts val="300"/>
              </a:spcAft>
              <a:buSzPct val="80000"/>
            </a:pPr>
            <a:r>
              <a:rPr lang="lv-LV" sz="1300" dirty="0"/>
              <a:t>Noskaidrot Likumā noteikto mērķu sasniegšanu un tā ietekmi uz mērķa grupām, sniedzot padziļinātu analīzi par faktoriem, kas ietekmē Likuma ieviešanu, tai skaitā saistīto tiesību aktu atbilstību, izmantoto rīku un metožu piemērotību, atslēgas personāla sagatavotības atbilstību prasībām, mācību satura atbilstību Likuma mērķiem, materiāltehnisko nodrošinājumu, kā arī izglītības iestāžu un to dibinātāju iesaisti.</a:t>
            </a:r>
            <a:endParaRPr lang="en-GB" sz="1300" noProof="0" dirty="0"/>
          </a:p>
        </p:txBody>
      </p:sp>
      <p:sp>
        <p:nvSpPr>
          <p:cNvPr id="22" name="Rectangle 21">
            <a:extLst>
              <a:ext uri="{FF2B5EF4-FFF2-40B4-BE49-F238E27FC236}">
                <a16:creationId xmlns:a16="http://schemas.microsoft.com/office/drawing/2014/main" id="{AAB7F391-1F07-179E-A255-9ADDBCC69A38}"/>
              </a:ext>
            </a:extLst>
          </p:cNvPr>
          <p:cNvSpPr/>
          <p:nvPr/>
        </p:nvSpPr>
        <p:spPr>
          <a:xfrm>
            <a:off x="867136" y="3247374"/>
            <a:ext cx="5102594" cy="2768201"/>
          </a:xfrm>
          <a:prstGeom prst="rect">
            <a:avLst/>
          </a:prstGeom>
          <a:noFill/>
        </p:spPr>
        <p:txBody>
          <a:bodyPr vert="horz" lIns="72000" tIns="72000" rIns="72000" bIns="72000" rtlCol="0" anchor="t">
            <a:noAutofit/>
          </a:bodyPr>
          <a:lstStyle/>
          <a:p>
            <a:pPr>
              <a:lnSpc>
                <a:spcPct val="100000"/>
              </a:lnSpc>
              <a:spcAft>
                <a:spcPts val="300"/>
              </a:spcAft>
              <a:buSzPct val="80000"/>
            </a:pPr>
            <a:r>
              <a:rPr lang="lv-LV" sz="1400" b="1" dirty="0"/>
              <a:t>IZPĒTES JAUTĀJUMI:</a:t>
            </a:r>
          </a:p>
          <a:p>
            <a:pPr marL="228600" indent="-228600">
              <a:lnSpc>
                <a:spcPct val="100000"/>
              </a:lnSpc>
              <a:spcAft>
                <a:spcPts val="300"/>
              </a:spcAft>
              <a:buSzPct val="80000"/>
              <a:buFont typeface="Arial" panose="020B0604020202020204" pitchFamily="34" charset="0"/>
              <a:buChar char="•"/>
            </a:pPr>
            <a:r>
              <a:rPr lang="lv-LV" sz="1300" dirty="0"/>
              <a:t>Likuma ieviešanas ietekme uz VAM izglītojamiem</a:t>
            </a:r>
          </a:p>
          <a:p>
            <a:pPr marL="228600" indent="-228600">
              <a:lnSpc>
                <a:spcPct val="100000"/>
              </a:lnSpc>
              <a:spcAft>
                <a:spcPts val="300"/>
              </a:spcAft>
              <a:buSzPct val="80000"/>
              <a:buFont typeface="Arial" panose="020B0604020202020204" pitchFamily="34" charset="0"/>
              <a:buChar char="•"/>
            </a:pPr>
            <a:r>
              <a:rPr lang="lv-LV" sz="1300" dirty="0"/>
              <a:t>Likuma ieviešanas ietekme uz jaunsargiem</a:t>
            </a:r>
          </a:p>
          <a:p>
            <a:pPr marL="228600" indent="-228600">
              <a:lnSpc>
                <a:spcPct val="100000"/>
              </a:lnSpc>
              <a:spcAft>
                <a:spcPts val="300"/>
              </a:spcAft>
              <a:buSzPct val="80000"/>
              <a:buFont typeface="Arial" panose="020B0604020202020204" pitchFamily="34" charset="0"/>
              <a:buChar char="•"/>
            </a:pPr>
            <a:r>
              <a:rPr lang="lv-LV" sz="1300" dirty="0"/>
              <a:t>Izglītības iestāžu spēja nodrošināt atbalstu VAM un jaunsargu interešu izglītības īstenošanai</a:t>
            </a:r>
          </a:p>
          <a:p>
            <a:pPr marL="228600" indent="-228600">
              <a:lnSpc>
                <a:spcPct val="100000"/>
              </a:lnSpc>
              <a:spcAft>
                <a:spcPts val="300"/>
              </a:spcAft>
              <a:buSzPct val="80000"/>
              <a:buFont typeface="Arial" panose="020B0604020202020204" pitchFamily="34" charset="0"/>
              <a:buChar char="•"/>
            </a:pPr>
            <a:r>
              <a:rPr lang="lv-LV" sz="1300" dirty="0"/>
              <a:t>JC kapacitāte, tai skaitā instruktoru kvalifikācijas prasības  </a:t>
            </a:r>
          </a:p>
          <a:p>
            <a:pPr marL="228600" indent="-228600">
              <a:lnSpc>
                <a:spcPct val="100000"/>
              </a:lnSpc>
              <a:spcAft>
                <a:spcPts val="300"/>
              </a:spcAft>
              <a:buSzPct val="80000"/>
              <a:buFont typeface="Arial" panose="020B0604020202020204" pitchFamily="34" charset="0"/>
              <a:buChar char="•"/>
            </a:pPr>
            <a:r>
              <a:rPr lang="lv-LV" sz="1300" dirty="0"/>
              <a:t>VAM izglītības programmas atbilstība Likumā noteiktā mērķa sasniegšanai</a:t>
            </a:r>
          </a:p>
          <a:p>
            <a:pPr marL="228600" indent="-228600">
              <a:lnSpc>
                <a:spcPct val="100000"/>
              </a:lnSpc>
              <a:spcAft>
                <a:spcPts val="300"/>
              </a:spcAft>
              <a:buSzPct val="80000"/>
              <a:buFont typeface="Arial" panose="020B0604020202020204" pitchFamily="34" charset="0"/>
              <a:buChar char="•"/>
            </a:pPr>
            <a:r>
              <a:rPr lang="lv-LV" sz="1300" dirty="0"/>
              <a:t>Jaunsargu interešu izglītības programmas atbilstība Likumā noteiktā mērķa sasniegšanai </a:t>
            </a:r>
          </a:p>
          <a:p>
            <a:pPr marL="228600" indent="-228600">
              <a:lnSpc>
                <a:spcPct val="100000"/>
              </a:lnSpc>
              <a:spcAft>
                <a:spcPts val="300"/>
              </a:spcAft>
              <a:buSzPct val="80000"/>
              <a:buFont typeface="Arial" panose="020B0604020202020204" pitchFamily="34" charset="0"/>
              <a:buChar char="•"/>
            </a:pPr>
            <a:r>
              <a:rPr lang="lv-LV" sz="1300" dirty="0"/>
              <a:t>VAM un jaunsargu programmu pārskatīšanas un aktualizēšanas mehānismi</a:t>
            </a:r>
          </a:p>
          <a:p>
            <a:pPr marL="228600" indent="-228600">
              <a:lnSpc>
                <a:spcPct val="100000"/>
              </a:lnSpc>
              <a:spcAft>
                <a:spcPts val="300"/>
              </a:spcAft>
              <a:buSzPct val="80000"/>
              <a:buFont typeface="Arial" panose="020B0604020202020204" pitchFamily="34" charset="0"/>
              <a:buChar char="•"/>
            </a:pPr>
            <a:r>
              <a:rPr lang="lv-LV" sz="1300" dirty="0"/>
              <a:t>Partneru iesaiste programmu kvalitātes nodrošināšanai</a:t>
            </a:r>
          </a:p>
          <a:p>
            <a:pPr>
              <a:lnSpc>
                <a:spcPct val="100000"/>
              </a:lnSpc>
              <a:spcBef>
                <a:spcPts val="300"/>
              </a:spcBef>
              <a:spcAft>
                <a:spcPts val="300"/>
              </a:spcAft>
              <a:buSzPct val="80000"/>
            </a:pPr>
            <a:endParaRPr lang="en-GB" sz="1300" noProof="0" dirty="0"/>
          </a:p>
        </p:txBody>
      </p:sp>
      <p:sp>
        <p:nvSpPr>
          <p:cNvPr id="3" name="Rectangle 2">
            <a:extLst>
              <a:ext uri="{FF2B5EF4-FFF2-40B4-BE49-F238E27FC236}">
                <a16:creationId xmlns:a16="http://schemas.microsoft.com/office/drawing/2014/main" id="{CB1BBE01-7635-ACBC-671B-F2052C447DD9}"/>
              </a:ext>
            </a:extLst>
          </p:cNvPr>
          <p:cNvSpPr/>
          <p:nvPr/>
        </p:nvSpPr>
        <p:spPr>
          <a:xfrm>
            <a:off x="6222271" y="1164704"/>
            <a:ext cx="5706205" cy="520996"/>
          </a:xfrm>
          <a:prstGeom prst="rect">
            <a:avLst/>
          </a:prstGeom>
          <a:solidFill>
            <a:schemeClr val="accent6">
              <a:lumMod val="20000"/>
              <a:lumOff val="80000"/>
            </a:schemeClr>
          </a:solidFill>
        </p:spPr>
        <p:txBody>
          <a:bodyPr vert="horz" lIns="72000" tIns="72000" rIns="72000" bIns="72000" rtlCol="0" anchor="ctr">
            <a:noAutofit/>
          </a:bodyPr>
          <a:lstStyle/>
          <a:p>
            <a:pPr>
              <a:lnSpc>
                <a:spcPct val="100000"/>
              </a:lnSpc>
              <a:spcBef>
                <a:spcPts val="300"/>
              </a:spcBef>
              <a:spcAft>
                <a:spcPts val="300"/>
              </a:spcAft>
              <a:buSzPct val="80000"/>
            </a:pPr>
            <a:r>
              <a:rPr lang="lv-LV" sz="1400" b="1" dirty="0"/>
              <a:t>METODES</a:t>
            </a:r>
            <a:endParaRPr lang="en-GB" sz="1050" b="1" noProof="0" dirty="0"/>
          </a:p>
        </p:txBody>
      </p:sp>
      <p:sp>
        <p:nvSpPr>
          <p:cNvPr id="4" name="Rectangle 3">
            <a:extLst>
              <a:ext uri="{FF2B5EF4-FFF2-40B4-BE49-F238E27FC236}">
                <a16:creationId xmlns:a16="http://schemas.microsoft.com/office/drawing/2014/main" id="{29909139-FB6F-C59B-5BA4-19AED55A6B96}"/>
              </a:ext>
            </a:extLst>
          </p:cNvPr>
          <p:cNvSpPr/>
          <p:nvPr/>
        </p:nvSpPr>
        <p:spPr>
          <a:xfrm>
            <a:off x="6222270" y="1732248"/>
            <a:ext cx="5706205" cy="3586884"/>
          </a:xfrm>
          <a:prstGeom prst="rect">
            <a:avLst/>
          </a:prstGeom>
          <a:noFill/>
        </p:spPr>
        <p:txBody>
          <a:bodyPr vert="horz" lIns="72000" tIns="72000" rIns="72000" bIns="72000" rtlCol="0" anchor="t">
            <a:noAutofit/>
          </a:bodyPr>
          <a:lstStyle/>
          <a:p>
            <a:pPr marL="228600" indent="-228600">
              <a:lnSpc>
                <a:spcPct val="100000"/>
              </a:lnSpc>
              <a:spcAft>
                <a:spcPts val="300"/>
              </a:spcAft>
              <a:buSzPct val="80000"/>
              <a:buFont typeface="Arial" panose="020B0604020202020204" pitchFamily="34" charset="0"/>
              <a:buChar char="•"/>
            </a:pPr>
            <a:r>
              <a:rPr lang="lv-LV" sz="1300" b="1" dirty="0"/>
              <a:t>Dokumentu analīze </a:t>
            </a:r>
          </a:p>
          <a:p>
            <a:pPr>
              <a:lnSpc>
                <a:spcPct val="100000"/>
              </a:lnSpc>
              <a:spcAft>
                <a:spcPts val="300"/>
              </a:spcAft>
              <a:buSzPct val="80000"/>
            </a:pPr>
            <a:r>
              <a:rPr lang="lv-LV" sz="1300" dirty="0"/>
              <a:t>ES un nacionāla līmeņa plānošanas dokumenti, nacionāla līmeņa normatīvie akti un to anotācijas, informatīvie ziņojumi, JC publiskie gada pārskati, ar Likumu saistīto izglītības programmu dokumenti</a:t>
            </a:r>
          </a:p>
          <a:p>
            <a:pPr marL="228600" indent="-228600">
              <a:lnSpc>
                <a:spcPct val="100000"/>
              </a:lnSpc>
              <a:spcAft>
                <a:spcPts val="300"/>
              </a:spcAft>
              <a:buSzPct val="80000"/>
              <a:buFont typeface="Arial" panose="020B0604020202020204" pitchFamily="34" charset="0"/>
              <a:buChar char="•"/>
            </a:pPr>
            <a:r>
              <a:rPr lang="lv-LV" sz="1300" b="1" dirty="0"/>
              <a:t>Intervijas </a:t>
            </a:r>
          </a:p>
          <a:p>
            <a:pPr>
              <a:lnSpc>
                <a:spcPct val="100000"/>
              </a:lnSpc>
              <a:spcAft>
                <a:spcPts val="300"/>
              </a:spcAft>
              <a:buSzPct val="80000"/>
            </a:pPr>
            <a:r>
              <a:rPr lang="lv-LV" sz="1300" dirty="0"/>
              <a:t>35 intervijas ar iesaistīto pušu pārstāvjiem, t.sk. 2 grupu intervijas</a:t>
            </a:r>
          </a:p>
          <a:p>
            <a:pPr marL="228600" indent="-228600">
              <a:lnSpc>
                <a:spcPct val="100000"/>
              </a:lnSpc>
              <a:spcAft>
                <a:spcPts val="300"/>
              </a:spcAft>
              <a:buSzPct val="80000"/>
              <a:buFont typeface="Arial" panose="020B0604020202020204" pitchFamily="34" charset="0"/>
              <a:buChar char="•"/>
            </a:pPr>
            <a:r>
              <a:rPr lang="lv-LV" sz="1300" b="1" dirty="0"/>
              <a:t>Aptaujas</a:t>
            </a:r>
            <a:r>
              <a:rPr lang="lv-LV" sz="1300" dirty="0"/>
              <a:t> </a:t>
            </a:r>
          </a:p>
          <a:p>
            <a:pPr>
              <a:lnSpc>
                <a:spcPct val="100000"/>
              </a:lnSpc>
              <a:spcAft>
                <a:spcPts val="300"/>
              </a:spcAft>
              <a:buSzPct val="80000"/>
            </a:pPr>
            <a:r>
              <a:rPr lang="lv-LV" sz="1300" dirty="0"/>
              <a:t>Jaunsargu aptauja (644 respondenti), VAM aptauja jauniešiem, kuri pabeiguši VAM paguvi (2 205 respondenti), Izglītības iestāžu aptauja (198 respondenti)</a:t>
            </a:r>
          </a:p>
          <a:p>
            <a:pPr marL="228600" indent="-228600">
              <a:lnSpc>
                <a:spcPct val="100000"/>
              </a:lnSpc>
              <a:spcAft>
                <a:spcPts val="300"/>
              </a:spcAft>
              <a:buSzPct val="80000"/>
              <a:buFont typeface="Arial" panose="020B0604020202020204" pitchFamily="34" charset="0"/>
              <a:buChar char="•"/>
            </a:pPr>
            <a:r>
              <a:rPr lang="lv-LV" sz="1300" b="1" dirty="0"/>
              <a:t>Fokusa grupas diskusijas </a:t>
            </a:r>
          </a:p>
          <a:p>
            <a:pPr>
              <a:lnSpc>
                <a:spcPct val="100000"/>
              </a:lnSpc>
              <a:spcAft>
                <a:spcPts val="300"/>
              </a:spcAft>
              <a:buSzPct val="80000"/>
            </a:pPr>
            <a:r>
              <a:rPr lang="lv-LV" sz="1300" dirty="0"/>
              <a:t>Divas diskusijas ar skolēniem, kuri apgūst VAM, viena diskusija ar VAM īstenošanā iesaistītajām pusēm un viena – ar jaunsargu programmas īstenošanā iesaistītajām pusēm</a:t>
            </a:r>
          </a:p>
          <a:p>
            <a:pPr marL="228600" indent="-228600">
              <a:lnSpc>
                <a:spcPct val="100000"/>
              </a:lnSpc>
              <a:spcAft>
                <a:spcPts val="300"/>
              </a:spcAft>
              <a:buSzPct val="80000"/>
              <a:buFont typeface="Arial" panose="020B0604020202020204" pitchFamily="34" charset="0"/>
              <a:buChar char="•"/>
            </a:pPr>
            <a:r>
              <a:rPr lang="lv-LV" sz="1300" b="1" dirty="0"/>
              <a:t>Statistikas datu analīze </a:t>
            </a:r>
          </a:p>
          <a:p>
            <a:pPr>
              <a:lnSpc>
                <a:spcPct val="100000"/>
              </a:lnSpc>
              <a:spcBef>
                <a:spcPts val="300"/>
              </a:spcBef>
              <a:spcAft>
                <a:spcPts val="300"/>
              </a:spcAft>
              <a:buSzPct val="80000"/>
            </a:pPr>
            <a:endParaRPr lang="en-GB" sz="1300" noProof="0" dirty="0"/>
          </a:p>
        </p:txBody>
      </p:sp>
      <p:pic>
        <p:nvPicPr>
          <p:cNvPr id="5" name="Graphic 19" descr="Folder Search with solid fill">
            <a:extLst>
              <a:ext uri="{FF2B5EF4-FFF2-40B4-BE49-F238E27FC236}">
                <a16:creationId xmlns:a16="http://schemas.microsoft.com/office/drawing/2014/main" id="{A6389735-FAAC-1792-560E-42611F1BE66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52577" y="3247374"/>
            <a:ext cx="648000" cy="648000"/>
          </a:xfrm>
          <a:prstGeom prst="rect">
            <a:avLst/>
          </a:prstGeom>
        </p:spPr>
      </p:pic>
      <p:pic>
        <p:nvPicPr>
          <p:cNvPr id="8" name="Graphic 7" descr="Bullseye with solid fill">
            <a:extLst>
              <a:ext uri="{FF2B5EF4-FFF2-40B4-BE49-F238E27FC236}">
                <a16:creationId xmlns:a16="http://schemas.microsoft.com/office/drawing/2014/main" id="{BC827958-38E4-8921-A038-3B28DAEC5AD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52577" y="1302403"/>
            <a:ext cx="648000" cy="648000"/>
          </a:xfrm>
          <a:prstGeom prst="rect">
            <a:avLst/>
          </a:prstGeom>
        </p:spPr>
      </p:pic>
    </p:spTree>
    <p:extLst>
      <p:ext uri="{BB962C8B-B14F-4D97-AF65-F5344CB8AC3E}">
        <p14:creationId xmlns:p14="http://schemas.microsoft.com/office/powerpoint/2010/main" val="1868711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375DE-AD3A-1E6D-C9F9-25894F463F6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D788A17-A694-6722-8777-2ACD365756B9}"/>
              </a:ext>
            </a:extLst>
          </p:cNvPr>
          <p:cNvGraphicFramePr>
            <a:graphicFrameLocks/>
          </p:cNvGraphicFramePr>
          <p:nvPr>
            <p:custDataLst>
              <p:tags r:id="rId1"/>
            </p:custDataLst>
            <p:extLst>
              <p:ext uri="{D42A27DB-BD31-4B8C-83A1-F6EECF244321}">
                <p14:modId xmlns:p14="http://schemas.microsoft.com/office/powerpoint/2010/main" val="986736481"/>
              </p:ext>
            </p:extLst>
          </p:nvPr>
        </p:nvGraphicFramePr>
        <p:xfrm>
          <a:off x="2920837" y="1643333"/>
          <a:ext cx="827" cy="82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FD788A17-A694-6722-8777-2ACD365756B9}"/>
                          </a:ext>
                        </a:extLst>
                      </p:cNvPr>
                      <p:cNvPicPr/>
                      <p:nvPr/>
                    </p:nvPicPr>
                    <p:blipFill>
                      <a:blip r:embed="rId5"/>
                      <a:stretch>
                        <a:fillRect/>
                      </a:stretch>
                    </p:blipFill>
                    <p:spPr>
                      <a:xfrm>
                        <a:off x="2920837" y="1643333"/>
                        <a:ext cx="827" cy="827"/>
                      </a:xfrm>
                      <a:prstGeom prst="rect">
                        <a:avLst/>
                      </a:prstGeom>
                    </p:spPr>
                  </p:pic>
                </p:oleObj>
              </mc:Fallback>
            </mc:AlternateContent>
          </a:graphicData>
        </a:graphic>
      </p:graphicFrame>
      <p:grpSp>
        <p:nvGrpSpPr>
          <p:cNvPr id="28" name="Group 27">
            <a:extLst>
              <a:ext uri="{FF2B5EF4-FFF2-40B4-BE49-F238E27FC236}">
                <a16:creationId xmlns:a16="http://schemas.microsoft.com/office/drawing/2014/main" id="{EB4B60EB-0174-5B8B-58AA-14ECE55CD050}"/>
              </a:ext>
            </a:extLst>
          </p:cNvPr>
          <p:cNvGrpSpPr/>
          <p:nvPr/>
        </p:nvGrpSpPr>
        <p:grpSpPr>
          <a:xfrm>
            <a:off x="2857992" y="1003024"/>
            <a:ext cx="2466000" cy="5288779"/>
            <a:chOff x="2836929" y="1003024"/>
            <a:chExt cx="2466000" cy="5288779"/>
          </a:xfrm>
        </p:grpSpPr>
        <p:sp>
          <p:nvSpPr>
            <p:cNvPr id="11" name="Rectangle 10">
              <a:extLst>
                <a:ext uri="{FF2B5EF4-FFF2-40B4-BE49-F238E27FC236}">
                  <a16:creationId xmlns:a16="http://schemas.microsoft.com/office/drawing/2014/main" id="{C252AE74-4811-5046-57DC-405AC833A87E}"/>
                </a:ext>
              </a:extLst>
            </p:cNvPr>
            <p:cNvSpPr/>
            <p:nvPr/>
          </p:nvSpPr>
          <p:spPr>
            <a:xfrm>
              <a:off x="2836929" y="1522691"/>
              <a:ext cx="2466000" cy="2450910"/>
            </a:xfrm>
            <a:prstGeom prst="rect">
              <a:avLst/>
            </a:prstGeom>
            <a:ln>
              <a:solidFill>
                <a:schemeClr val="accent6">
                  <a:lumMod val="20000"/>
                  <a:lumOff val="80000"/>
                </a:schemeClr>
              </a:solidFill>
            </a:ln>
          </p:spPr>
          <p:style>
            <a:lnRef idx="2">
              <a:schemeClr val="accent2"/>
            </a:lnRef>
            <a:fillRef idx="1">
              <a:schemeClr val="lt1"/>
            </a:fillRef>
            <a:effectRef idx="0">
              <a:schemeClr val="accent2"/>
            </a:effectRef>
            <a:fontRef idx="minor">
              <a:schemeClr val="dk1"/>
            </a:fontRef>
          </p:style>
          <p:txBody>
            <a:bodyPr vert="horz" lIns="37512" tIns="37512" rIns="37512" bIns="37512" rtlCol="0" anchor="t">
              <a:noAutofit/>
            </a:bodyPr>
            <a:lstStyle/>
            <a:p>
              <a:pPr>
                <a:spcBef>
                  <a:spcPts val="156"/>
                </a:spcBef>
                <a:spcAft>
                  <a:spcPts val="156"/>
                </a:spcAft>
                <a:buSzPct val="80000"/>
              </a:pPr>
              <a:r>
                <a:rPr lang="lv-LV" sz="1200" b="1" dirty="0">
                  <a:solidFill>
                    <a:schemeClr val="tx1"/>
                  </a:solidFill>
                </a:rPr>
                <a:t>Veicinošās aktivitātes</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VAM pilotprojekts (</a:t>
              </a:r>
              <a:r>
                <a:rPr lang="pt-BR" sz="1200" dirty="0">
                  <a:solidFill>
                    <a:schemeClr val="tx1"/>
                  </a:solidFill>
                </a:rPr>
                <a:t>2018-2020)</a:t>
              </a:r>
              <a:r>
                <a:rPr lang="lv-LV" sz="1200" dirty="0">
                  <a:solidFill>
                    <a:schemeClr val="tx1"/>
                  </a:solidFill>
                </a:rPr>
                <a:t>, VAM programmas aprobācija</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Izglītības iestāžu brīvprātīga VAM ieviešana (pirms VAM kļuva obligāta no 2024./2025. </a:t>
              </a:r>
              <a:r>
                <a:rPr lang="lv-LV" sz="1200" dirty="0" err="1">
                  <a:solidFill>
                    <a:schemeClr val="tx1"/>
                  </a:solidFill>
                </a:rPr>
                <a:t>m.g</a:t>
              </a:r>
              <a:r>
                <a:rPr lang="lv-LV" sz="1200" dirty="0">
                  <a:solidFill>
                    <a:schemeClr val="tx1"/>
                  </a:solidFill>
                </a:rPr>
                <a:t>.)</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sargu instruktoru kvalifikācijas prasību definēšana un skaita palielināšana</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Informēšana izglītības iestādēs un pasākumos par iespēju iestāties Jaunsardzē</a:t>
              </a:r>
            </a:p>
            <a:p>
              <a:pPr>
                <a:spcBef>
                  <a:spcPts val="156"/>
                </a:spcBef>
                <a:spcAft>
                  <a:spcPts val="156"/>
                </a:spcAft>
                <a:buSzPct val="80000"/>
              </a:pPr>
              <a:endParaRPr lang="lv-LV" sz="1200" dirty="0">
                <a:solidFill>
                  <a:schemeClr val="tx1"/>
                </a:solidFill>
              </a:endParaRPr>
            </a:p>
            <a:p>
              <a:pPr marL="89325" indent="-89325">
                <a:spcBef>
                  <a:spcPts val="156"/>
                </a:spcBef>
                <a:spcAft>
                  <a:spcPts val="156"/>
                </a:spcAft>
                <a:buSzPct val="80000"/>
                <a:buFont typeface="Arial" panose="020B0604020202020204" pitchFamily="34" charset="0"/>
                <a:buChar char="•"/>
              </a:pPr>
              <a:endParaRPr lang="lv-LV" sz="1200" dirty="0">
                <a:solidFill>
                  <a:schemeClr val="tx1"/>
                </a:solidFill>
              </a:endParaRPr>
            </a:p>
          </p:txBody>
        </p:sp>
        <p:sp>
          <p:nvSpPr>
            <p:cNvPr id="12" name="Rectangle 11">
              <a:extLst>
                <a:ext uri="{FF2B5EF4-FFF2-40B4-BE49-F238E27FC236}">
                  <a16:creationId xmlns:a16="http://schemas.microsoft.com/office/drawing/2014/main" id="{5C7A0BC8-B608-95C6-4547-DB4CB22EDE26}"/>
                </a:ext>
              </a:extLst>
            </p:cNvPr>
            <p:cNvSpPr/>
            <p:nvPr/>
          </p:nvSpPr>
          <p:spPr>
            <a:xfrm>
              <a:off x="2836929" y="3978293"/>
              <a:ext cx="2466000" cy="2313510"/>
            </a:xfrm>
            <a:prstGeom prst="rect">
              <a:avLst/>
            </a:prstGeom>
            <a:ln>
              <a:solidFill>
                <a:schemeClr val="accent6">
                  <a:lumMod val="20000"/>
                  <a:lumOff val="80000"/>
                </a:schemeClr>
              </a:solidFill>
            </a:ln>
          </p:spPr>
          <p:style>
            <a:lnRef idx="2">
              <a:schemeClr val="accent2"/>
            </a:lnRef>
            <a:fillRef idx="1">
              <a:schemeClr val="lt1"/>
            </a:fillRef>
            <a:effectRef idx="0">
              <a:schemeClr val="accent2"/>
            </a:effectRef>
            <a:fontRef idx="minor">
              <a:schemeClr val="dk1"/>
            </a:fontRef>
          </p:style>
          <p:txBody>
            <a:bodyPr vert="horz" lIns="37512" tIns="37512" rIns="37512" bIns="37512" rtlCol="0" anchor="t">
              <a:noAutofit/>
            </a:bodyPr>
            <a:lstStyle/>
            <a:p>
              <a:pPr>
                <a:spcBef>
                  <a:spcPts val="156"/>
                </a:spcBef>
                <a:spcAft>
                  <a:spcPts val="156"/>
                </a:spcAft>
                <a:buSzPct val="80000"/>
              </a:pPr>
              <a:r>
                <a:rPr lang="lv-LV" sz="1200" b="1" dirty="0">
                  <a:solidFill>
                    <a:schemeClr val="tx1"/>
                  </a:solidFill>
                </a:rPr>
                <a:t>Ieviešanas aktivitātes:</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VAM programmas un metodisko materiālu izstrāde, pārskatīšana</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VAM nometņu īstenošana</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sardzes interešu izglītības programmu izstrāde, īstenošana </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C organizētās sanāksmes izglītības iestādēm un pašvaldībām, skolēnu vecākiem, tikšanās ar izglītības iestādēm un pašvaldībām</a:t>
              </a:r>
            </a:p>
            <a:p>
              <a:pPr marL="89325" indent="-89325">
                <a:spcBef>
                  <a:spcPts val="156"/>
                </a:spcBef>
                <a:spcAft>
                  <a:spcPts val="156"/>
                </a:spcAft>
                <a:buSzPct val="80000"/>
                <a:buFont typeface="Arial" panose="020B0604020202020204" pitchFamily="34" charset="0"/>
                <a:buChar char="•"/>
              </a:pPr>
              <a:endParaRPr lang="lv-LV" sz="1200" dirty="0">
                <a:solidFill>
                  <a:schemeClr val="tx1"/>
                </a:solidFill>
              </a:endParaRPr>
            </a:p>
            <a:p>
              <a:pPr>
                <a:spcBef>
                  <a:spcPts val="156"/>
                </a:spcBef>
                <a:spcAft>
                  <a:spcPts val="156"/>
                </a:spcAft>
                <a:buSzPct val="80000"/>
              </a:pPr>
              <a:endParaRPr lang="lv-LV" sz="1200" dirty="0">
                <a:solidFill>
                  <a:schemeClr val="tx1"/>
                </a:solidFill>
              </a:endParaRPr>
            </a:p>
          </p:txBody>
        </p:sp>
        <p:sp>
          <p:nvSpPr>
            <p:cNvPr id="17" name="Rectangle 16">
              <a:extLst>
                <a:ext uri="{FF2B5EF4-FFF2-40B4-BE49-F238E27FC236}">
                  <a16:creationId xmlns:a16="http://schemas.microsoft.com/office/drawing/2014/main" id="{FC632E9C-4136-CAD3-ABD0-CCDC33FCAD46}"/>
                </a:ext>
              </a:extLst>
            </p:cNvPr>
            <p:cNvSpPr>
              <a:spLocks/>
            </p:cNvSpPr>
            <p:nvPr/>
          </p:nvSpPr>
          <p:spPr>
            <a:xfrm>
              <a:off x="2836929" y="1003024"/>
              <a:ext cx="2465207" cy="514976"/>
            </a:xfrm>
            <a:prstGeom prst="rect">
              <a:avLst/>
            </a:prstGeom>
            <a:solidFill>
              <a:schemeClr val="accent6">
                <a:lumMod val="20000"/>
                <a:lumOff val="80000"/>
              </a:schemeClr>
            </a:solidFill>
            <a:ln>
              <a:solidFill>
                <a:schemeClr val="accent6">
                  <a:lumMod val="20000"/>
                  <a:lumOff val="80000"/>
                </a:schemeClr>
              </a:solidFill>
            </a:ln>
          </p:spPr>
          <p:style>
            <a:lnRef idx="2">
              <a:schemeClr val="accent6">
                <a:shade val="15000"/>
              </a:schemeClr>
            </a:lnRef>
            <a:fillRef idx="1">
              <a:schemeClr val="accent6"/>
            </a:fillRef>
            <a:effectRef idx="0">
              <a:schemeClr val="accent6"/>
            </a:effectRef>
            <a:fontRef idx="minor">
              <a:schemeClr val="lt1"/>
            </a:fontRef>
          </p:style>
          <p:txBody>
            <a:bodyPr vert="horz" lIns="37512" tIns="37512" rIns="37512" bIns="37512" rtlCol="0" anchor="ctr">
              <a:noAutofit/>
            </a:bodyPr>
            <a:lstStyle/>
            <a:p>
              <a:pPr algn="ctr">
                <a:spcBef>
                  <a:spcPts val="156"/>
                </a:spcBef>
                <a:spcAft>
                  <a:spcPts val="156"/>
                </a:spcAft>
                <a:buSzPct val="80000"/>
              </a:pPr>
              <a:r>
                <a:rPr lang="lv-LV" sz="1200" b="1" dirty="0">
                  <a:solidFill>
                    <a:schemeClr val="bg1"/>
                  </a:solidFill>
                </a:rPr>
                <a:t>Ieviestās aktivitātes</a:t>
              </a:r>
            </a:p>
          </p:txBody>
        </p:sp>
      </p:grpSp>
      <p:grpSp>
        <p:nvGrpSpPr>
          <p:cNvPr id="30" name="Group 29">
            <a:extLst>
              <a:ext uri="{FF2B5EF4-FFF2-40B4-BE49-F238E27FC236}">
                <a16:creationId xmlns:a16="http://schemas.microsoft.com/office/drawing/2014/main" id="{CE192496-6B60-E4D6-04D8-C298B3430761}"/>
              </a:ext>
            </a:extLst>
          </p:cNvPr>
          <p:cNvGrpSpPr/>
          <p:nvPr/>
        </p:nvGrpSpPr>
        <p:grpSpPr>
          <a:xfrm>
            <a:off x="5343678" y="1003024"/>
            <a:ext cx="2134882" cy="5288779"/>
            <a:chOff x="5302136" y="1003024"/>
            <a:chExt cx="2134882" cy="5288779"/>
          </a:xfrm>
        </p:grpSpPr>
        <p:sp>
          <p:nvSpPr>
            <p:cNvPr id="13" name="Rectangle 12">
              <a:extLst>
                <a:ext uri="{FF2B5EF4-FFF2-40B4-BE49-F238E27FC236}">
                  <a16:creationId xmlns:a16="http://schemas.microsoft.com/office/drawing/2014/main" id="{D1F22539-4CD1-C719-CA03-3A9C67E3557C}"/>
                </a:ext>
              </a:extLst>
            </p:cNvPr>
            <p:cNvSpPr/>
            <p:nvPr/>
          </p:nvSpPr>
          <p:spPr>
            <a:xfrm>
              <a:off x="5302136" y="1525071"/>
              <a:ext cx="2134882" cy="4766732"/>
            </a:xfrm>
            <a:prstGeom prst="rect">
              <a:avLst/>
            </a:prstGeom>
            <a:ln>
              <a:solidFill>
                <a:schemeClr val="accent5"/>
              </a:solidFill>
            </a:ln>
          </p:spPr>
          <p:style>
            <a:lnRef idx="2">
              <a:schemeClr val="accent5"/>
            </a:lnRef>
            <a:fillRef idx="1">
              <a:schemeClr val="lt1"/>
            </a:fillRef>
            <a:effectRef idx="0">
              <a:schemeClr val="accent5"/>
            </a:effectRef>
            <a:fontRef idx="minor">
              <a:schemeClr val="dk1"/>
            </a:fontRef>
          </p:style>
          <p:txBody>
            <a:bodyPr vert="horz" lIns="37512" tIns="37512" rIns="37512" bIns="37512" rtlCol="0" anchor="t">
              <a:noAutofit/>
            </a:bodyPr>
            <a:lstStyle/>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iešu skaits, kuri apguvuši VAM  (~ 34 000 jauniešu gadā)</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iešu skaits, kuri piedalās VAM nometnēs (~ 2 000 jauniešu gadā)</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iešu skaits, kuri iesaistījušies </a:t>
              </a:r>
              <a:r>
                <a:rPr lang="lv-LV" sz="1200" dirty="0" err="1">
                  <a:solidFill>
                    <a:schemeClr val="tx1"/>
                  </a:solidFill>
                </a:rPr>
                <a:t>Jaunsardzē</a:t>
              </a:r>
              <a:r>
                <a:rPr lang="lv-LV" sz="1200" dirty="0">
                  <a:solidFill>
                    <a:schemeClr val="tx1"/>
                  </a:solidFill>
                </a:rPr>
                <a:t> (~ 8 000 jauniešu gadā)</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sargu instruktoru skaits (~350 jaunsargu instruktori)</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sardzes mācību vietu skaits</a:t>
              </a:r>
            </a:p>
            <a:p>
              <a:pPr marL="89325" indent="-89325">
                <a:spcBef>
                  <a:spcPts val="156"/>
                </a:spcBef>
                <a:spcAft>
                  <a:spcPts val="156"/>
                </a:spcAft>
                <a:buSzPct val="80000"/>
                <a:buFont typeface="Arial" panose="020B0604020202020204" pitchFamily="34" charset="0"/>
                <a:buChar char="•"/>
              </a:pPr>
              <a:endParaRPr lang="lv-LV" sz="1200" dirty="0">
                <a:solidFill>
                  <a:schemeClr val="tx1"/>
                </a:solidFill>
              </a:endParaRPr>
            </a:p>
            <a:p>
              <a:pPr marL="89325" indent="-89325">
                <a:spcBef>
                  <a:spcPts val="156"/>
                </a:spcBef>
                <a:spcAft>
                  <a:spcPts val="156"/>
                </a:spcAft>
                <a:buSzPct val="80000"/>
                <a:buFont typeface="Arial" panose="020B0604020202020204" pitchFamily="34" charset="0"/>
                <a:buChar char="•"/>
              </a:pPr>
              <a:endParaRPr lang="lv-LV" sz="1200" dirty="0">
                <a:solidFill>
                  <a:schemeClr val="tx1"/>
                </a:solidFill>
              </a:endParaRPr>
            </a:p>
          </p:txBody>
        </p:sp>
        <p:sp>
          <p:nvSpPr>
            <p:cNvPr id="19" name="Rectangle 18">
              <a:extLst>
                <a:ext uri="{FF2B5EF4-FFF2-40B4-BE49-F238E27FC236}">
                  <a16:creationId xmlns:a16="http://schemas.microsoft.com/office/drawing/2014/main" id="{865CE01B-F83B-3EAC-A8A4-6A63FB7446DD}"/>
                </a:ext>
              </a:extLst>
            </p:cNvPr>
            <p:cNvSpPr/>
            <p:nvPr/>
          </p:nvSpPr>
          <p:spPr>
            <a:xfrm>
              <a:off x="5302136" y="1003024"/>
              <a:ext cx="2134882" cy="514976"/>
            </a:xfrm>
            <a:prstGeom prst="rect">
              <a:avLst/>
            </a:prstGeom>
            <a:ln>
              <a:solidFill>
                <a:schemeClr val="accent5"/>
              </a:solidFill>
            </a:ln>
          </p:spPr>
          <p:style>
            <a:lnRef idx="2">
              <a:schemeClr val="accent5">
                <a:shade val="15000"/>
              </a:schemeClr>
            </a:lnRef>
            <a:fillRef idx="1">
              <a:schemeClr val="accent5"/>
            </a:fillRef>
            <a:effectRef idx="0">
              <a:schemeClr val="accent5"/>
            </a:effectRef>
            <a:fontRef idx="minor">
              <a:schemeClr val="lt1"/>
            </a:fontRef>
          </p:style>
          <p:txBody>
            <a:bodyPr vert="horz" lIns="37512" tIns="37512" rIns="37512" bIns="37512" rtlCol="0" anchor="ctr">
              <a:noAutofit/>
            </a:bodyPr>
            <a:lstStyle/>
            <a:p>
              <a:pPr algn="ctr">
                <a:spcBef>
                  <a:spcPts val="156"/>
                </a:spcBef>
                <a:spcAft>
                  <a:spcPts val="156"/>
                </a:spcAft>
                <a:buSzPct val="80000"/>
              </a:pPr>
              <a:r>
                <a:rPr lang="lv-LV" sz="1200" b="1" dirty="0">
                  <a:solidFill>
                    <a:schemeClr val="bg1"/>
                  </a:solidFill>
                </a:rPr>
                <a:t>Iznākuma rādītāji</a:t>
              </a:r>
            </a:p>
          </p:txBody>
        </p:sp>
      </p:grpSp>
      <p:grpSp>
        <p:nvGrpSpPr>
          <p:cNvPr id="31" name="Group 30">
            <a:extLst>
              <a:ext uri="{FF2B5EF4-FFF2-40B4-BE49-F238E27FC236}">
                <a16:creationId xmlns:a16="http://schemas.microsoft.com/office/drawing/2014/main" id="{5CD6A9E2-D6C6-47A9-FBB2-51B961EB444D}"/>
              </a:ext>
            </a:extLst>
          </p:cNvPr>
          <p:cNvGrpSpPr/>
          <p:nvPr/>
        </p:nvGrpSpPr>
        <p:grpSpPr>
          <a:xfrm>
            <a:off x="7498246" y="1003024"/>
            <a:ext cx="2033150" cy="5288779"/>
            <a:chOff x="7451720" y="1018612"/>
            <a:chExt cx="2033150" cy="5288779"/>
          </a:xfrm>
        </p:grpSpPr>
        <p:sp>
          <p:nvSpPr>
            <p:cNvPr id="20" name="Rectangle 19">
              <a:extLst>
                <a:ext uri="{FF2B5EF4-FFF2-40B4-BE49-F238E27FC236}">
                  <a16:creationId xmlns:a16="http://schemas.microsoft.com/office/drawing/2014/main" id="{F1E6703C-D74D-9948-4EE8-A95FF1D1D2D8}"/>
                </a:ext>
              </a:extLst>
            </p:cNvPr>
            <p:cNvSpPr/>
            <p:nvPr/>
          </p:nvSpPr>
          <p:spPr>
            <a:xfrm>
              <a:off x="7451720" y="1018612"/>
              <a:ext cx="2033150" cy="511200"/>
            </a:xfrm>
            <a:prstGeom prst="rect">
              <a:avLst/>
            </a:prstGeom>
            <a:ln>
              <a:solidFill>
                <a:schemeClr val="accent5"/>
              </a:solidFill>
            </a:ln>
          </p:spPr>
          <p:style>
            <a:lnRef idx="2">
              <a:schemeClr val="accent5">
                <a:shade val="15000"/>
              </a:schemeClr>
            </a:lnRef>
            <a:fillRef idx="1">
              <a:schemeClr val="accent5"/>
            </a:fillRef>
            <a:effectRef idx="0">
              <a:schemeClr val="accent5"/>
            </a:effectRef>
            <a:fontRef idx="minor">
              <a:schemeClr val="lt1"/>
            </a:fontRef>
          </p:style>
          <p:txBody>
            <a:bodyPr vert="horz" lIns="37512" tIns="37512" rIns="37512" bIns="37512" rtlCol="0" anchor="ctr">
              <a:noAutofit/>
            </a:bodyPr>
            <a:lstStyle/>
            <a:p>
              <a:pPr algn="ctr">
                <a:spcBef>
                  <a:spcPts val="156"/>
                </a:spcBef>
                <a:spcAft>
                  <a:spcPts val="156"/>
                </a:spcAft>
                <a:buSzPct val="80000"/>
              </a:pPr>
              <a:r>
                <a:rPr lang="lv-LV" sz="1200" b="1" dirty="0">
                  <a:solidFill>
                    <a:schemeClr val="bg1"/>
                  </a:solidFill>
                </a:rPr>
                <a:t>Rezultāta rādītāji</a:t>
              </a:r>
            </a:p>
          </p:txBody>
        </p:sp>
        <p:sp>
          <p:nvSpPr>
            <p:cNvPr id="22" name="Rectangle 21">
              <a:extLst>
                <a:ext uri="{FF2B5EF4-FFF2-40B4-BE49-F238E27FC236}">
                  <a16:creationId xmlns:a16="http://schemas.microsoft.com/office/drawing/2014/main" id="{E62AFF4F-7518-44EE-BB49-2926D94502CD}"/>
                </a:ext>
              </a:extLst>
            </p:cNvPr>
            <p:cNvSpPr/>
            <p:nvPr/>
          </p:nvSpPr>
          <p:spPr>
            <a:xfrm>
              <a:off x="7451720" y="1525382"/>
              <a:ext cx="2033150" cy="3059096"/>
            </a:xfrm>
            <a:prstGeom prst="rect">
              <a:avLst/>
            </a:prstGeom>
            <a:ln>
              <a:solidFill>
                <a:schemeClr val="accent2"/>
              </a:solidFill>
            </a:ln>
          </p:spPr>
          <p:style>
            <a:lnRef idx="2">
              <a:schemeClr val="accent5"/>
            </a:lnRef>
            <a:fillRef idx="1">
              <a:schemeClr val="lt1"/>
            </a:fillRef>
            <a:effectRef idx="0">
              <a:schemeClr val="accent5"/>
            </a:effectRef>
            <a:fontRef idx="minor">
              <a:schemeClr val="dk1"/>
            </a:fontRef>
          </p:style>
          <p:txBody>
            <a:bodyPr vert="horz" lIns="37512" tIns="37512" rIns="37512" bIns="37512" rtlCol="0" anchor="t">
              <a:noAutofit/>
            </a:bodyPr>
            <a:lstStyle/>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iešu pašvērtējums par apgūtajām zināšanām un prasmēm VAM (drīzāk labi, ļoti labi) </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Izmaiņas jauniešu personīgajā vēlmē aizsargāt Latviju pēc VAM apguves (drīzāk palielinājusies, būtiski palielinājusies)</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Izmaiņas jauniešu paradumos pēc VAM apgūšanas (nedaudz biežāk/ daudz biežāk nekā iepriekš)</a:t>
              </a:r>
            </a:p>
            <a:p>
              <a:pPr marL="89325" indent="-89325">
                <a:spcBef>
                  <a:spcPts val="156"/>
                </a:spcBef>
                <a:spcAft>
                  <a:spcPts val="156"/>
                </a:spcAft>
                <a:buSzPct val="80000"/>
                <a:buFont typeface="Arial" panose="020B0604020202020204" pitchFamily="34" charset="0"/>
                <a:buChar char="•"/>
              </a:pPr>
              <a:endParaRPr lang="lv-LV" sz="1200" dirty="0">
                <a:solidFill>
                  <a:schemeClr val="tx1"/>
                </a:solidFill>
              </a:endParaRPr>
            </a:p>
          </p:txBody>
        </p:sp>
        <p:sp>
          <p:nvSpPr>
            <p:cNvPr id="23" name="Rectangle 22">
              <a:extLst>
                <a:ext uri="{FF2B5EF4-FFF2-40B4-BE49-F238E27FC236}">
                  <a16:creationId xmlns:a16="http://schemas.microsoft.com/office/drawing/2014/main" id="{CD41F352-CC5E-23AC-0559-2D180EE3C271}"/>
                </a:ext>
              </a:extLst>
            </p:cNvPr>
            <p:cNvSpPr/>
            <p:nvPr/>
          </p:nvSpPr>
          <p:spPr>
            <a:xfrm>
              <a:off x="7451720" y="4576272"/>
              <a:ext cx="2033150" cy="1731119"/>
            </a:xfrm>
            <a:prstGeom prst="rect">
              <a:avLst/>
            </a:prstGeom>
            <a:ln>
              <a:solidFill>
                <a:schemeClr val="accent2"/>
              </a:solidFill>
            </a:ln>
          </p:spPr>
          <p:style>
            <a:lnRef idx="2">
              <a:schemeClr val="accent5"/>
            </a:lnRef>
            <a:fillRef idx="1">
              <a:schemeClr val="lt1"/>
            </a:fillRef>
            <a:effectRef idx="0">
              <a:schemeClr val="accent5"/>
            </a:effectRef>
            <a:fontRef idx="minor">
              <a:schemeClr val="dk1"/>
            </a:fontRef>
          </p:style>
          <p:txBody>
            <a:bodyPr vert="horz" lIns="37512" tIns="37512" rIns="37512" bIns="37512" rtlCol="0" anchor="t">
              <a:noAutofit/>
            </a:bodyPr>
            <a:lstStyle/>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sargu pašvērtējums par apgūtajām prasmēm un ieradumiem (drīzāk piekrīt, pilnīgi piekrīt) </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sargu pašvērtējums par ieguvumiem no dalības Jaunsardzē (drīzāk piekrīt, pilnībā piekrīt) </a:t>
              </a:r>
            </a:p>
            <a:p>
              <a:pPr marL="89325" indent="-89325">
                <a:spcBef>
                  <a:spcPts val="156"/>
                </a:spcBef>
                <a:spcAft>
                  <a:spcPts val="156"/>
                </a:spcAft>
                <a:buSzPct val="80000"/>
                <a:buFont typeface="Arial" panose="020B0604020202020204" pitchFamily="34" charset="0"/>
                <a:buChar char="•"/>
              </a:pPr>
              <a:endParaRPr lang="lv-LV" sz="1200" dirty="0">
                <a:solidFill>
                  <a:schemeClr val="tx1"/>
                </a:solidFill>
              </a:endParaRPr>
            </a:p>
            <a:p>
              <a:pPr marL="89325" indent="-89325">
                <a:spcBef>
                  <a:spcPts val="156"/>
                </a:spcBef>
                <a:spcAft>
                  <a:spcPts val="156"/>
                </a:spcAft>
                <a:buSzPct val="80000"/>
                <a:buFont typeface="Arial" panose="020B0604020202020204" pitchFamily="34" charset="0"/>
                <a:buChar char="•"/>
              </a:pPr>
              <a:endParaRPr lang="lv-LV" sz="1200" dirty="0">
                <a:solidFill>
                  <a:schemeClr val="tx1"/>
                </a:solidFill>
              </a:endParaRPr>
            </a:p>
            <a:p>
              <a:pPr marL="89325" indent="-89325">
                <a:spcBef>
                  <a:spcPts val="156"/>
                </a:spcBef>
                <a:spcAft>
                  <a:spcPts val="156"/>
                </a:spcAft>
                <a:buSzPct val="80000"/>
                <a:buFont typeface="Arial" panose="020B0604020202020204" pitchFamily="34" charset="0"/>
                <a:buChar char="•"/>
              </a:pPr>
              <a:endParaRPr lang="lv-LV" sz="1200" dirty="0">
                <a:solidFill>
                  <a:schemeClr val="tx1"/>
                </a:solidFill>
              </a:endParaRPr>
            </a:p>
            <a:p>
              <a:pPr marL="89325" indent="-89325">
                <a:spcBef>
                  <a:spcPts val="156"/>
                </a:spcBef>
                <a:spcAft>
                  <a:spcPts val="156"/>
                </a:spcAft>
                <a:buSzPct val="80000"/>
                <a:buFont typeface="Arial" panose="020B0604020202020204" pitchFamily="34" charset="0"/>
                <a:buChar char="•"/>
              </a:pPr>
              <a:endParaRPr lang="lv-LV" sz="1200" dirty="0">
                <a:solidFill>
                  <a:schemeClr val="tx1"/>
                </a:solidFill>
              </a:endParaRPr>
            </a:p>
          </p:txBody>
        </p:sp>
      </p:grpSp>
      <p:grpSp>
        <p:nvGrpSpPr>
          <p:cNvPr id="32" name="Group 31">
            <a:extLst>
              <a:ext uri="{FF2B5EF4-FFF2-40B4-BE49-F238E27FC236}">
                <a16:creationId xmlns:a16="http://schemas.microsoft.com/office/drawing/2014/main" id="{AB3C8C22-BA46-AFEB-12AE-526A0FD50416}"/>
              </a:ext>
            </a:extLst>
          </p:cNvPr>
          <p:cNvGrpSpPr/>
          <p:nvPr/>
        </p:nvGrpSpPr>
        <p:grpSpPr>
          <a:xfrm>
            <a:off x="9551080" y="1003024"/>
            <a:ext cx="2491200" cy="5698547"/>
            <a:chOff x="9551080" y="1028913"/>
            <a:chExt cx="2491200" cy="5698547"/>
          </a:xfrm>
        </p:grpSpPr>
        <p:sp>
          <p:nvSpPr>
            <p:cNvPr id="24" name="Rectangle 23">
              <a:extLst>
                <a:ext uri="{FF2B5EF4-FFF2-40B4-BE49-F238E27FC236}">
                  <a16:creationId xmlns:a16="http://schemas.microsoft.com/office/drawing/2014/main" id="{21170827-8469-7C7F-8D01-F15397FB8BE6}"/>
                </a:ext>
              </a:extLst>
            </p:cNvPr>
            <p:cNvSpPr/>
            <p:nvPr/>
          </p:nvSpPr>
          <p:spPr>
            <a:xfrm>
              <a:off x="9551080" y="1028913"/>
              <a:ext cx="2489871" cy="514975"/>
            </a:xfrm>
            <a:prstGeom prst="rect">
              <a:avLst/>
            </a:prstGeom>
            <a:solidFill>
              <a:schemeClr val="accent5">
                <a:lumMod val="50000"/>
              </a:schemeClr>
            </a:solidFill>
            <a:ln>
              <a:solidFill>
                <a:schemeClr val="accent5">
                  <a:lumMod val="50000"/>
                </a:schemeClr>
              </a:solidFill>
            </a:ln>
          </p:spPr>
          <p:style>
            <a:lnRef idx="2">
              <a:schemeClr val="accent5">
                <a:shade val="15000"/>
              </a:schemeClr>
            </a:lnRef>
            <a:fillRef idx="1">
              <a:schemeClr val="accent5"/>
            </a:fillRef>
            <a:effectRef idx="0">
              <a:schemeClr val="accent5"/>
            </a:effectRef>
            <a:fontRef idx="minor">
              <a:schemeClr val="lt1"/>
            </a:fontRef>
          </p:style>
          <p:txBody>
            <a:bodyPr vert="horz" lIns="37512" tIns="37512" rIns="37512" bIns="37512" rtlCol="0" anchor="ctr">
              <a:noAutofit/>
            </a:bodyPr>
            <a:lstStyle/>
            <a:p>
              <a:pPr algn="ctr">
                <a:spcBef>
                  <a:spcPts val="156"/>
                </a:spcBef>
                <a:spcAft>
                  <a:spcPts val="156"/>
                </a:spcAft>
                <a:buSzPct val="80000"/>
              </a:pPr>
              <a:r>
                <a:rPr lang="lv-LV" sz="1200" b="1" dirty="0">
                  <a:solidFill>
                    <a:schemeClr val="bg1"/>
                  </a:solidFill>
                </a:rPr>
                <a:t>Ietekme</a:t>
              </a:r>
            </a:p>
          </p:txBody>
        </p:sp>
        <p:sp>
          <p:nvSpPr>
            <p:cNvPr id="25" name="Rectangle 24">
              <a:extLst>
                <a:ext uri="{FF2B5EF4-FFF2-40B4-BE49-F238E27FC236}">
                  <a16:creationId xmlns:a16="http://schemas.microsoft.com/office/drawing/2014/main" id="{220D6F8A-933D-D594-E9D1-F206AE923E48}"/>
                </a:ext>
              </a:extLst>
            </p:cNvPr>
            <p:cNvSpPr/>
            <p:nvPr/>
          </p:nvSpPr>
          <p:spPr>
            <a:xfrm>
              <a:off x="9551080" y="1554341"/>
              <a:ext cx="2489871" cy="2438613"/>
            </a:xfrm>
            <a:prstGeom prst="rect">
              <a:avLst/>
            </a:prstGeom>
            <a:ln>
              <a:solidFill>
                <a:schemeClr val="accent2"/>
              </a:solidFill>
            </a:ln>
          </p:spPr>
          <p:style>
            <a:lnRef idx="2">
              <a:schemeClr val="accent5"/>
            </a:lnRef>
            <a:fillRef idx="1">
              <a:schemeClr val="lt1"/>
            </a:fillRef>
            <a:effectRef idx="0">
              <a:schemeClr val="accent5"/>
            </a:effectRef>
            <a:fontRef idx="minor">
              <a:schemeClr val="dk1"/>
            </a:fontRef>
          </p:style>
          <p:txBody>
            <a:bodyPr vert="horz" lIns="37512" tIns="37512" rIns="37512" bIns="37512" rtlCol="0" anchor="t">
              <a:noAutofit/>
            </a:bodyPr>
            <a:lstStyle/>
            <a:p>
              <a:pPr marL="89325" indent="-89325">
                <a:spcBef>
                  <a:spcPts val="156"/>
                </a:spcBef>
                <a:spcAft>
                  <a:spcPts val="156"/>
                </a:spcAft>
                <a:buSzPct val="80000"/>
                <a:buFont typeface="Arial" panose="020B0604020202020204" pitchFamily="34" charset="0"/>
                <a:buChar char="•"/>
              </a:pPr>
              <a:r>
                <a:rPr lang="lv-LV" sz="1200" dirty="0">
                  <a:solidFill>
                    <a:schemeClr val="tx1"/>
                  </a:solidFill>
                </a:rPr>
                <a:t>&gt; 50 % jauniešu vērtē VAM apgūtās zināšanas un prasmes kā labas vai ļoti labas.</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gt; 40% jauniešu drīzāk vai būtiski palielinājusies personīgā vēlme aizsargāt Latviju.</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gt; 20%-40% jauniešu norāda uz paradumu izmaņām, darot nedaudz vai daudz biežāk.</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gt; 35% jauniešu apsver iespējas aktīvāk iesaistīties pilsoniskajā līdzdalībā.</a:t>
              </a:r>
            </a:p>
            <a:p>
              <a:pPr marL="277901" indent="-89325">
                <a:spcBef>
                  <a:spcPts val="156"/>
                </a:spcBef>
                <a:spcAft>
                  <a:spcPts val="156"/>
                </a:spcAft>
                <a:buSzPct val="80000"/>
                <a:buFont typeface="Arial" panose="020B0604020202020204" pitchFamily="34" charset="0"/>
                <a:buChar char="•"/>
              </a:pPr>
              <a:endParaRPr lang="lv-LV" sz="1200" dirty="0">
                <a:solidFill>
                  <a:schemeClr val="tx1"/>
                </a:solidFill>
              </a:endParaRPr>
            </a:p>
          </p:txBody>
        </p:sp>
        <p:sp>
          <p:nvSpPr>
            <p:cNvPr id="27" name="Rectangle 26">
              <a:extLst>
                <a:ext uri="{FF2B5EF4-FFF2-40B4-BE49-F238E27FC236}">
                  <a16:creationId xmlns:a16="http://schemas.microsoft.com/office/drawing/2014/main" id="{B2C2C21D-0D8E-03FE-5640-51A6C499C823}"/>
                </a:ext>
              </a:extLst>
            </p:cNvPr>
            <p:cNvSpPr/>
            <p:nvPr/>
          </p:nvSpPr>
          <p:spPr>
            <a:xfrm>
              <a:off x="9551080" y="4003407"/>
              <a:ext cx="2489871" cy="1617090"/>
            </a:xfrm>
            <a:prstGeom prst="rect">
              <a:avLst/>
            </a:prstGeom>
            <a:ln>
              <a:solidFill>
                <a:schemeClr val="accent2"/>
              </a:solidFill>
            </a:ln>
          </p:spPr>
          <p:style>
            <a:lnRef idx="2">
              <a:schemeClr val="accent5"/>
            </a:lnRef>
            <a:fillRef idx="1">
              <a:schemeClr val="lt1"/>
            </a:fillRef>
            <a:effectRef idx="0">
              <a:schemeClr val="accent5"/>
            </a:effectRef>
            <a:fontRef idx="minor">
              <a:schemeClr val="dk1"/>
            </a:fontRef>
          </p:style>
          <p:txBody>
            <a:bodyPr vert="horz" lIns="37512" tIns="37512" rIns="37512" bIns="37512" rtlCol="0" anchor="t">
              <a:noAutofit/>
            </a:bodyPr>
            <a:lstStyle/>
            <a:p>
              <a:pPr marL="89325" indent="-89325">
                <a:spcBef>
                  <a:spcPts val="156"/>
                </a:spcBef>
                <a:spcAft>
                  <a:spcPts val="156"/>
                </a:spcAft>
                <a:buSzPct val="80000"/>
                <a:buFont typeface="Arial" panose="020B0604020202020204" pitchFamily="34" charset="0"/>
                <a:buChar char="•"/>
              </a:pPr>
              <a:r>
                <a:rPr lang="lv-LV" sz="1200" dirty="0">
                  <a:solidFill>
                    <a:schemeClr val="tx1"/>
                  </a:solidFill>
                </a:rPr>
                <a:t>Augsts jaunsargu pašvērtējuma (drīzāk piekrītu, pilnībā piekrītu) īpatsvars (&gt; 60%-80%) par prasmēm.</a:t>
              </a:r>
            </a:p>
            <a:p>
              <a:pPr marL="95115" lvl="1" indent="-89325">
                <a:spcBef>
                  <a:spcPts val="156"/>
                </a:spcBef>
                <a:spcAft>
                  <a:spcPts val="156"/>
                </a:spcAft>
                <a:buSzPct val="80000"/>
                <a:buFont typeface="Arial" panose="020B0604020202020204" pitchFamily="34" charset="0"/>
                <a:buChar char="•"/>
              </a:pPr>
              <a:r>
                <a:rPr lang="lv-LV" sz="1200" dirty="0">
                  <a:solidFill>
                    <a:schemeClr val="tx1"/>
                  </a:solidFill>
                </a:rPr>
                <a:t>Augsts jaunsargu pašvērtējuma (drīzāk piekrītu, pilnībā piekrītu) īpatsvars (&gt; 80%) par Jaunsardzes ietekmi.</a:t>
              </a:r>
            </a:p>
          </p:txBody>
        </p:sp>
        <p:sp>
          <p:nvSpPr>
            <p:cNvPr id="29" name="Rectangle 28">
              <a:extLst>
                <a:ext uri="{FF2B5EF4-FFF2-40B4-BE49-F238E27FC236}">
                  <a16:creationId xmlns:a16="http://schemas.microsoft.com/office/drawing/2014/main" id="{08D164B2-09C7-79B1-5129-9B72350BBA59}"/>
                </a:ext>
              </a:extLst>
            </p:cNvPr>
            <p:cNvSpPr/>
            <p:nvPr/>
          </p:nvSpPr>
          <p:spPr>
            <a:xfrm>
              <a:off x="9551080" y="5630951"/>
              <a:ext cx="2491200" cy="1096509"/>
            </a:xfrm>
            <a:prstGeom prst="rect">
              <a:avLst/>
            </a:prstGeom>
            <a:ln>
              <a:solidFill>
                <a:schemeClr val="accent2"/>
              </a:solidFill>
            </a:ln>
          </p:spPr>
          <p:style>
            <a:lnRef idx="2">
              <a:schemeClr val="accent5"/>
            </a:lnRef>
            <a:fillRef idx="1">
              <a:schemeClr val="lt1"/>
            </a:fillRef>
            <a:effectRef idx="0">
              <a:schemeClr val="accent5"/>
            </a:effectRef>
            <a:fontRef idx="minor">
              <a:schemeClr val="dk1"/>
            </a:fontRef>
          </p:style>
          <p:txBody>
            <a:bodyPr vert="horz" lIns="37512" tIns="37512" rIns="37512" bIns="37512" rtlCol="0" anchor="t">
              <a:noAutofit/>
            </a:bodyPr>
            <a:lstStyle/>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iešu skaits, kuri brīvprātīgi piesakās VAD</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sargu skaits, kuri iestājušies NBS un citās ar dienestu saistītās iestādēs</a:t>
              </a:r>
              <a:endParaRPr lang="lv-LV" sz="1200" dirty="0">
                <a:solidFill>
                  <a:schemeClr val="tx1"/>
                </a:solidFill>
                <a:highlight>
                  <a:srgbClr val="FFFF00"/>
                </a:highlight>
              </a:endParaRPr>
            </a:p>
          </p:txBody>
        </p:sp>
      </p:grpSp>
      <p:grpSp>
        <p:nvGrpSpPr>
          <p:cNvPr id="18" name="Group 17">
            <a:extLst>
              <a:ext uri="{FF2B5EF4-FFF2-40B4-BE49-F238E27FC236}">
                <a16:creationId xmlns:a16="http://schemas.microsoft.com/office/drawing/2014/main" id="{90572AA8-F17F-2D71-28D8-777E7BD8D5ED}"/>
              </a:ext>
            </a:extLst>
          </p:cNvPr>
          <p:cNvGrpSpPr/>
          <p:nvPr/>
        </p:nvGrpSpPr>
        <p:grpSpPr>
          <a:xfrm>
            <a:off x="131106" y="1003024"/>
            <a:ext cx="2707200" cy="5288779"/>
            <a:chOff x="131106" y="1028914"/>
            <a:chExt cx="2707200" cy="5288779"/>
          </a:xfrm>
        </p:grpSpPr>
        <p:sp>
          <p:nvSpPr>
            <p:cNvPr id="14" name="Rectangle 13">
              <a:extLst>
                <a:ext uri="{FF2B5EF4-FFF2-40B4-BE49-F238E27FC236}">
                  <a16:creationId xmlns:a16="http://schemas.microsoft.com/office/drawing/2014/main" id="{98B63F9D-7114-1387-8B11-737BAA7130E0}"/>
                </a:ext>
              </a:extLst>
            </p:cNvPr>
            <p:cNvSpPr>
              <a:spLocks/>
            </p:cNvSpPr>
            <p:nvPr/>
          </p:nvSpPr>
          <p:spPr>
            <a:xfrm>
              <a:off x="131106" y="1028914"/>
              <a:ext cx="2705823" cy="514976"/>
            </a:xfrm>
            <a:prstGeom prst="rect">
              <a:avLst/>
            </a:prstGeom>
            <a:ln>
              <a:solidFill>
                <a:schemeClr val="accent6"/>
              </a:solidFill>
            </a:ln>
          </p:spPr>
          <p:style>
            <a:lnRef idx="2">
              <a:schemeClr val="accent6">
                <a:shade val="15000"/>
              </a:schemeClr>
            </a:lnRef>
            <a:fillRef idx="1">
              <a:schemeClr val="accent6"/>
            </a:fillRef>
            <a:effectRef idx="0">
              <a:schemeClr val="accent6"/>
            </a:effectRef>
            <a:fontRef idx="minor">
              <a:schemeClr val="lt1"/>
            </a:fontRef>
          </p:style>
          <p:txBody>
            <a:bodyPr vert="horz" lIns="37512" tIns="37512" rIns="37512" bIns="37512" rtlCol="0" anchor="ctr">
              <a:noAutofit/>
            </a:bodyPr>
            <a:lstStyle/>
            <a:p>
              <a:pPr algn="ctr">
                <a:spcBef>
                  <a:spcPts val="156"/>
                </a:spcBef>
                <a:spcAft>
                  <a:spcPts val="156"/>
                </a:spcAft>
                <a:buSzPct val="80000"/>
              </a:pPr>
              <a:r>
                <a:rPr lang="lv-LV" sz="1200" b="1" dirty="0">
                  <a:solidFill>
                    <a:schemeClr val="bg1"/>
                  </a:solidFill>
                </a:rPr>
                <a:t>Mērķis</a:t>
              </a:r>
              <a:endParaRPr lang="en-GB" sz="1200" b="1" dirty="0" err="1">
                <a:solidFill>
                  <a:schemeClr val="bg1"/>
                </a:solidFill>
              </a:endParaRPr>
            </a:p>
          </p:txBody>
        </p:sp>
        <p:sp>
          <p:nvSpPr>
            <p:cNvPr id="2" name="Rectangle 1">
              <a:extLst>
                <a:ext uri="{FF2B5EF4-FFF2-40B4-BE49-F238E27FC236}">
                  <a16:creationId xmlns:a16="http://schemas.microsoft.com/office/drawing/2014/main" id="{3FE401E7-EE54-CCAB-5778-DC1C147FB6E3}"/>
                </a:ext>
              </a:extLst>
            </p:cNvPr>
            <p:cNvSpPr>
              <a:spLocks/>
            </p:cNvSpPr>
            <p:nvPr/>
          </p:nvSpPr>
          <p:spPr>
            <a:xfrm>
              <a:off x="131106" y="1545753"/>
              <a:ext cx="2707200" cy="1024024"/>
            </a:xfrm>
            <a:prstGeom prst="rect">
              <a:avLst/>
            </a:prstGeom>
          </p:spPr>
          <p:style>
            <a:lnRef idx="2">
              <a:schemeClr val="accent6"/>
            </a:lnRef>
            <a:fillRef idx="1">
              <a:schemeClr val="lt1"/>
            </a:fillRef>
            <a:effectRef idx="0">
              <a:schemeClr val="accent6"/>
            </a:effectRef>
            <a:fontRef idx="minor">
              <a:schemeClr val="dk1"/>
            </a:fontRef>
          </p:style>
          <p:txBody>
            <a:bodyPr vert="horz" lIns="37512" tIns="37512" rIns="37512" bIns="37512" rtlCol="0" anchor="ctr">
              <a:noAutofit/>
            </a:bodyPr>
            <a:lstStyle/>
            <a:p>
              <a:pPr>
                <a:spcBef>
                  <a:spcPts val="156"/>
                </a:spcBef>
                <a:spcAft>
                  <a:spcPts val="156"/>
                </a:spcAft>
                <a:buSzPct val="80000"/>
              </a:pPr>
              <a:r>
                <a:rPr lang="lv-LV" sz="1200" dirty="0">
                  <a:solidFill>
                    <a:schemeClr val="tx1"/>
                  </a:solidFill>
                </a:rPr>
                <a:t>Nodrošināt bērniem un jauniešiem iespēju apgūt viņu vecumam atbilstošas zināšanas, prasmes un iemaņas valsts aizsardzībā, mācoties VAM vai darbojoties Jaunsardzē</a:t>
              </a:r>
              <a:endParaRPr lang="en-GB" sz="1200" dirty="0">
                <a:solidFill>
                  <a:schemeClr val="tx1"/>
                </a:solidFill>
              </a:endParaRPr>
            </a:p>
          </p:txBody>
        </p:sp>
        <p:sp>
          <p:nvSpPr>
            <p:cNvPr id="15" name="Rectangle 14">
              <a:extLst>
                <a:ext uri="{FF2B5EF4-FFF2-40B4-BE49-F238E27FC236}">
                  <a16:creationId xmlns:a16="http://schemas.microsoft.com/office/drawing/2014/main" id="{E63BE6FB-DCD0-DF27-5DC3-BFCBF3F54263}"/>
                </a:ext>
              </a:extLst>
            </p:cNvPr>
            <p:cNvSpPr/>
            <p:nvPr/>
          </p:nvSpPr>
          <p:spPr>
            <a:xfrm>
              <a:off x="131106" y="3088478"/>
              <a:ext cx="2705824" cy="1811653"/>
            </a:xfrm>
            <a:prstGeom prst="rect">
              <a:avLst/>
            </a:prstGeom>
          </p:spPr>
          <p:style>
            <a:lnRef idx="2">
              <a:schemeClr val="accent6"/>
            </a:lnRef>
            <a:fillRef idx="1">
              <a:schemeClr val="lt1"/>
            </a:fillRef>
            <a:effectRef idx="0">
              <a:schemeClr val="accent6"/>
            </a:effectRef>
            <a:fontRef idx="minor">
              <a:schemeClr val="dk1"/>
            </a:fontRef>
          </p:style>
          <p:txBody>
            <a:bodyPr vert="horz" lIns="37512" tIns="37512" rIns="37512" bIns="37512" rtlCol="0" anchor="t">
              <a:noAutofit/>
            </a:bodyPr>
            <a:lstStyle/>
            <a:p>
              <a:pPr>
                <a:spcBef>
                  <a:spcPts val="156"/>
                </a:spcBef>
                <a:spcAft>
                  <a:spcPts val="156"/>
                </a:spcAft>
                <a:buSzPct val="80000"/>
              </a:pPr>
              <a:r>
                <a:rPr lang="lv-LV" sz="1200" b="1" dirty="0">
                  <a:solidFill>
                    <a:schemeClr val="tx1"/>
                  </a:solidFill>
                </a:rPr>
                <a:t>Tiešās mērķa grupas</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ieši, kuri klātienē apgūst vispārējās un profesionālās vidējās izglītības programmas</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Bērni no 10 gadu vecuma</a:t>
              </a:r>
            </a:p>
            <a:p>
              <a:pPr>
                <a:spcBef>
                  <a:spcPts val="156"/>
                </a:spcBef>
                <a:spcAft>
                  <a:spcPts val="156"/>
                </a:spcAft>
                <a:buSzPct val="80000"/>
              </a:pPr>
              <a:r>
                <a:rPr lang="lv-LV" sz="1200" b="1" dirty="0">
                  <a:solidFill>
                    <a:schemeClr val="tx1"/>
                  </a:solidFill>
                </a:rPr>
                <a:t>Netiešās mērķa grupas</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sargu instruktori</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Izglītības iestādes (to dibinātāji)</a:t>
              </a:r>
              <a:endParaRPr lang="en-GB" sz="1200" dirty="0">
                <a:solidFill>
                  <a:schemeClr val="tx1"/>
                </a:solidFill>
              </a:endParaRPr>
            </a:p>
            <a:p>
              <a:pPr marL="89325" indent="-89325">
                <a:spcBef>
                  <a:spcPts val="156"/>
                </a:spcBef>
                <a:spcAft>
                  <a:spcPts val="156"/>
                </a:spcAft>
                <a:buSzPct val="80000"/>
                <a:buFont typeface="Arial" panose="020B0604020202020204" pitchFamily="34" charset="0"/>
                <a:buChar char="•"/>
              </a:pPr>
              <a:endParaRPr lang="en-GB" sz="1200" dirty="0">
                <a:solidFill>
                  <a:schemeClr val="tx1"/>
                </a:solidFill>
              </a:endParaRPr>
            </a:p>
          </p:txBody>
        </p:sp>
        <p:sp>
          <p:nvSpPr>
            <p:cNvPr id="26" name="Rectangle 25">
              <a:extLst>
                <a:ext uri="{FF2B5EF4-FFF2-40B4-BE49-F238E27FC236}">
                  <a16:creationId xmlns:a16="http://schemas.microsoft.com/office/drawing/2014/main" id="{755AA580-D57C-D684-203D-604973B8C9CD}"/>
                </a:ext>
              </a:extLst>
            </p:cNvPr>
            <p:cNvSpPr/>
            <p:nvPr/>
          </p:nvSpPr>
          <p:spPr>
            <a:xfrm>
              <a:off x="131106" y="4901993"/>
              <a:ext cx="2705825" cy="1415700"/>
            </a:xfrm>
            <a:prstGeom prst="rect">
              <a:avLst/>
            </a:prstGeom>
          </p:spPr>
          <p:style>
            <a:lnRef idx="2">
              <a:schemeClr val="accent6"/>
            </a:lnRef>
            <a:fillRef idx="1">
              <a:schemeClr val="lt1"/>
            </a:fillRef>
            <a:effectRef idx="0">
              <a:schemeClr val="accent6"/>
            </a:effectRef>
            <a:fontRef idx="minor">
              <a:schemeClr val="dk1"/>
            </a:fontRef>
          </p:style>
          <p:txBody>
            <a:bodyPr vert="horz" lIns="37512" tIns="37512" rIns="37512" bIns="37512" rtlCol="0" anchor="t">
              <a:noAutofit/>
            </a:bodyPr>
            <a:lstStyle/>
            <a:p>
              <a:pPr>
                <a:spcBef>
                  <a:spcPts val="156"/>
                </a:spcBef>
                <a:spcAft>
                  <a:spcPts val="156"/>
                </a:spcAft>
                <a:buSzPct val="80000"/>
              </a:pPr>
              <a:r>
                <a:rPr lang="lv-LV" sz="1200" b="1" dirty="0">
                  <a:solidFill>
                    <a:schemeClr val="tx1"/>
                  </a:solidFill>
                </a:rPr>
                <a:t>Citas iesaistītas puses</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Jaunsardzes centrs</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Aizsardzības ministrija</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Valsts izglītības attīstības aģentūra</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Izglītības un zinātnes ministrija</a:t>
              </a:r>
            </a:p>
            <a:p>
              <a:pPr marL="89325" indent="-89325">
                <a:spcBef>
                  <a:spcPts val="156"/>
                </a:spcBef>
                <a:spcAft>
                  <a:spcPts val="156"/>
                </a:spcAft>
                <a:buSzPct val="80000"/>
                <a:buFont typeface="Arial" panose="020B0604020202020204" pitchFamily="34" charset="0"/>
                <a:buChar char="•"/>
              </a:pPr>
              <a:r>
                <a:rPr lang="lv-LV" sz="1200" dirty="0">
                  <a:solidFill>
                    <a:schemeClr val="tx1"/>
                  </a:solidFill>
                </a:rPr>
                <a:t>Nevalstiskās organizācijas</a:t>
              </a:r>
            </a:p>
            <a:p>
              <a:pPr marL="89325" indent="-89325">
                <a:spcBef>
                  <a:spcPts val="156"/>
                </a:spcBef>
                <a:spcAft>
                  <a:spcPts val="156"/>
                </a:spcAft>
                <a:buSzPct val="80000"/>
                <a:buFont typeface="Arial" panose="020B0604020202020204" pitchFamily="34" charset="0"/>
                <a:buChar char="•"/>
              </a:pPr>
              <a:endParaRPr lang="en-GB" sz="1200" dirty="0">
                <a:solidFill>
                  <a:schemeClr val="tx1"/>
                </a:solidFill>
              </a:endParaRPr>
            </a:p>
          </p:txBody>
        </p:sp>
        <p:sp>
          <p:nvSpPr>
            <p:cNvPr id="3" name="Rectangle 2">
              <a:extLst>
                <a:ext uri="{FF2B5EF4-FFF2-40B4-BE49-F238E27FC236}">
                  <a16:creationId xmlns:a16="http://schemas.microsoft.com/office/drawing/2014/main" id="{8BCFC1FC-BD1D-513E-8E64-B1AB429C3695}"/>
                </a:ext>
              </a:extLst>
            </p:cNvPr>
            <p:cNvSpPr/>
            <p:nvPr/>
          </p:nvSpPr>
          <p:spPr>
            <a:xfrm>
              <a:off x="131106" y="2571640"/>
              <a:ext cx="2705823" cy="514976"/>
            </a:xfrm>
            <a:prstGeom prst="rect">
              <a:avLst/>
            </a:prstGeom>
            <a:ln>
              <a:solidFill>
                <a:schemeClr val="accent6"/>
              </a:solidFill>
            </a:ln>
          </p:spPr>
          <p:style>
            <a:lnRef idx="2">
              <a:schemeClr val="accent6">
                <a:shade val="15000"/>
              </a:schemeClr>
            </a:lnRef>
            <a:fillRef idx="1">
              <a:schemeClr val="accent6"/>
            </a:fillRef>
            <a:effectRef idx="0">
              <a:schemeClr val="accent6"/>
            </a:effectRef>
            <a:fontRef idx="minor">
              <a:schemeClr val="lt1"/>
            </a:fontRef>
          </p:style>
          <p:txBody>
            <a:bodyPr vert="horz" lIns="37512" tIns="37512" rIns="37512" bIns="37512" rtlCol="0" anchor="ctr">
              <a:noAutofit/>
            </a:bodyPr>
            <a:lstStyle/>
            <a:p>
              <a:pPr algn="ctr">
                <a:spcBef>
                  <a:spcPts val="156"/>
                </a:spcBef>
                <a:spcAft>
                  <a:spcPts val="156"/>
                </a:spcAft>
                <a:buSzPct val="80000"/>
              </a:pPr>
              <a:r>
                <a:rPr lang="lv-LV" sz="1200" b="1" dirty="0">
                  <a:solidFill>
                    <a:schemeClr val="bg1"/>
                  </a:solidFill>
                </a:rPr>
                <a:t>Iesaistītās puses</a:t>
              </a:r>
              <a:endParaRPr lang="en-GB" sz="1200" b="1" dirty="0" err="1">
                <a:solidFill>
                  <a:schemeClr val="bg1"/>
                </a:solidFill>
              </a:endParaRPr>
            </a:p>
          </p:txBody>
        </p:sp>
      </p:grpSp>
      <p:sp>
        <p:nvSpPr>
          <p:cNvPr id="10" name="Title 1">
            <a:extLst>
              <a:ext uri="{FF2B5EF4-FFF2-40B4-BE49-F238E27FC236}">
                <a16:creationId xmlns:a16="http://schemas.microsoft.com/office/drawing/2014/main" id="{5EE434AA-58EC-6B57-ADD9-CDD1F6C2268B}"/>
              </a:ext>
            </a:extLst>
          </p:cNvPr>
          <p:cNvSpPr>
            <a:spLocks noGrp="1"/>
          </p:cNvSpPr>
          <p:nvPr>
            <p:ph type="title"/>
          </p:nvPr>
        </p:nvSpPr>
        <p:spPr>
          <a:xfrm>
            <a:off x="263526" y="473812"/>
            <a:ext cx="11664950" cy="827621"/>
          </a:xfrm>
        </p:spPr>
        <p:txBody>
          <a:bodyPr vert="horz" rIns="0"/>
          <a:lstStyle/>
          <a:p>
            <a:r>
              <a:rPr lang="lv-LV" dirty="0"/>
              <a:t>Novērtējuma pamatā ir rekonstruēts intervences loģiskais modelis</a:t>
            </a:r>
            <a:endParaRPr lang="en-GB" dirty="0"/>
          </a:p>
        </p:txBody>
      </p:sp>
    </p:spTree>
    <p:extLst>
      <p:ext uri="{BB962C8B-B14F-4D97-AF65-F5344CB8AC3E}">
        <p14:creationId xmlns:p14="http://schemas.microsoft.com/office/powerpoint/2010/main" val="419998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FCC47-2B2D-FB29-635B-B69F2D15D52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FED9A1-36EC-B5C0-3489-5F0FE16D00F9}"/>
              </a:ext>
            </a:extLst>
          </p:cNvPr>
          <p:cNvGraphicFramePr>
            <a:graphicFrameLocks/>
          </p:cNvGraphicFramePr>
          <p:nvPr>
            <p:custDataLst>
              <p:tags r:id="rId1"/>
            </p:custDataLst>
            <p:extLst>
              <p:ext uri="{D42A27DB-BD31-4B8C-83A1-F6EECF244321}">
                <p14:modId xmlns:p14="http://schemas.microsoft.com/office/powerpoint/2010/main" val="4286882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5FFED9A1-36EC-B5C0-3489-5F0FE16D00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F005C3-D5CB-8B6D-B26F-8E5C902624FB}"/>
              </a:ext>
            </a:extLst>
          </p:cNvPr>
          <p:cNvSpPr>
            <a:spLocks noGrp="1"/>
          </p:cNvSpPr>
          <p:nvPr>
            <p:ph type="ctrTitle"/>
          </p:nvPr>
        </p:nvSpPr>
        <p:spPr/>
        <p:txBody>
          <a:bodyPr vert="horz" rIns="0"/>
          <a:lstStyle/>
          <a:p>
            <a:r>
              <a:rPr lang="lv-LV" dirty="0"/>
              <a:t>Valsts aizsardzības mācības ietekme un atbilstība mērķim</a:t>
            </a:r>
            <a:endParaRPr lang="en-EE"/>
          </a:p>
        </p:txBody>
      </p:sp>
    </p:spTree>
    <p:extLst>
      <p:ext uri="{BB962C8B-B14F-4D97-AF65-F5344CB8AC3E}">
        <p14:creationId xmlns:p14="http://schemas.microsoft.com/office/powerpoint/2010/main" val="26957005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95C9C-693C-13EB-A6B6-1376E8DF13F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F3BC85-40DF-0B5F-C084-BD6F59205865}"/>
              </a:ext>
            </a:extLst>
          </p:cNvPr>
          <p:cNvGraphicFramePr>
            <a:graphicFrameLocks/>
          </p:cNvGraphicFramePr>
          <p:nvPr>
            <p:custDataLst>
              <p:tags r:id="rId1"/>
            </p:custDataLst>
            <p:extLst>
              <p:ext uri="{D42A27DB-BD31-4B8C-83A1-F6EECF244321}">
                <p14:modId xmlns:p14="http://schemas.microsoft.com/office/powerpoint/2010/main" val="4176199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F3F3BC85-40DF-0B5F-C084-BD6F592058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5EFAF3-3C64-1BF2-A6B1-48DC5776C3E8}"/>
              </a:ext>
            </a:extLst>
          </p:cNvPr>
          <p:cNvSpPr>
            <a:spLocks noGrp="1"/>
          </p:cNvSpPr>
          <p:nvPr>
            <p:ph type="title"/>
          </p:nvPr>
        </p:nvSpPr>
        <p:spPr/>
        <p:txBody>
          <a:bodyPr vert="horz" rIns="0"/>
          <a:lstStyle/>
          <a:p>
            <a:r>
              <a:rPr lang="lv-LV" noProof="1"/>
              <a:t>Valsts aizsardzības mācības programmas ietekme uz mērķa grupu</a:t>
            </a:r>
          </a:p>
        </p:txBody>
      </p:sp>
      <p:sp>
        <p:nvSpPr>
          <p:cNvPr id="3" name="Content Placeholder 2">
            <a:extLst>
              <a:ext uri="{FF2B5EF4-FFF2-40B4-BE49-F238E27FC236}">
                <a16:creationId xmlns:a16="http://schemas.microsoft.com/office/drawing/2014/main" id="{B9F40554-A4CA-863C-298E-E56FA6486634}"/>
              </a:ext>
            </a:extLst>
          </p:cNvPr>
          <p:cNvSpPr>
            <a:spLocks noGrp="1"/>
          </p:cNvSpPr>
          <p:nvPr>
            <p:ph idx="1"/>
          </p:nvPr>
        </p:nvSpPr>
        <p:spPr>
          <a:xfrm>
            <a:off x="224926" y="1777353"/>
            <a:ext cx="6016673" cy="4585426"/>
          </a:xfrm>
        </p:spPr>
        <p:txBody>
          <a:bodyPr/>
          <a:lstStyle/>
          <a:p>
            <a:pPr algn="just"/>
            <a:r>
              <a:rPr lang="lv-LV" sz="1300" dirty="0"/>
              <a:t>VAM sasniedz savu pamatmērķi – veicināt jauniešu zināšanas, prasmes un attieksmes valsts aizsardzības un pilsoniskās atbildības jomā</a:t>
            </a:r>
            <a:endParaRPr lang="lv-LV" sz="1300" noProof="1"/>
          </a:p>
          <a:p>
            <a:pPr algn="just"/>
            <a:r>
              <a:rPr lang="lv-LV" sz="1300" dirty="0"/>
              <a:t>77 % jauniešu iegūtās zināšanas un prasmes vērtē kā noderīgas, īpaši izceļot disciplīnu, sadarbības prasmes, kā arī praktiskās iemaņas, tostarp orientēšanos, lauka kaujas un šaušanas prasmes</a:t>
            </a:r>
          </a:p>
          <a:p>
            <a:r>
              <a:rPr lang="lv-LV" sz="1300" dirty="0"/>
              <a:t>VAM vislabāk nodrošina militāri praktisko iemaņu apguvi. Vājāk attīstītas jomas ir pilsoniskā līdzdalība un mūsdienu tehnoloģijas (piemēram, </a:t>
            </a:r>
            <a:r>
              <a:rPr lang="lv-LV" sz="1300" dirty="0" err="1"/>
              <a:t>dronu</a:t>
            </a:r>
            <a:r>
              <a:rPr lang="lv-LV" sz="1300" dirty="0"/>
              <a:t> izmantošanas, apguve)</a:t>
            </a:r>
          </a:p>
          <a:p>
            <a:pPr algn="just"/>
            <a:r>
              <a:rPr lang="lv-LV" sz="1300" dirty="0"/>
              <a:t>Augstāki vērtējumi biežāk novērojami jauniešiem no reģioniem (īpaši Zemgales un Kurzemes), lauku teritorijām, kā arī tiem, kuru dzimtā valoda ir latviešu. Zemāki rādītāji raksturīgi Rīgas reģionam un rusofonajiem jauniešiem</a:t>
            </a:r>
            <a:endParaRPr lang="en-LV" sz="1300" dirty="0"/>
          </a:p>
          <a:p>
            <a:pPr algn="just"/>
            <a:r>
              <a:rPr lang="lv-LV" sz="1300" dirty="0"/>
              <a:t>76 % jauniešu lepojas ar Latvijas pilsonību un 68 % piekrīt, ka pilsoņa pienākums ir aizsargāt valsti. Tomēr VAM vairāk stiprina jau esošās attieksmes, nekā būtiski tās transformē</a:t>
            </a:r>
            <a:endParaRPr lang="en-LV" sz="1300" dirty="0"/>
          </a:p>
          <a:p>
            <a:pPr algn="just"/>
            <a:r>
              <a:rPr lang="lv-LV" sz="1300" dirty="0"/>
              <a:t>Ietekme uz uzvedību un nākotnes izvēlēm ir ierobežotāka. Vislielākā ietekme novērojama attiecībā uz fizisko sagatavotību (48 % jaunieši norāda, ka par to domā biežāk), bet izmaiņas pilsoniskajā līdzdalībā vai karjeras izvēlēs ir mazāk izteiktas. Vairāk nekā pusei jauniešu attieksme šajos jautājumos pēc VAM apguves nav mainījusies</a:t>
            </a:r>
            <a:endParaRPr lang="lv-LV" sz="1300" noProof="1"/>
          </a:p>
        </p:txBody>
      </p:sp>
      <p:sp>
        <p:nvSpPr>
          <p:cNvPr id="13" name="Content Placeholder 12">
            <a:extLst>
              <a:ext uri="{FF2B5EF4-FFF2-40B4-BE49-F238E27FC236}">
                <a16:creationId xmlns:a16="http://schemas.microsoft.com/office/drawing/2014/main" id="{9B8226AA-F57B-9413-400F-C3A6178A94DE}"/>
              </a:ext>
            </a:extLst>
          </p:cNvPr>
          <p:cNvSpPr>
            <a:spLocks noGrp="1"/>
          </p:cNvSpPr>
          <p:nvPr>
            <p:ph idx="16"/>
          </p:nvPr>
        </p:nvSpPr>
        <p:spPr>
          <a:xfrm>
            <a:off x="6521001" y="1255616"/>
            <a:ext cx="5579871" cy="198438"/>
          </a:xfrm>
        </p:spPr>
        <p:txBody>
          <a:bodyPr/>
          <a:lstStyle/>
          <a:p>
            <a:pPr marL="0" indent="0">
              <a:buNone/>
            </a:pPr>
            <a:r>
              <a:rPr lang="lv-LV" sz="1300" b="1" dirty="0">
                <a:solidFill>
                  <a:schemeClr val="accent6"/>
                </a:solidFill>
              </a:rPr>
              <a:t>Jauniešu vērtējums par zināšanām un prasmēm, kas iegūtas VAM, %</a:t>
            </a:r>
            <a:r>
              <a:rPr lang="en-LV" sz="1300" b="1" dirty="0">
                <a:solidFill>
                  <a:schemeClr val="accent6"/>
                </a:solidFill>
              </a:rPr>
              <a:t> </a:t>
            </a:r>
            <a:endParaRPr lang="lv-LV" sz="1300" b="1" noProof="1">
              <a:solidFill>
                <a:schemeClr val="accent6"/>
              </a:solidFill>
            </a:endParaRPr>
          </a:p>
        </p:txBody>
      </p:sp>
      <p:graphicFrame>
        <p:nvGraphicFramePr>
          <p:cNvPr id="80" name="Chart 79">
            <a:extLst>
              <a:ext uri="{FF2B5EF4-FFF2-40B4-BE49-F238E27FC236}">
                <a16:creationId xmlns:a16="http://schemas.microsoft.com/office/drawing/2014/main" id="{98DA277F-938F-B2B1-74E7-00BDCD420720}"/>
              </a:ext>
            </a:extLst>
          </p:cNvPr>
          <p:cNvGraphicFramePr/>
          <p:nvPr>
            <p:extLst>
              <p:ext uri="{D42A27DB-BD31-4B8C-83A1-F6EECF244321}">
                <p14:modId xmlns:p14="http://schemas.microsoft.com/office/powerpoint/2010/main" val="2135381901"/>
              </p:ext>
            </p:extLst>
          </p:nvPr>
        </p:nvGraphicFramePr>
        <p:xfrm>
          <a:off x="6241601" y="1673141"/>
          <a:ext cx="5725472" cy="2809650"/>
        </p:xfrm>
        <a:graphic>
          <a:graphicData uri="http://schemas.openxmlformats.org/drawingml/2006/chart">
            <c:chart xmlns:c="http://schemas.openxmlformats.org/drawingml/2006/chart" xmlns:r="http://schemas.openxmlformats.org/officeDocument/2006/relationships" r:id="rId6"/>
          </a:graphicData>
        </a:graphic>
      </p:graphicFrame>
      <p:sp>
        <p:nvSpPr>
          <p:cNvPr id="81" name="TextBox 80">
            <a:extLst>
              <a:ext uri="{FF2B5EF4-FFF2-40B4-BE49-F238E27FC236}">
                <a16:creationId xmlns:a16="http://schemas.microsoft.com/office/drawing/2014/main" id="{944E02BB-DB59-D071-8AE4-D9446818F0DE}"/>
              </a:ext>
            </a:extLst>
          </p:cNvPr>
          <p:cNvSpPr txBox="1"/>
          <p:nvPr/>
        </p:nvSpPr>
        <p:spPr>
          <a:xfrm>
            <a:off x="224925" y="1028700"/>
            <a:ext cx="6016675" cy="587595"/>
          </a:xfrm>
          <a:prstGeom prst="rect">
            <a:avLst/>
          </a:prstGeom>
          <a:solidFill>
            <a:schemeClr val="accent6">
              <a:lumMod val="20000"/>
              <a:lumOff val="80000"/>
            </a:schemeClr>
          </a:solidFill>
          <a:ln>
            <a:noFill/>
          </a:ln>
        </p:spPr>
        <p:txBody>
          <a:bodyPr vert="horz" wrap="square" lIns="0" tIns="0" rIns="0" bIns="0" rtlCol="0" anchor="b">
            <a:noAutofit/>
          </a:bodyPr>
          <a:lstStyle/>
          <a:p>
            <a:pPr marR="0" defTabSz="914400" rtl="0" eaLnBrk="1" fontAlgn="auto" latinLnBrk="0" hangingPunct="1">
              <a:lnSpc>
                <a:spcPct val="100000"/>
              </a:lnSpc>
              <a:spcBef>
                <a:spcPts val="300"/>
              </a:spcBef>
              <a:spcAft>
                <a:spcPts val="300"/>
              </a:spcAft>
              <a:buClrTx/>
              <a:buSzPct val="80000"/>
              <a:tabLst/>
            </a:pPr>
            <a:r>
              <a:rPr kumimoji="0" lang="en-GB" sz="1400" b="1" i="0" u="none" strike="noStrike" kern="1200" cap="none" spc="0" normalizeH="0" baseline="0" noProof="0" dirty="0">
                <a:ln>
                  <a:noFill/>
                </a:ln>
                <a:solidFill>
                  <a:srgbClr val="000000"/>
                </a:solidFill>
                <a:effectLst/>
                <a:uLnTx/>
                <a:uFillTx/>
                <a:latin typeface="Arial"/>
                <a:ea typeface="+mn-ea"/>
                <a:cs typeface="Arial"/>
              </a:rPr>
              <a:t>  GALVENIE SECINĀJUMI</a:t>
            </a:r>
          </a:p>
          <a:p>
            <a:pPr marR="0" defTabSz="914400" rtl="0" eaLnBrk="1" fontAlgn="auto" latinLnBrk="0" hangingPunct="1">
              <a:lnSpc>
                <a:spcPct val="100000"/>
              </a:lnSpc>
              <a:spcBef>
                <a:spcPts val="300"/>
              </a:spcBef>
              <a:spcAft>
                <a:spcPts val="300"/>
              </a:spcAft>
              <a:buClrTx/>
              <a:buSzPct val="80000"/>
              <a:tabLst/>
            </a:pPr>
            <a:endParaRPr kumimoji="0" lang="en-GB" sz="1400" b="1" i="0" u="none" strike="noStrike" kern="1200" cap="none" spc="0" normalizeH="0" baseline="0" noProof="0" dirty="0" err="1">
              <a:ln>
                <a:noFill/>
              </a:ln>
              <a:solidFill>
                <a:srgbClr val="000000"/>
              </a:solidFill>
              <a:effectLst/>
              <a:uLnTx/>
              <a:uFillTx/>
              <a:latin typeface="Arial"/>
              <a:ea typeface="+mn-ea"/>
              <a:cs typeface="Arial"/>
            </a:endParaRPr>
          </a:p>
        </p:txBody>
      </p:sp>
      <p:sp>
        <p:nvSpPr>
          <p:cNvPr id="89" name="TextBox 88">
            <a:extLst>
              <a:ext uri="{FF2B5EF4-FFF2-40B4-BE49-F238E27FC236}">
                <a16:creationId xmlns:a16="http://schemas.microsoft.com/office/drawing/2014/main" id="{E26CC96E-8F7E-BD9A-7693-1FF09663E6D6}"/>
              </a:ext>
            </a:extLst>
          </p:cNvPr>
          <p:cNvSpPr txBox="1"/>
          <p:nvPr/>
        </p:nvSpPr>
        <p:spPr>
          <a:xfrm>
            <a:off x="6665339" y="5467154"/>
            <a:ext cx="5056414" cy="270459"/>
          </a:xfrm>
          <a:prstGeom prst="rect">
            <a:avLst/>
          </a:prstGeom>
          <a:noFill/>
        </p:spPr>
        <p:txBody>
          <a:bodyPr wrap="square">
            <a:spAutoFit/>
          </a:bodyPr>
          <a:lstStyle/>
          <a:p>
            <a:pPr>
              <a:lnSpc>
                <a:spcPct val="115000"/>
              </a:lnSpc>
              <a:spcBef>
                <a:spcPts val="300"/>
              </a:spcBef>
              <a:spcAft>
                <a:spcPts val="300"/>
              </a:spcAft>
              <a:buNone/>
            </a:pP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Avots: </a:t>
            </a:r>
            <a:r>
              <a:rPr lang="lv-LV" sz="1100" i="1" kern="100" dirty="0" err="1">
                <a:solidFill>
                  <a:srgbClr val="737373"/>
                </a:solidFill>
                <a:effectLst/>
                <a:latin typeface="Arial" panose="020B0604020202020204" pitchFamily="34" charset="0"/>
                <a:ea typeface="Arial" panose="020B0604020202020204" pitchFamily="34" charset="0"/>
                <a:cs typeface="Arial" panose="020B0604020202020204" pitchFamily="34" charset="0"/>
              </a:rPr>
              <a:t>Civitta</a:t>
            </a: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 veiktā jauniešu aptauja par VAM, </a:t>
            </a:r>
            <a:r>
              <a:rPr lang="lv-LV" sz="1100" i="1" kern="100" dirty="0" err="1">
                <a:solidFill>
                  <a:srgbClr val="737373"/>
                </a:solidFill>
                <a:effectLst/>
                <a:latin typeface="Arial" panose="020B0604020202020204" pitchFamily="34" charset="0"/>
                <a:ea typeface="Arial" panose="020B0604020202020204" pitchFamily="34" charset="0"/>
                <a:cs typeface="Arial" panose="020B0604020202020204" pitchFamily="34" charset="0"/>
              </a:rPr>
              <a:t>N</a:t>
            </a: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2205</a:t>
            </a:r>
            <a:endParaRPr lang="en-LV" sz="1100" kern="100" dirty="0">
              <a:effectLst/>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540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EAA96-4786-C547-F467-5F497AECFE0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21FE3C5-63F2-6DF4-77B7-12340E1464AB}"/>
              </a:ext>
            </a:extLst>
          </p:cNvPr>
          <p:cNvGraphicFramePr>
            <a:graphicFrameLocks/>
          </p:cNvGraphicFramePr>
          <p:nvPr>
            <p:custDataLst>
              <p:tags r:id="rId1"/>
            </p:custDataLst>
            <p:extLst>
              <p:ext uri="{D42A27DB-BD31-4B8C-83A1-F6EECF244321}">
                <p14:modId xmlns:p14="http://schemas.microsoft.com/office/powerpoint/2010/main" val="2845341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921FE3C5-63F2-6DF4-77B7-12340E1464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5B10AF-B428-1AD9-C86E-347EA650BDC3}"/>
              </a:ext>
            </a:extLst>
          </p:cNvPr>
          <p:cNvSpPr>
            <a:spLocks noGrp="1"/>
          </p:cNvSpPr>
          <p:nvPr>
            <p:ph type="title"/>
          </p:nvPr>
        </p:nvSpPr>
        <p:spPr>
          <a:xfrm>
            <a:off x="263526" y="295072"/>
            <a:ext cx="11664950" cy="512760"/>
          </a:xfrm>
        </p:spPr>
        <p:txBody>
          <a:bodyPr vert="horz" rIns="0"/>
          <a:lstStyle/>
          <a:p>
            <a:r>
              <a:rPr lang="lv-LV" noProof="1"/>
              <a:t>Valsts aizsardzības mācības programmas atbilstība likuma un programmas mērķim</a:t>
            </a:r>
          </a:p>
        </p:txBody>
      </p:sp>
      <p:sp>
        <p:nvSpPr>
          <p:cNvPr id="3" name="Content Placeholder 2">
            <a:extLst>
              <a:ext uri="{FF2B5EF4-FFF2-40B4-BE49-F238E27FC236}">
                <a16:creationId xmlns:a16="http://schemas.microsoft.com/office/drawing/2014/main" id="{2806AE74-F4BA-0792-578E-43DA67AAECB3}"/>
              </a:ext>
            </a:extLst>
          </p:cNvPr>
          <p:cNvSpPr>
            <a:spLocks noGrp="1"/>
          </p:cNvSpPr>
          <p:nvPr>
            <p:ph idx="1"/>
          </p:nvPr>
        </p:nvSpPr>
        <p:spPr>
          <a:xfrm>
            <a:off x="224925" y="1670519"/>
            <a:ext cx="5375775" cy="4585426"/>
          </a:xfrm>
        </p:spPr>
        <p:txBody>
          <a:bodyPr/>
          <a:lstStyle/>
          <a:p>
            <a:pPr algn="just"/>
            <a:r>
              <a:rPr lang="lv-LV" sz="1300" dirty="0"/>
              <a:t>Likumā un izglītības programmā noteiktais mērķis tiek sasniegts militāro prasmju apguves dimensijā, tomēr pastāv būtiska satura disproporcija – militārajam saturam atvēlētas 102 stundas, savukārt pilsoniskajai līdzdalībai tikai 6 stundas un krīzes situāciju rīcībspējai 4 stundas, kas ierobežo aktīva, rīcībspējīga un pilsoniski apzinīga jaunieša veidošanu</a:t>
            </a:r>
          </a:p>
          <a:p>
            <a:pPr algn="just"/>
            <a:r>
              <a:rPr lang="lv-LV" sz="1300" dirty="0"/>
              <a:t>Programma strukturāli ir labi izstrādāta – mērķi un uzdevumi ir loģiski sasaistīti ar saturu, organizēti skaidros moduļos un </a:t>
            </a:r>
            <a:r>
              <a:rPr lang="lv-LV" sz="1300" dirty="0" err="1"/>
              <a:t>apakšmoduļos</a:t>
            </a:r>
            <a:r>
              <a:rPr lang="lv-LV" sz="1300" dirty="0"/>
              <a:t> ar definētiem sasniedzamajiem rezultātiem</a:t>
            </a:r>
          </a:p>
          <a:p>
            <a:pPr algn="just"/>
            <a:r>
              <a:rPr lang="lv-LV" sz="1300" dirty="0"/>
              <a:t>Jaunieši ar latviešu dzimto valodu  raksturīga augstāka izpratne par pilsoņa lomu valsts aizsardzībā, savukārt skolēniem ar citu dzimto valodu biežāk konstatējamas valodas barjeras un zemāka programmas mērķu izpratne</a:t>
            </a:r>
            <a:endParaRPr lang="lv-LV" sz="1300" noProof="1"/>
          </a:p>
          <a:p>
            <a:pPr algn="just"/>
            <a:r>
              <a:rPr lang="lv-LV" sz="1300" dirty="0"/>
              <a:t>Nodarbību organizācijas formāts  – viena mācību diena mēnesī divu gadu garumā – ierobežo zināšanu sistemātisku nostiprināšanu, rada pārtraukumus mācību procesā un apgrūtina ilgtermiņa ieradumu un attieksmju veidošanos</a:t>
            </a:r>
          </a:p>
          <a:p>
            <a:pPr algn="just"/>
            <a:r>
              <a:rPr lang="lv-LV" sz="1300" dirty="0"/>
              <a:t>Programmas efektivitāti papildus ietekmē metodiskie un organizatoriskie aspekti – jaunsargu instruktoru iespējas pielāgot mācību saturu (piemēram, atbilstoši laika apstākļiem), infrastruktūras ierobežojumi un zema nometņu apmeklētība, kas samazina iespējas nostiprināt praktiskās iemaņas </a:t>
            </a:r>
            <a:endParaRPr lang="lv-LV" sz="1300" noProof="1"/>
          </a:p>
        </p:txBody>
      </p:sp>
      <p:sp>
        <p:nvSpPr>
          <p:cNvPr id="13" name="Content Placeholder 12">
            <a:extLst>
              <a:ext uri="{FF2B5EF4-FFF2-40B4-BE49-F238E27FC236}">
                <a16:creationId xmlns:a16="http://schemas.microsoft.com/office/drawing/2014/main" id="{32D35D1C-1682-ED64-7D4A-9C7CF4875387}"/>
              </a:ext>
            </a:extLst>
          </p:cNvPr>
          <p:cNvSpPr>
            <a:spLocks noGrp="1"/>
          </p:cNvSpPr>
          <p:nvPr>
            <p:ph idx="16"/>
          </p:nvPr>
        </p:nvSpPr>
        <p:spPr>
          <a:xfrm>
            <a:off x="6241601" y="1264053"/>
            <a:ext cx="5579871" cy="198438"/>
          </a:xfrm>
        </p:spPr>
        <p:txBody>
          <a:bodyPr/>
          <a:lstStyle/>
          <a:p>
            <a:pPr marL="0" indent="0">
              <a:buNone/>
            </a:pPr>
            <a:r>
              <a:rPr lang="lv-LV" sz="1300" b="1" dirty="0">
                <a:solidFill>
                  <a:schemeClr val="accent6"/>
                </a:solidFill>
              </a:rPr>
              <a:t>Jauniešu vērtējums par zināšanām un prasmēm, kas iegūtas VAM, %</a:t>
            </a:r>
            <a:r>
              <a:rPr lang="en-LV" sz="1300" b="1" dirty="0">
                <a:solidFill>
                  <a:schemeClr val="accent6"/>
                </a:solidFill>
              </a:rPr>
              <a:t> </a:t>
            </a:r>
            <a:endParaRPr lang="lv-LV" sz="1300" b="1" noProof="1">
              <a:solidFill>
                <a:schemeClr val="accent6"/>
              </a:solidFill>
            </a:endParaRPr>
          </a:p>
        </p:txBody>
      </p:sp>
      <p:sp>
        <p:nvSpPr>
          <p:cNvPr id="4" name="TextBox 3">
            <a:extLst>
              <a:ext uri="{FF2B5EF4-FFF2-40B4-BE49-F238E27FC236}">
                <a16:creationId xmlns:a16="http://schemas.microsoft.com/office/drawing/2014/main" id="{97285718-5007-D632-148E-9B73F82DECFD}"/>
              </a:ext>
            </a:extLst>
          </p:cNvPr>
          <p:cNvSpPr txBox="1"/>
          <p:nvPr/>
        </p:nvSpPr>
        <p:spPr>
          <a:xfrm>
            <a:off x="9084039" y="3732551"/>
            <a:ext cx="0" cy="0"/>
          </a:xfrm>
          <a:prstGeom prst="rect">
            <a:avLst/>
          </a:prstGeom>
        </p:spPr>
        <p:txBody>
          <a:bodyPr vert="horz" wrap="none" lIns="0" tIns="0" rIns="0" bIns="0" rtlCol="0">
            <a:noAutofit/>
          </a:bodyPr>
          <a:lstStyle/>
          <a:p>
            <a: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pPr>
            <a:endParaRPr kumimoji="0" lang="en-GB" sz="1200" b="0" i="0" u="none" strike="noStrike" kern="1200" cap="none" spc="0" normalizeH="0" baseline="0" noProof="0" dirty="0" err="1">
              <a:ln>
                <a:noFill/>
              </a:ln>
              <a:solidFill>
                <a:srgbClr val="000000"/>
              </a:solidFill>
              <a:effectLst/>
              <a:uLnTx/>
              <a:uFillTx/>
              <a:latin typeface="Arial"/>
              <a:ea typeface="+mn-ea"/>
              <a:cs typeface="Arial"/>
            </a:endParaRPr>
          </a:p>
        </p:txBody>
      </p:sp>
      <p:graphicFrame>
        <p:nvGraphicFramePr>
          <p:cNvPr id="7" name="Chart 6">
            <a:extLst>
              <a:ext uri="{FF2B5EF4-FFF2-40B4-BE49-F238E27FC236}">
                <a16:creationId xmlns:a16="http://schemas.microsoft.com/office/drawing/2014/main" id="{7D3BF934-887D-1CAC-90A3-DF1525AA701D}"/>
              </a:ext>
            </a:extLst>
          </p:cNvPr>
          <p:cNvGraphicFramePr/>
          <p:nvPr>
            <p:extLst>
              <p:ext uri="{D42A27DB-BD31-4B8C-83A1-F6EECF244321}">
                <p14:modId xmlns:p14="http://schemas.microsoft.com/office/powerpoint/2010/main" val="380894843"/>
              </p:ext>
            </p:extLst>
          </p:nvPr>
        </p:nvGraphicFramePr>
        <p:xfrm>
          <a:off x="5600700" y="1519298"/>
          <a:ext cx="6464300" cy="4585426"/>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89C20ECA-CE2D-8C68-14C1-14F278FC8AD1}"/>
              </a:ext>
            </a:extLst>
          </p:cNvPr>
          <p:cNvSpPr txBox="1"/>
          <p:nvPr/>
        </p:nvSpPr>
        <p:spPr>
          <a:xfrm>
            <a:off x="5945149" y="6232767"/>
            <a:ext cx="5056414" cy="270459"/>
          </a:xfrm>
          <a:prstGeom prst="rect">
            <a:avLst/>
          </a:prstGeom>
          <a:noFill/>
        </p:spPr>
        <p:txBody>
          <a:bodyPr wrap="square">
            <a:spAutoFit/>
          </a:bodyPr>
          <a:lstStyle/>
          <a:p>
            <a:pPr>
              <a:lnSpc>
                <a:spcPct val="115000"/>
              </a:lnSpc>
              <a:spcBef>
                <a:spcPts val="300"/>
              </a:spcBef>
              <a:spcAft>
                <a:spcPts val="300"/>
              </a:spcAft>
              <a:buNone/>
            </a:pPr>
            <a:r>
              <a:rPr lang="lv-LV" sz="1100" i="1" kern="100" dirty="0">
                <a:solidFill>
                  <a:srgbClr val="737373"/>
                </a:solidFill>
                <a:effectLst/>
                <a:latin typeface="Arial" panose="020B0604020202020204" pitchFamily="34" charset="0"/>
                <a:ea typeface="Arial" panose="020B0604020202020204" pitchFamily="34" charset="0"/>
                <a:cs typeface="Arial" panose="020B0604020202020204" pitchFamily="34" charset="0"/>
              </a:rPr>
              <a:t>Avots: Civitta veiktā jauniešu aptauja par VAM, N=2205</a:t>
            </a:r>
            <a:endParaRPr lang="en-LV" sz="1100" kern="100" dirty="0">
              <a:effectLst/>
              <a:latin typeface="Arial" panose="020B0604020202020204" pitchFamily="34" charset="0"/>
              <a:ea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1AE95CA7-3530-211A-79F3-E798E1AB1F9F}"/>
              </a:ext>
            </a:extLst>
          </p:cNvPr>
          <p:cNvSpPr txBox="1"/>
          <p:nvPr/>
        </p:nvSpPr>
        <p:spPr>
          <a:xfrm>
            <a:off x="224927" y="971522"/>
            <a:ext cx="5375774" cy="587595"/>
          </a:xfrm>
          <a:prstGeom prst="rect">
            <a:avLst/>
          </a:prstGeom>
          <a:solidFill>
            <a:schemeClr val="accent6">
              <a:lumMod val="20000"/>
              <a:lumOff val="80000"/>
            </a:schemeClr>
          </a:solidFill>
          <a:ln>
            <a:noFill/>
          </a:ln>
        </p:spPr>
        <p:txBody>
          <a:bodyPr vert="horz" wrap="square" lIns="0" tIns="0" rIns="0" bIns="0" rtlCol="0" anchor="b">
            <a:noAutofit/>
          </a:bodyPr>
          <a:lstStyle/>
          <a:p>
            <a:pPr marR="0" defTabSz="914400" rtl="0" eaLnBrk="1" fontAlgn="auto" latinLnBrk="0" hangingPunct="1">
              <a:lnSpc>
                <a:spcPct val="100000"/>
              </a:lnSpc>
              <a:spcBef>
                <a:spcPts val="300"/>
              </a:spcBef>
              <a:spcAft>
                <a:spcPts val="300"/>
              </a:spcAft>
              <a:buClrTx/>
              <a:buSzPct val="80000"/>
              <a:tabLst/>
            </a:pPr>
            <a:r>
              <a:rPr kumimoji="0" lang="en-GB" sz="1400" b="1" i="0" u="none" strike="noStrike" kern="1200" cap="none" spc="0" normalizeH="0" baseline="0" noProof="0" dirty="0">
                <a:ln>
                  <a:noFill/>
                </a:ln>
                <a:solidFill>
                  <a:srgbClr val="000000"/>
                </a:solidFill>
                <a:effectLst/>
                <a:uLnTx/>
                <a:uFillTx/>
                <a:latin typeface="Arial"/>
                <a:ea typeface="+mn-ea"/>
                <a:cs typeface="Arial"/>
              </a:rPr>
              <a:t>  GALVENIE SECINĀJUMI</a:t>
            </a:r>
          </a:p>
          <a:p>
            <a:pPr marR="0" defTabSz="914400" rtl="0" eaLnBrk="1" fontAlgn="auto" latinLnBrk="0" hangingPunct="1">
              <a:lnSpc>
                <a:spcPct val="100000"/>
              </a:lnSpc>
              <a:spcBef>
                <a:spcPts val="300"/>
              </a:spcBef>
              <a:spcAft>
                <a:spcPts val="300"/>
              </a:spcAft>
              <a:buClrTx/>
              <a:buSzPct val="80000"/>
              <a:tabLst/>
            </a:pPr>
            <a:endParaRPr kumimoji="0" lang="en-GB" sz="1400" b="1" i="0" u="none" strike="noStrike" kern="1200" cap="none" spc="0" normalizeH="0" baseline="0" noProof="0" dirty="0" err="1">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2747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9CAF2-A044-7133-1A51-9E096D2868B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FE8B4F-A0AE-0A9A-1F31-7CC2FCAA6F45}"/>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C5FE8B4F-A0AE-0A9A-1F31-7CC2FCAA6F4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B62848-8221-AB73-8EDE-38A6A793BE13}"/>
              </a:ext>
            </a:extLst>
          </p:cNvPr>
          <p:cNvSpPr>
            <a:spLocks noGrp="1"/>
          </p:cNvSpPr>
          <p:nvPr>
            <p:ph type="ctrTitle"/>
          </p:nvPr>
        </p:nvSpPr>
        <p:spPr/>
        <p:txBody>
          <a:bodyPr vert="horz" rIns="0"/>
          <a:lstStyle/>
          <a:p>
            <a:r>
              <a:rPr lang="lv-LV" dirty="0"/>
              <a:t>Jaunsardzes interešu izglītības programmas ietekme un atbilstība mērķim</a:t>
            </a:r>
            <a:endParaRPr lang="en-EE"/>
          </a:p>
        </p:txBody>
      </p:sp>
    </p:spTree>
    <p:extLst>
      <p:ext uri="{BB962C8B-B14F-4D97-AF65-F5344CB8AC3E}">
        <p14:creationId xmlns:p14="http://schemas.microsoft.com/office/powerpoint/2010/main" val="19924861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32687&quot;&gt;&lt;version val=&quot;38645&quot;/&gt;&lt;CPresentation id=&quot;1&quot;&gt;&lt;m_precDefaultOrdinal&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re White">
  <a:themeElements>
    <a:clrScheme name="Custom 1">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55348127-4ABC-2A4E-AB31-3C046F80551B}"/>
    </a:ext>
  </a:extLst>
</a:theme>
</file>

<file path=ppt/theme/theme2.xml><?xml version="1.0" encoding="utf-8"?>
<a:theme xmlns:a="http://schemas.openxmlformats.org/drawingml/2006/main" name="Pure Dark">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chemeClr val="tx1"/>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E5872EA8-3523-8242-BC75-8DFCBD18EAED}"/>
    </a:ext>
  </a:extLst>
</a:theme>
</file>

<file path=ppt/theme/theme3.xml><?xml version="1.0" encoding="utf-8"?>
<a:theme xmlns:a="http://schemas.openxmlformats.org/drawingml/2006/main" name="Electric Yellow Only Logo">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B8A62263-3828-8047-A456-16E24D9E1A9F}"/>
    </a:ext>
  </a:extLst>
</a:theme>
</file>

<file path=ppt/theme/theme4.xml><?xml version="1.0" encoding="utf-8"?>
<a:theme xmlns:a="http://schemas.openxmlformats.org/drawingml/2006/main" name="Office Theme">
  <a:themeElements>
    <a:clrScheme name="civitta">
      <a:dk1>
        <a:srgbClr val="232323"/>
      </a:dk1>
      <a:lt1>
        <a:srgbClr val="FEFEFE"/>
      </a:lt1>
      <a:dk2>
        <a:srgbClr val="232323"/>
      </a:dk2>
      <a:lt2>
        <a:srgbClr val="FEFEFE"/>
      </a:lt2>
      <a:accent1>
        <a:srgbClr val="232323"/>
      </a:accent1>
      <a:accent2>
        <a:srgbClr val="ACAEAC"/>
      </a:accent2>
      <a:accent3>
        <a:srgbClr val="E6E6E6"/>
      </a:accent3>
      <a:accent4>
        <a:srgbClr val="EBFE41"/>
      </a:accent4>
      <a:accent5>
        <a:srgbClr val="3CEB9D"/>
      </a:accent5>
      <a:accent6>
        <a:srgbClr val="82009B"/>
      </a:accent6>
      <a:hlink>
        <a:srgbClr val="82009B"/>
      </a:hlink>
      <a:folHlink>
        <a:srgbClr val="82009B"/>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ivitta">
      <a:dk1>
        <a:srgbClr val="232323"/>
      </a:dk1>
      <a:lt1>
        <a:srgbClr val="FEFEFE"/>
      </a:lt1>
      <a:dk2>
        <a:srgbClr val="232323"/>
      </a:dk2>
      <a:lt2>
        <a:srgbClr val="FEFEFE"/>
      </a:lt2>
      <a:accent1>
        <a:srgbClr val="232323"/>
      </a:accent1>
      <a:accent2>
        <a:srgbClr val="ACAEAC"/>
      </a:accent2>
      <a:accent3>
        <a:srgbClr val="E6E6E6"/>
      </a:accent3>
      <a:accent4>
        <a:srgbClr val="EBFE41"/>
      </a:accent4>
      <a:accent5>
        <a:srgbClr val="3CEB9D"/>
      </a:accent5>
      <a:accent6>
        <a:srgbClr val="82009B"/>
      </a:accent6>
      <a:hlink>
        <a:srgbClr val="82009B"/>
      </a:hlink>
      <a:folHlink>
        <a:srgbClr val="82009B"/>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ivitta PowerPoint Template_DOWNLOAD (not edit online)</Template>
  <TotalTime>3845</TotalTime>
  <Words>2469</Words>
  <Application>Microsoft Office PowerPoint</Application>
  <PresentationFormat>Widescreen</PresentationFormat>
  <Paragraphs>196</Paragraphs>
  <Slides>19</Slides>
  <Notes>9</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29" baseType="lpstr">
      <vt:lpstr>Arial</vt:lpstr>
      <vt:lpstr>Arial Black</vt:lpstr>
      <vt:lpstr>Arial Bold</vt:lpstr>
      <vt:lpstr>Montserrat Black</vt:lpstr>
      <vt:lpstr>Wingdings</vt:lpstr>
      <vt:lpstr>Wingdings 2</vt:lpstr>
      <vt:lpstr>Pure White</vt:lpstr>
      <vt:lpstr>Pure Dark</vt:lpstr>
      <vt:lpstr>Electric Yellow Only Logo</vt:lpstr>
      <vt:lpstr>think-cell Slide</vt:lpstr>
      <vt:lpstr>Valsts aizsardzības mācības un Jaunsardzes likuma ietekmes pēcpārbaudes (ex-post) novērtējums</vt:lpstr>
      <vt:lpstr>Saturs</vt:lpstr>
      <vt:lpstr>Pētījuma mērķis un metodoloģija</vt:lpstr>
      <vt:lpstr>Pētījuma mērķis un tā veikšanā piemērotās metodes </vt:lpstr>
      <vt:lpstr>Novērtējuma pamatā ir rekonstruēts intervences loģiskais modelis</vt:lpstr>
      <vt:lpstr>Valsts aizsardzības mācības ietekme un atbilstība mērķim</vt:lpstr>
      <vt:lpstr>Valsts aizsardzības mācības programmas ietekme uz mērķa grupu</vt:lpstr>
      <vt:lpstr>Valsts aizsardzības mācības programmas atbilstība likuma un programmas mērķim</vt:lpstr>
      <vt:lpstr>Jaunsardzes interešu izglītības programmas ietekme un atbilstība mērķim</vt:lpstr>
      <vt:lpstr>Jaunsardzes programmas ietekme</vt:lpstr>
      <vt:lpstr>Jaunsardzes programmas atbilstība mērķim</vt:lpstr>
      <vt:lpstr>VAM un Jaunsardzes programmu pārskatīšana </vt:lpstr>
      <vt:lpstr>VAM un Jaunsargu programmu pārskatīšana un aktualizēšana</vt:lpstr>
      <vt:lpstr>Izglītības iestāžu un Jaunsardzes centra kapacitāte programmu īstenošanai </vt:lpstr>
      <vt:lpstr>Izglītības iestāžu iesaiste VAM un Jaunsargu programmas nodrošināšanā</vt:lpstr>
      <vt:lpstr>JC kapacitāte VAM un Jaunsargu programmas nodrošināšanā</vt:lpstr>
      <vt:lpstr>Ieteikumi</vt:lpstr>
      <vt:lpstr>Ieteikumi programmu pilnveidei</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Ingvilda Štrāla</dc:creator>
  <cp:keywords>civitta;powerpoint;template</cp:keywords>
  <dc:description/>
  <cp:lastModifiedBy>Sanita Kalnača</cp:lastModifiedBy>
  <cp:revision>5</cp:revision>
  <dcterms:created xsi:type="dcterms:W3CDTF">2026-02-06T11:37:34Z</dcterms:created>
  <dcterms:modified xsi:type="dcterms:W3CDTF">2026-06-04T16:21:08Z</dcterms:modified>
  <cp:category/>
</cp:coreProperties>
</file>